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6" r:id="rId4"/>
    <p:sldMasterId id="2147484010" r:id="rId5"/>
    <p:sldMasterId id="2147484053" r:id="rId6"/>
    <p:sldMasterId id="2147484061" r:id="rId7"/>
    <p:sldMasterId id="2147484063" r:id="rId8"/>
  </p:sldMasterIdLst>
  <p:notesMasterIdLst>
    <p:notesMasterId r:id="rId32"/>
  </p:notesMasterIdLst>
  <p:sldIdLst>
    <p:sldId id="2147348316" r:id="rId9"/>
    <p:sldId id="2147348320" r:id="rId10"/>
    <p:sldId id="838842003" r:id="rId11"/>
    <p:sldId id="2147348319" r:id="rId12"/>
    <p:sldId id="2147348298" r:id="rId13"/>
    <p:sldId id="838842091" r:id="rId14"/>
    <p:sldId id="2147348321" r:id="rId15"/>
    <p:sldId id="2147348299" r:id="rId16"/>
    <p:sldId id="2147348301" r:id="rId17"/>
    <p:sldId id="2147348323" r:id="rId18"/>
    <p:sldId id="2147348313" r:id="rId19"/>
    <p:sldId id="2147348303" r:id="rId20"/>
    <p:sldId id="2147348305" r:id="rId21"/>
    <p:sldId id="2147348306" r:id="rId22"/>
    <p:sldId id="2147348317" r:id="rId23"/>
    <p:sldId id="2147348308" r:id="rId24"/>
    <p:sldId id="2147348309" r:id="rId25"/>
    <p:sldId id="2147348310" r:id="rId26"/>
    <p:sldId id="2147348314" r:id="rId27"/>
    <p:sldId id="2147348300" r:id="rId28"/>
    <p:sldId id="2147348315" r:id="rId29"/>
    <p:sldId id="2147348312" r:id="rId30"/>
    <p:sldId id="6359" r:id="rId31"/>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242" userDrawn="1">
          <p15:clr>
            <a:srgbClr val="A4A3A4"/>
          </p15:clr>
        </p15:guide>
        <p15:guide id="4" pos="438" userDrawn="1">
          <p15:clr>
            <a:srgbClr val="A4A3A4"/>
          </p15:clr>
        </p15:guide>
        <p15:guide id="6" orient="horz" pos="482" userDrawn="1">
          <p15:clr>
            <a:srgbClr val="A4A3A4"/>
          </p15:clr>
        </p15:guide>
        <p15:guide id="8" orient="horz" pos="42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88D398-940E-E756-4A63-CC8A773EC7A8}" name="David Ollier (Global Communications)" initials="DO(C" userId="S::David.Ollier@gfgalliance.com::e559593c-2a3b-4174-b0bf-feb6b7d415a8" providerId="AD"/>
  <p188:author id="{09C692E6-A426-3966-73B7-0A2EBB5DD4D1}" name="Sayani Bhattacharya" initials="SB" userId="S::sayani.bhattacharya@gfgalliance.com::31d88237-e144-4962-b292-a61589a5450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urence Hollobon" initials="LH" lastIdx="4" clrIdx="0">
    <p:extLst>
      <p:ext uri="{19B8F6BF-5375-455C-9EA6-DF929625EA0E}">
        <p15:presenceInfo xmlns:p15="http://schemas.microsoft.com/office/powerpoint/2012/main" userId="S::Laurence.Hollobon@gfgalliance.com::2042ee3b-2f46-4a19-8b0e-4c795f14d0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BCEE"/>
    <a:srgbClr val="323E48"/>
    <a:srgbClr val="0F306E"/>
    <a:srgbClr val="6C69E1"/>
    <a:srgbClr val="FE8081"/>
    <a:srgbClr val="244276"/>
    <a:srgbClr val="2AAB6C"/>
    <a:srgbClr val="E97C30"/>
    <a:srgbClr val="FFFFFF"/>
    <a:srgbClr val="1C31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58" autoAdjust="0"/>
    <p:restoredTop sz="93792" autoAdjust="0"/>
  </p:normalViewPr>
  <p:slideViewPr>
    <p:cSldViewPr>
      <p:cViewPr varScale="1">
        <p:scale>
          <a:sx n="43" d="100"/>
          <a:sy n="43" d="100"/>
        </p:scale>
        <p:origin x="1284" y="44"/>
      </p:cViewPr>
      <p:guideLst>
        <p:guide pos="7242"/>
        <p:guide pos="438"/>
        <p:guide orient="horz" pos="482"/>
        <p:guide orient="horz" pos="4292"/>
      </p:guideLst>
    </p:cSldViewPr>
  </p:slideViewPr>
  <p:notesTextViewPr>
    <p:cViewPr>
      <p:scale>
        <a:sx n="3" d="2"/>
        <a:sy n="3" d="2"/>
      </p:scale>
      <p:origin x="0" y="0"/>
    </p:cViewPr>
  </p:notesTextViewPr>
  <p:notesViewPr>
    <p:cSldViewPr>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828D83C-9DE8-4AEE-ABFD-85F981CFE49F}" type="datetimeFigureOut">
              <a:rPr lang="en-GB" smtClean="0"/>
              <a:t>14/03/2024</a:t>
            </a:fld>
            <a:endParaRPr lang="en-GB"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DAE71625-A0AF-4314-8BCF-21959BE470F5}" type="slidenum">
              <a:rPr lang="en-GB" smtClean="0"/>
              <a:t>‹#›</a:t>
            </a:fld>
            <a:endParaRPr lang="en-GB" dirty="0"/>
          </a:p>
        </p:txBody>
      </p:sp>
    </p:spTree>
    <p:extLst>
      <p:ext uri="{BB962C8B-B14F-4D97-AF65-F5344CB8AC3E}">
        <p14:creationId xmlns:p14="http://schemas.microsoft.com/office/powerpoint/2010/main" val="673693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2</a:t>
            </a:fld>
            <a:endParaRPr lang="en-GB" dirty="0"/>
          </a:p>
        </p:txBody>
      </p:sp>
    </p:spTree>
    <p:extLst>
      <p:ext uri="{BB962C8B-B14F-4D97-AF65-F5344CB8AC3E}">
        <p14:creationId xmlns:p14="http://schemas.microsoft.com/office/powerpoint/2010/main" val="1061828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3</a:t>
            </a:fld>
            <a:endParaRPr lang="en-GB" dirty="0"/>
          </a:p>
        </p:txBody>
      </p:sp>
    </p:spTree>
    <p:extLst>
      <p:ext uri="{BB962C8B-B14F-4D97-AF65-F5344CB8AC3E}">
        <p14:creationId xmlns:p14="http://schemas.microsoft.com/office/powerpoint/2010/main" val="27027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4</a:t>
            </a:fld>
            <a:endParaRPr lang="en-GB" dirty="0"/>
          </a:p>
        </p:txBody>
      </p:sp>
    </p:spTree>
    <p:extLst>
      <p:ext uri="{BB962C8B-B14F-4D97-AF65-F5344CB8AC3E}">
        <p14:creationId xmlns:p14="http://schemas.microsoft.com/office/powerpoint/2010/main" val="162599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6</a:t>
            </a:fld>
            <a:endParaRPr lang="en-GB" dirty="0"/>
          </a:p>
        </p:txBody>
      </p:sp>
    </p:spTree>
    <p:extLst>
      <p:ext uri="{BB962C8B-B14F-4D97-AF65-F5344CB8AC3E}">
        <p14:creationId xmlns:p14="http://schemas.microsoft.com/office/powerpoint/2010/main" val="284358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7</a:t>
            </a:fld>
            <a:endParaRPr lang="en-GB" dirty="0"/>
          </a:p>
        </p:txBody>
      </p:sp>
    </p:spTree>
    <p:extLst>
      <p:ext uri="{BB962C8B-B14F-4D97-AF65-F5344CB8AC3E}">
        <p14:creationId xmlns:p14="http://schemas.microsoft.com/office/powerpoint/2010/main" val="3435972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8</a:t>
            </a:fld>
            <a:endParaRPr lang="en-GB" dirty="0"/>
          </a:p>
        </p:txBody>
      </p:sp>
    </p:spTree>
    <p:extLst>
      <p:ext uri="{BB962C8B-B14F-4D97-AF65-F5344CB8AC3E}">
        <p14:creationId xmlns:p14="http://schemas.microsoft.com/office/powerpoint/2010/main" val="1700018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20</a:t>
            </a:fld>
            <a:endParaRPr lang="en-GB" dirty="0"/>
          </a:p>
        </p:txBody>
      </p:sp>
    </p:spTree>
    <p:extLst>
      <p:ext uri="{BB962C8B-B14F-4D97-AF65-F5344CB8AC3E}">
        <p14:creationId xmlns:p14="http://schemas.microsoft.com/office/powerpoint/2010/main" val="1553686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22</a:t>
            </a:fld>
            <a:endParaRPr lang="en-GB" dirty="0"/>
          </a:p>
        </p:txBody>
      </p:sp>
    </p:spTree>
    <p:extLst>
      <p:ext uri="{BB962C8B-B14F-4D97-AF65-F5344CB8AC3E}">
        <p14:creationId xmlns:p14="http://schemas.microsoft.com/office/powerpoint/2010/main" val="1074034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3</a:t>
            </a:fld>
            <a:endParaRPr lang="en-GB" dirty="0"/>
          </a:p>
        </p:txBody>
      </p:sp>
    </p:spTree>
    <p:extLst>
      <p:ext uri="{BB962C8B-B14F-4D97-AF65-F5344CB8AC3E}">
        <p14:creationId xmlns:p14="http://schemas.microsoft.com/office/powerpoint/2010/main" val="907424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4</a:t>
            </a:fld>
            <a:endParaRPr lang="en-GB" dirty="0"/>
          </a:p>
        </p:txBody>
      </p:sp>
    </p:spTree>
    <p:extLst>
      <p:ext uri="{BB962C8B-B14F-4D97-AF65-F5344CB8AC3E}">
        <p14:creationId xmlns:p14="http://schemas.microsoft.com/office/powerpoint/2010/main" val="1385345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5</a:t>
            </a:fld>
            <a:endParaRPr lang="en-GB" dirty="0"/>
          </a:p>
        </p:txBody>
      </p:sp>
    </p:spTree>
    <p:extLst>
      <p:ext uri="{BB962C8B-B14F-4D97-AF65-F5344CB8AC3E}">
        <p14:creationId xmlns:p14="http://schemas.microsoft.com/office/powerpoint/2010/main" val="1436064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7</a:t>
            </a:fld>
            <a:endParaRPr lang="en-GB" dirty="0"/>
          </a:p>
        </p:txBody>
      </p:sp>
    </p:spTree>
    <p:extLst>
      <p:ext uri="{BB962C8B-B14F-4D97-AF65-F5344CB8AC3E}">
        <p14:creationId xmlns:p14="http://schemas.microsoft.com/office/powerpoint/2010/main" val="4018483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8</a:t>
            </a:fld>
            <a:endParaRPr lang="en-GB" dirty="0"/>
          </a:p>
        </p:txBody>
      </p:sp>
    </p:spTree>
    <p:extLst>
      <p:ext uri="{BB962C8B-B14F-4D97-AF65-F5344CB8AC3E}">
        <p14:creationId xmlns:p14="http://schemas.microsoft.com/office/powerpoint/2010/main" val="1399659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9</a:t>
            </a:fld>
            <a:endParaRPr lang="en-GB" dirty="0"/>
          </a:p>
        </p:txBody>
      </p:sp>
    </p:spTree>
    <p:extLst>
      <p:ext uri="{BB962C8B-B14F-4D97-AF65-F5344CB8AC3E}">
        <p14:creationId xmlns:p14="http://schemas.microsoft.com/office/powerpoint/2010/main" val="2944507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0</a:t>
            </a:fld>
            <a:endParaRPr lang="en-GB" dirty="0"/>
          </a:p>
        </p:txBody>
      </p:sp>
    </p:spTree>
    <p:extLst>
      <p:ext uri="{BB962C8B-B14F-4D97-AF65-F5344CB8AC3E}">
        <p14:creationId xmlns:p14="http://schemas.microsoft.com/office/powerpoint/2010/main" val="2674111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DAE71625-A0AF-4314-8BCF-21959BE470F5}" type="slidenum">
              <a:rPr lang="en-GB" smtClean="0"/>
              <a:t>12</a:t>
            </a:fld>
            <a:endParaRPr lang="en-GB" dirty="0"/>
          </a:p>
        </p:txBody>
      </p:sp>
    </p:spTree>
    <p:extLst>
      <p:ext uri="{BB962C8B-B14F-4D97-AF65-F5344CB8AC3E}">
        <p14:creationId xmlns:p14="http://schemas.microsoft.com/office/powerpoint/2010/main" val="26823300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11E3D9CF-A5E2-499A-B5C3-584D03F51487}"/>
              </a:ext>
            </a:extLst>
          </p:cNvPr>
          <p:cNvSpPr>
            <a:spLocks noGrp="1"/>
          </p:cNvSpPr>
          <p:nvPr>
            <p:ph type="sldNum" sz="quarter" idx="4"/>
          </p:nvPr>
        </p:nvSpPr>
        <p:spPr>
          <a:xfrm>
            <a:off x="676190" y="6361254"/>
            <a:ext cx="379679" cy="365125"/>
          </a:xfrm>
          <a:prstGeom prst="rect">
            <a:avLst/>
          </a:prstGeom>
        </p:spPr>
        <p:txBody>
          <a:bodyPr vert="horz" lIns="91440" tIns="45720" rIns="91440" bIns="45720" rtlCol="0" anchor="ctr"/>
          <a:lstStyle>
            <a:lvl1pPr algn="r">
              <a:defRPr sz="900" b="1">
                <a:solidFill>
                  <a:schemeClr val="bg1"/>
                </a:solidFill>
                <a:latin typeface="Century Gothic" panose="020B0502020202020204" pitchFamily="34" charset="0"/>
              </a:defRPr>
            </a:lvl1pPr>
          </a:lstStyle>
          <a:p>
            <a:fld id="{ED8D6988-99EB-4B78-B0B8-4234E6B0D0B2}" type="slidenum">
              <a:rPr lang="en-GB" smtClean="0"/>
              <a:pPr/>
              <a:t>‹#›</a:t>
            </a:fld>
            <a:endParaRPr lang="en-GB" dirty="0"/>
          </a:p>
        </p:txBody>
      </p:sp>
      <p:sp>
        <p:nvSpPr>
          <p:cNvPr id="12" name="Footer Placeholder 11">
            <a:extLst>
              <a:ext uri="{FF2B5EF4-FFF2-40B4-BE49-F238E27FC236}">
                <a16:creationId xmlns:a16="http://schemas.microsoft.com/office/drawing/2014/main" id="{DD4B05FD-3A6D-44CE-8457-AA3CCEE6B662}"/>
              </a:ext>
            </a:extLst>
          </p:cNvPr>
          <p:cNvSpPr>
            <a:spLocks noGrp="1"/>
          </p:cNvSpPr>
          <p:nvPr>
            <p:ph type="ftr" sz="quarter" idx="3"/>
          </p:nvPr>
        </p:nvSpPr>
        <p:spPr>
          <a:xfrm>
            <a:off x="1211068" y="6361255"/>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GB" dirty="0"/>
              <a:t>PRESENTATION TITLE </a:t>
            </a:r>
          </a:p>
        </p:txBody>
      </p:sp>
      <p:sp>
        <p:nvSpPr>
          <p:cNvPr id="13" name="Text Placeholder 17">
            <a:extLst>
              <a:ext uri="{FF2B5EF4-FFF2-40B4-BE49-F238E27FC236}">
                <a16:creationId xmlns:a16="http://schemas.microsoft.com/office/drawing/2014/main" id="{3F429B69-AB31-4C57-ADA3-5F8EA2D5982D}"/>
              </a:ext>
            </a:extLst>
          </p:cNvPr>
          <p:cNvSpPr>
            <a:spLocks noGrp="1"/>
          </p:cNvSpPr>
          <p:nvPr>
            <p:ph type="body" sz="quarter" idx="10" hasCustomPrompt="1"/>
          </p:nvPr>
        </p:nvSpPr>
        <p:spPr>
          <a:xfrm>
            <a:off x="712489" y="359077"/>
            <a:ext cx="5327650" cy="681038"/>
          </a:xfrm>
        </p:spPr>
        <p:txBody>
          <a:bodyPr>
            <a:normAutofit/>
          </a:bodyPr>
          <a:lstStyle>
            <a:lvl1pPr marL="0" indent="0">
              <a:lnSpc>
                <a:spcPct val="100000"/>
              </a:lnSpc>
              <a:spcBef>
                <a:spcPts val="0"/>
              </a:spcBef>
              <a:buFontTx/>
              <a:buNone/>
              <a:defRPr sz="3500" b="1">
                <a:solidFill>
                  <a:srgbClr val="00B0F0"/>
                </a:solidFill>
                <a:latin typeface="Century Gothic" panose="020B0502020202020204" pitchFamily="34" charset="0"/>
              </a:defRPr>
            </a:lvl1pPr>
          </a:lstStyle>
          <a:p>
            <a:pPr lvl="0"/>
            <a:r>
              <a:rPr lang="en-GB" dirty="0"/>
              <a:t>TITLE HEADER</a:t>
            </a:r>
          </a:p>
        </p:txBody>
      </p:sp>
      <p:sp>
        <p:nvSpPr>
          <p:cNvPr id="14" name="Text Placeholder 19">
            <a:extLst>
              <a:ext uri="{FF2B5EF4-FFF2-40B4-BE49-F238E27FC236}">
                <a16:creationId xmlns:a16="http://schemas.microsoft.com/office/drawing/2014/main" id="{6DD70FED-0C31-46EE-866A-2574DF8D2CAF}"/>
              </a:ext>
            </a:extLst>
          </p:cNvPr>
          <p:cNvSpPr>
            <a:spLocks noGrp="1"/>
          </p:cNvSpPr>
          <p:nvPr>
            <p:ph type="body" sz="quarter" idx="11" hasCustomPrompt="1"/>
          </p:nvPr>
        </p:nvSpPr>
        <p:spPr>
          <a:xfrm>
            <a:off x="704994" y="1075705"/>
            <a:ext cx="10782011" cy="515704"/>
          </a:xfrm>
        </p:spPr>
        <p:txBody>
          <a:bodyPr>
            <a:normAutofit/>
          </a:bodyPr>
          <a:lstStyle>
            <a:lvl1pPr marL="0" indent="0">
              <a:buFontTx/>
              <a:buNone/>
              <a:defRPr sz="1500" b="1">
                <a:solidFill>
                  <a:srgbClr val="12326E"/>
                </a:solidFill>
                <a:latin typeface="Century Gothic" panose="020B0502020202020204" pitchFamily="34" charset="0"/>
              </a:defRPr>
            </a:lvl1pPr>
          </a:lstStyle>
          <a:p>
            <a:pPr lvl="0"/>
            <a:r>
              <a:rPr lang="en-GB" dirty="0"/>
              <a:t>Support copy and title text to be placed here across two to three lines</a:t>
            </a:r>
          </a:p>
        </p:txBody>
      </p:sp>
      <p:sp>
        <p:nvSpPr>
          <p:cNvPr id="18" name="Picture Placeholder 17">
            <a:extLst>
              <a:ext uri="{FF2B5EF4-FFF2-40B4-BE49-F238E27FC236}">
                <a16:creationId xmlns:a16="http://schemas.microsoft.com/office/drawing/2014/main" id="{C0EFDC52-159A-46FE-83CF-B74FD89A6A59}"/>
              </a:ext>
            </a:extLst>
          </p:cNvPr>
          <p:cNvSpPr>
            <a:spLocks noGrp="1"/>
          </p:cNvSpPr>
          <p:nvPr>
            <p:ph type="pic" sz="quarter" idx="19" hasCustomPrompt="1"/>
          </p:nvPr>
        </p:nvSpPr>
        <p:spPr>
          <a:xfrm>
            <a:off x="714763" y="1801812"/>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19" name="Picture Placeholder 17">
            <a:extLst>
              <a:ext uri="{FF2B5EF4-FFF2-40B4-BE49-F238E27FC236}">
                <a16:creationId xmlns:a16="http://schemas.microsoft.com/office/drawing/2014/main" id="{642DA988-D2F5-425A-B475-2617843D9CE9}"/>
              </a:ext>
            </a:extLst>
          </p:cNvPr>
          <p:cNvSpPr>
            <a:spLocks noGrp="1"/>
          </p:cNvSpPr>
          <p:nvPr>
            <p:ph type="pic" sz="quarter" idx="20" hasCustomPrompt="1"/>
          </p:nvPr>
        </p:nvSpPr>
        <p:spPr>
          <a:xfrm>
            <a:off x="4371180" y="1810605"/>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20" name="Picture Placeholder 17">
            <a:extLst>
              <a:ext uri="{FF2B5EF4-FFF2-40B4-BE49-F238E27FC236}">
                <a16:creationId xmlns:a16="http://schemas.microsoft.com/office/drawing/2014/main" id="{8930EBAC-D7BC-4C6E-AB16-6331257AB95C}"/>
              </a:ext>
            </a:extLst>
          </p:cNvPr>
          <p:cNvSpPr>
            <a:spLocks noGrp="1"/>
          </p:cNvSpPr>
          <p:nvPr>
            <p:ph type="pic" sz="quarter" idx="21" hasCustomPrompt="1"/>
          </p:nvPr>
        </p:nvSpPr>
        <p:spPr>
          <a:xfrm>
            <a:off x="8029574" y="1801812"/>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22" name="Text Placeholder 21">
            <a:extLst>
              <a:ext uri="{FF2B5EF4-FFF2-40B4-BE49-F238E27FC236}">
                <a16:creationId xmlns:a16="http://schemas.microsoft.com/office/drawing/2014/main" id="{345736E3-272B-473B-8CDB-45C45096C71B}"/>
              </a:ext>
            </a:extLst>
          </p:cNvPr>
          <p:cNvSpPr>
            <a:spLocks noGrp="1"/>
          </p:cNvSpPr>
          <p:nvPr>
            <p:ph type="body" sz="quarter" idx="22"/>
          </p:nvPr>
        </p:nvSpPr>
        <p:spPr>
          <a:xfrm>
            <a:off x="712490" y="3991704"/>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21">
            <a:extLst>
              <a:ext uri="{FF2B5EF4-FFF2-40B4-BE49-F238E27FC236}">
                <a16:creationId xmlns:a16="http://schemas.microsoft.com/office/drawing/2014/main" id="{522BF0E6-D09C-4846-8EA7-DA0346FA844B}"/>
              </a:ext>
            </a:extLst>
          </p:cNvPr>
          <p:cNvSpPr>
            <a:spLocks noGrp="1"/>
          </p:cNvSpPr>
          <p:nvPr>
            <p:ph type="body" sz="quarter" idx="23"/>
          </p:nvPr>
        </p:nvSpPr>
        <p:spPr>
          <a:xfrm>
            <a:off x="4371180" y="3978043"/>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21">
            <a:extLst>
              <a:ext uri="{FF2B5EF4-FFF2-40B4-BE49-F238E27FC236}">
                <a16:creationId xmlns:a16="http://schemas.microsoft.com/office/drawing/2014/main" id="{2F7555DA-94CF-455D-BAB2-C74BE314AF10}"/>
              </a:ext>
            </a:extLst>
          </p:cNvPr>
          <p:cNvSpPr>
            <a:spLocks noGrp="1"/>
          </p:cNvSpPr>
          <p:nvPr>
            <p:ph type="body" sz="quarter" idx="24"/>
          </p:nvPr>
        </p:nvSpPr>
        <p:spPr>
          <a:xfrm>
            <a:off x="8029574" y="3978042"/>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38161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11E3D9CF-A5E2-499A-B5C3-584D03F51487}"/>
              </a:ext>
            </a:extLst>
          </p:cNvPr>
          <p:cNvSpPr>
            <a:spLocks noGrp="1"/>
          </p:cNvSpPr>
          <p:nvPr>
            <p:ph type="sldNum" sz="quarter" idx="4"/>
          </p:nvPr>
        </p:nvSpPr>
        <p:spPr>
          <a:xfrm>
            <a:off x="676190" y="6361254"/>
            <a:ext cx="379679" cy="365125"/>
          </a:xfrm>
          <a:prstGeom prst="rect">
            <a:avLst/>
          </a:prstGeom>
        </p:spPr>
        <p:txBody>
          <a:bodyPr vert="horz" lIns="91440" tIns="45720" rIns="91440" bIns="45720" rtlCol="0" anchor="ctr"/>
          <a:lstStyle>
            <a:lvl1pPr algn="r">
              <a:defRPr sz="900" b="1">
                <a:solidFill>
                  <a:schemeClr val="bg1"/>
                </a:solidFill>
                <a:latin typeface="Century Gothic" panose="020B0502020202020204" pitchFamily="34" charset="0"/>
              </a:defRPr>
            </a:lvl1pPr>
          </a:lstStyle>
          <a:p>
            <a:fld id="{ED8D6988-99EB-4B78-B0B8-4234E6B0D0B2}" type="slidenum">
              <a:rPr lang="en-GB" smtClean="0"/>
              <a:pPr/>
              <a:t>‹#›</a:t>
            </a:fld>
            <a:endParaRPr lang="en-GB" dirty="0"/>
          </a:p>
        </p:txBody>
      </p:sp>
      <p:sp>
        <p:nvSpPr>
          <p:cNvPr id="12" name="Footer Placeholder 11">
            <a:extLst>
              <a:ext uri="{FF2B5EF4-FFF2-40B4-BE49-F238E27FC236}">
                <a16:creationId xmlns:a16="http://schemas.microsoft.com/office/drawing/2014/main" id="{DD4B05FD-3A6D-44CE-8457-AA3CCEE6B662}"/>
              </a:ext>
            </a:extLst>
          </p:cNvPr>
          <p:cNvSpPr>
            <a:spLocks noGrp="1"/>
          </p:cNvSpPr>
          <p:nvPr>
            <p:ph type="ftr" sz="quarter" idx="3"/>
          </p:nvPr>
        </p:nvSpPr>
        <p:spPr>
          <a:xfrm>
            <a:off x="1211068" y="6361255"/>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GB" dirty="0"/>
              <a:t>PRESENTATION TITLE </a:t>
            </a:r>
          </a:p>
        </p:txBody>
      </p:sp>
      <p:sp>
        <p:nvSpPr>
          <p:cNvPr id="13" name="Text Placeholder 17">
            <a:extLst>
              <a:ext uri="{FF2B5EF4-FFF2-40B4-BE49-F238E27FC236}">
                <a16:creationId xmlns:a16="http://schemas.microsoft.com/office/drawing/2014/main" id="{3F429B69-AB31-4C57-ADA3-5F8EA2D5982D}"/>
              </a:ext>
            </a:extLst>
          </p:cNvPr>
          <p:cNvSpPr>
            <a:spLocks noGrp="1"/>
          </p:cNvSpPr>
          <p:nvPr>
            <p:ph type="body" sz="quarter" idx="10" hasCustomPrompt="1"/>
          </p:nvPr>
        </p:nvSpPr>
        <p:spPr>
          <a:xfrm>
            <a:off x="712489" y="359077"/>
            <a:ext cx="5327650" cy="681038"/>
          </a:xfrm>
        </p:spPr>
        <p:txBody>
          <a:bodyPr>
            <a:normAutofit/>
          </a:bodyPr>
          <a:lstStyle>
            <a:lvl1pPr marL="0" indent="0">
              <a:lnSpc>
                <a:spcPct val="100000"/>
              </a:lnSpc>
              <a:spcBef>
                <a:spcPts val="0"/>
              </a:spcBef>
              <a:buFontTx/>
              <a:buNone/>
              <a:defRPr sz="3500" b="1">
                <a:solidFill>
                  <a:srgbClr val="00B0F0"/>
                </a:solidFill>
                <a:latin typeface="Century Gothic" panose="020B0502020202020204" pitchFamily="34" charset="0"/>
              </a:defRPr>
            </a:lvl1pPr>
          </a:lstStyle>
          <a:p>
            <a:pPr lvl="0"/>
            <a:r>
              <a:rPr lang="en-GB" dirty="0"/>
              <a:t>TITLE HEADER</a:t>
            </a:r>
          </a:p>
        </p:txBody>
      </p:sp>
      <p:sp>
        <p:nvSpPr>
          <p:cNvPr id="14" name="Text Placeholder 19">
            <a:extLst>
              <a:ext uri="{FF2B5EF4-FFF2-40B4-BE49-F238E27FC236}">
                <a16:creationId xmlns:a16="http://schemas.microsoft.com/office/drawing/2014/main" id="{6DD70FED-0C31-46EE-866A-2574DF8D2CAF}"/>
              </a:ext>
            </a:extLst>
          </p:cNvPr>
          <p:cNvSpPr>
            <a:spLocks noGrp="1"/>
          </p:cNvSpPr>
          <p:nvPr>
            <p:ph type="body" sz="quarter" idx="11" hasCustomPrompt="1"/>
          </p:nvPr>
        </p:nvSpPr>
        <p:spPr>
          <a:xfrm>
            <a:off x="704994" y="1075705"/>
            <a:ext cx="10782011" cy="515704"/>
          </a:xfrm>
        </p:spPr>
        <p:txBody>
          <a:bodyPr>
            <a:normAutofit/>
          </a:bodyPr>
          <a:lstStyle>
            <a:lvl1pPr marL="0" indent="0">
              <a:buFontTx/>
              <a:buNone/>
              <a:defRPr sz="1500" b="1">
                <a:solidFill>
                  <a:srgbClr val="12326E"/>
                </a:solidFill>
                <a:latin typeface="Century Gothic" panose="020B0502020202020204" pitchFamily="34" charset="0"/>
              </a:defRPr>
            </a:lvl1pPr>
          </a:lstStyle>
          <a:p>
            <a:pPr lvl="0"/>
            <a:r>
              <a:rPr lang="en-GB" dirty="0"/>
              <a:t>Support copy and title text to be placed here across two to three lines</a:t>
            </a:r>
          </a:p>
        </p:txBody>
      </p:sp>
      <p:sp>
        <p:nvSpPr>
          <p:cNvPr id="18" name="Picture Placeholder 17">
            <a:extLst>
              <a:ext uri="{FF2B5EF4-FFF2-40B4-BE49-F238E27FC236}">
                <a16:creationId xmlns:a16="http://schemas.microsoft.com/office/drawing/2014/main" id="{C0EFDC52-159A-46FE-83CF-B74FD89A6A59}"/>
              </a:ext>
            </a:extLst>
          </p:cNvPr>
          <p:cNvSpPr>
            <a:spLocks noGrp="1"/>
          </p:cNvSpPr>
          <p:nvPr>
            <p:ph type="pic" sz="quarter" idx="19" hasCustomPrompt="1"/>
          </p:nvPr>
        </p:nvSpPr>
        <p:spPr>
          <a:xfrm>
            <a:off x="714763" y="1801812"/>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19" name="Picture Placeholder 17">
            <a:extLst>
              <a:ext uri="{FF2B5EF4-FFF2-40B4-BE49-F238E27FC236}">
                <a16:creationId xmlns:a16="http://schemas.microsoft.com/office/drawing/2014/main" id="{642DA988-D2F5-425A-B475-2617843D9CE9}"/>
              </a:ext>
            </a:extLst>
          </p:cNvPr>
          <p:cNvSpPr>
            <a:spLocks noGrp="1"/>
          </p:cNvSpPr>
          <p:nvPr>
            <p:ph type="pic" sz="quarter" idx="20" hasCustomPrompt="1"/>
          </p:nvPr>
        </p:nvSpPr>
        <p:spPr>
          <a:xfrm>
            <a:off x="4371180" y="1810605"/>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20" name="Picture Placeholder 17">
            <a:extLst>
              <a:ext uri="{FF2B5EF4-FFF2-40B4-BE49-F238E27FC236}">
                <a16:creationId xmlns:a16="http://schemas.microsoft.com/office/drawing/2014/main" id="{8930EBAC-D7BC-4C6E-AB16-6331257AB95C}"/>
              </a:ext>
            </a:extLst>
          </p:cNvPr>
          <p:cNvSpPr>
            <a:spLocks noGrp="1"/>
          </p:cNvSpPr>
          <p:nvPr>
            <p:ph type="pic" sz="quarter" idx="21" hasCustomPrompt="1"/>
          </p:nvPr>
        </p:nvSpPr>
        <p:spPr>
          <a:xfrm>
            <a:off x="8029574" y="1801812"/>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22" name="Text Placeholder 21">
            <a:extLst>
              <a:ext uri="{FF2B5EF4-FFF2-40B4-BE49-F238E27FC236}">
                <a16:creationId xmlns:a16="http://schemas.microsoft.com/office/drawing/2014/main" id="{345736E3-272B-473B-8CDB-45C45096C71B}"/>
              </a:ext>
            </a:extLst>
          </p:cNvPr>
          <p:cNvSpPr>
            <a:spLocks noGrp="1"/>
          </p:cNvSpPr>
          <p:nvPr>
            <p:ph type="body" sz="quarter" idx="22"/>
          </p:nvPr>
        </p:nvSpPr>
        <p:spPr>
          <a:xfrm>
            <a:off x="712490" y="3991704"/>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21">
            <a:extLst>
              <a:ext uri="{FF2B5EF4-FFF2-40B4-BE49-F238E27FC236}">
                <a16:creationId xmlns:a16="http://schemas.microsoft.com/office/drawing/2014/main" id="{522BF0E6-D09C-4846-8EA7-DA0346FA844B}"/>
              </a:ext>
            </a:extLst>
          </p:cNvPr>
          <p:cNvSpPr>
            <a:spLocks noGrp="1"/>
          </p:cNvSpPr>
          <p:nvPr>
            <p:ph type="body" sz="quarter" idx="23"/>
          </p:nvPr>
        </p:nvSpPr>
        <p:spPr>
          <a:xfrm>
            <a:off x="4371180" y="3978043"/>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21">
            <a:extLst>
              <a:ext uri="{FF2B5EF4-FFF2-40B4-BE49-F238E27FC236}">
                <a16:creationId xmlns:a16="http://schemas.microsoft.com/office/drawing/2014/main" id="{2F7555DA-94CF-455D-BAB2-C74BE314AF10}"/>
              </a:ext>
            </a:extLst>
          </p:cNvPr>
          <p:cNvSpPr>
            <a:spLocks noGrp="1"/>
          </p:cNvSpPr>
          <p:nvPr>
            <p:ph type="body" sz="quarter" idx="24"/>
          </p:nvPr>
        </p:nvSpPr>
        <p:spPr>
          <a:xfrm>
            <a:off x="8029574" y="3978042"/>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48299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169EAE-C136-4CB1-956D-C741B036A2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425"/>
            <a:ext cx="12192000" cy="6851149"/>
          </a:xfrm>
          <a:prstGeom prst="rect">
            <a:avLst/>
          </a:prstGeom>
        </p:spPr>
      </p:pic>
      <p:sp>
        <p:nvSpPr>
          <p:cNvPr id="11" name="Rectangle 10">
            <a:extLst>
              <a:ext uri="{FF2B5EF4-FFF2-40B4-BE49-F238E27FC236}">
                <a16:creationId xmlns:a16="http://schemas.microsoft.com/office/drawing/2014/main" id="{0F134B79-A52B-4703-A12A-23F1FA0AC963}"/>
              </a:ext>
            </a:extLst>
          </p:cNvPr>
          <p:cNvSpPr/>
          <p:nvPr userDrawn="1"/>
        </p:nvSpPr>
        <p:spPr>
          <a:xfrm>
            <a:off x="0" y="6311348"/>
            <a:ext cx="12192000" cy="546652"/>
          </a:xfrm>
          <a:prstGeom prst="rect">
            <a:avLst/>
          </a:prstGeom>
          <a:solidFill>
            <a:srgbClr val="323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483B98F8-CBC6-489E-B7F0-EB846E839DB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 y="3426"/>
            <a:ext cx="12191998" cy="6851148"/>
          </a:xfrm>
          <a:prstGeom prst="rect">
            <a:avLst/>
          </a:prstGeom>
        </p:spPr>
      </p:pic>
      <p:pic>
        <p:nvPicPr>
          <p:cNvPr id="12" name="Picture 11" descr="Logo, icon, company name&#10;&#10;Description automatically generated">
            <a:extLst>
              <a:ext uri="{FF2B5EF4-FFF2-40B4-BE49-F238E27FC236}">
                <a16:creationId xmlns:a16="http://schemas.microsoft.com/office/drawing/2014/main" id="{85FEF305-2D5E-4726-9C33-23D861A17F9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5970" y="6424307"/>
            <a:ext cx="302072" cy="302072"/>
          </a:xfrm>
          <a:prstGeom prst="rect">
            <a:avLst/>
          </a:prstGeom>
        </p:spPr>
      </p:pic>
      <p:sp>
        <p:nvSpPr>
          <p:cNvPr id="13" name="Slide Number Placeholder 10">
            <a:extLst>
              <a:ext uri="{FF2B5EF4-FFF2-40B4-BE49-F238E27FC236}">
                <a16:creationId xmlns:a16="http://schemas.microsoft.com/office/drawing/2014/main" id="{71DF92EB-B289-44C3-B5C5-0540942293B5}"/>
              </a:ext>
            </a:extLst>
          </p:cNvPr>
          <p:cNvSpPr>
            <a:spLocks noGrp="1"/>
          </p:cNvSpPr>
          <p:nvPr>
            <p:ph type="sldNum" sz="quarter" idx="4"/>
          </p:nvPr>
        </p:nvSpPr>
        <p:spPr>
          <a:xfrm>
            <a:off x="676190" y="6361254"/>
            <a:ext cx="379679" cy="365125"/>
          </a:xfrm>
          <a:prstGeom prst="rect">
            <a:avLst/>
          </a:prstGeom>
        </p:spPr>
        <p:txBody>
          <a:bodyPr vert="horz" lIns="91440" tIns="45720" rIns="91440" bIns="45720" rtlCol="0" anchor="ctr"/>
          <a:lstStyle>
            <a:lvl1pPr algn="r">
              <a:defRPr sz="900" b="1">
                <a:solidFill>
                  <a:schemeClr val="bg1"/>
                </a:solidFill>
                <a:latin typeface="Century Gothic" panose="020B0502020202020204" pitchFamily="34" charset="0"/>
              </a:defRPr>
            </a:lvl1pPr>
          </a:lstStyle>
          <a:p>
            <a:fld id="{ED8D6988-99EB-4B78-B0B8-4234E6B0D0B2}" type="slidenum">
              <a:rPr lang="en-GB" smtClean="0"/>
              <a:pPr/>
              <a:t>‹#›</a:t>
            </a:fld>
            <a:endParaRPr lang="en-GB" dirty="0"/>
          </a:p>
        </p:txBody>
      </p:sp>
      <p:sp>
        <p:nvSpPr>
          <p:cNvPr id="14" name="Footer Placeholder 11">
            <a:extLst>
              <a:ext uri="{FF2B5EF4-FFF2-40B4-BE49-F238E27FC236}">
                <a16:creationId xmlns:a16="http://schemas.microsoft.com/office/drawing/2014/main" id="{408F05C1-FADB-4F35-B08E-6F75C375B9CE}"/>
              </a:ext>
            </a:extLst>
          </p:cNvPr>
          <p:cNvSpPr>
            <a:spLocks noGrp="1"/>
          </p:cNvSpPr>
          <p:nvPr>
            <p:ph type="ftr" sz="quarter" idx="3"/>
          </p:nvPr>
        </p:nvSpPr>
        <p:spPr>
          <a:xfrm>
            <a:off x="1211068" y="6361255"/>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GB" dirty="0"/>
              <a:t>PRESENTATION TITLE </a:t>
            </a:r>
          </a:p>
        </p:txBody>
      </p:sp>
      <p:sp>
        <p:nvSpPr>
          <p:cNvPr id="17" name="Title 1">
            <a:extLst>
              <a:ext uri="{FF2B5EF4-FFF2-40B4-BE49-F238E27FC236}">
                <a16:creationId xmlns:a16="http://schemas.microsoft.com/office/drawing/2014/main" id="{7BE49D91-5DA3-4E2B-87E9-48E023EE994B}"/>
              </a:ext>
            </a:extLst>
          </p:cNvPr>
          <p:cNvSpPr>
            <a:spLocks noGrp="1"/>
          </p:cNvSpPr>
          <p:nvPr>
            <p:ph type="title" hasCustomPrompt="1"/>
          </p:nvPr>
        </p:nvSpPr>
        <p:spPr>
          <a:xfrm>
            <a:off x="2230211" y="1562769"/>
            <a:ext cx="3535972" cy="899077"/>
          </a:xfrm>
        </p:spPr>
        <p:txBody>
          <a:bodyPr>
            <a:normAutofit/>
          </a:bodyPr>
          <a:lstStyle>
            <a:lvl1pPr>
              <a:lnSpc>
                <a:spcPct val="100000"/>
              </a:lnSpc>
              <a:defRPr sz="3500" b="1">
                <a:solidFill>
                  <a:schemeClr val="bg1"/>
                </a:solidFill>
                <a:latin typeface="Century Gothic" panose="020B0502020202020204" pitchFamily="34" charset="0"/>
                <a:cs typeface="Calibri Light" panose="020F0302020204030204" pitchFamily="34" charset="0"/>
              </a:defRPr>
            </a:lvl1pPr>
          </a:lstStyle>
          <a:p>
            <a:r>
              <a:rPr lang="en-US" dirty="0"/>
              <a:t>BREAKER PAGE TITLE</a:t>
            </a:r>
            <a:endParaRPr lang="en-AU" dirty="0"/>
          </a:p>
        </p:txBody>
      </p:sp>
      <p:sp>
        <p:nvSpPr>
          <p:cNvPr id="18" name="Text Placeholder 7">
            <a:extLst>
              <a:ext uri="{FF2B5EF4-FFF2-40B4-BE49-F238E27FC236}">
                <a16:creationId xmlns:a16="http://schemas.microsoft.com/office/drawing/2014/main" id="{28183485-BE7E-4B32-A6D4-B41F0D450F5C}"/>
              </a:ext>
            </a:extLst>
          </p:cNvPr>
          <p:cNvSpPr>
            <a:spLocks noGrp="1"/>
          </p:cNvSpPr>
          <p:nvPr>
            <p:ph type="body" sz="quarter" idx="11" hasCustomPrompt="1"/>
          </p:nvPr>
        </p:nvSpPr>
        <p:spPr>
          <a:xfrm>
            <a:off x="746874" y="1562769"/>
            <a:ext cx="1269779" cy="598832"/>
          </a:xfrm>
        </p:spPr>
        <p:txBody>
          <a:bodyPr>
            <a:noAutofit/>
          </a:bodyPr>
          <a:lstStyle>
            <a:lvl1pPr marL="0" indent="0">
              <a:lnSpc>
                <a:spcPts val="5865"/>
              </a:lnSpc>
              <a:buFontTx/>
              <a:buNone/>
              <a:defRPr sz="6000" b="1">
                <a:solidFill>
                  <a:srgbClr val="36BCEE"/>
                </a:solidFill>
                <a:latin typeface="Century Gothic" panose="020B0502020202020204" pitchFamily="34" charset="0"/>
              </a:defRPr>
            </a:lvl1pPr>
            <a:lvl2pPr>
              <a:defRPr sz="5865" b="1">
                <a:solidFill>
                  <a:srgbClr val="FFC000"/>
                </a:solidFill>
              </a:defRPr>
            </a:lvl2pPr>
            <a:lvl3pPr>
              <a:defRPr sz="5865" b="1">
                <a:solidFill>
                  <a:srgbClr val="FFC000"/>
                </a:solidFill>
              </a:defRPr>
            </a:lvl3pPr>
            <a:lvl4pPr>
              <a:defRPr sz="5865" b="1">
                <a:solidFill>
                  <a:srgbClr val="FFC000"/>
                </a:solidFill>
              </a:defRPr>
            </a:lvl4pPr>
            <a:lvl5pPr>
              <a:defRPr sz="5865" b="1">
                <a:solidFill>
                  <a:srgbClr val="FFC000"/>
                </a:solidFill>
              </a:defRPr>
            </a:lvl5pPr>
          </a:lstStyle>
          <a:p>
            <a:pPr lvl="0"/>
            <a:r>
              <a:rPr lang="en-US" dirty="0"/>
              <a:t>##</a:t>
            </a:r>
            <a:endParaRPr lang="en-AU" dirty="0"/>
          </a:p>
        </p:txBody>
      </p:sp>
      <p:sp>
        <p:nvSpPr>
          <p:cNvPr id="19" name="Text Placeholder 9">
            <a:extLst>
              <a:ext uri="{FF2B5EF4-FFF2-40B4-BE49-F238E27FC236}">
                <a16:creationId xmlns:a16="http://schemas.microsoft.com/office/drawing/2014/main" id="{90972D13-86EA-4E8E-8BB2-408F76351A24}"/>
              </a:ext>
            </a:extLst>
          </p:cNvPr>
          <p:cNvSpPr>
            <a:spLocks noGrp="1"/>
          </p:cNvSpPr>
          <p:nvPr>
            <p:ph type="body" sz="quarter" idx="12" hasCustomPrompt="1"/>
          </p:nvPr>
        </p:nvSpPr>
        <p:spPr>
          <a:xfrm>
            <a:off x="1100390" y="2901425"/>
            <a:ext cx="5050238" cy="490915"/>
          </a:xfrm>
        </p:spPr>
        <p:txBody>
          <a:bodyPr>
            <a:normAutofit/>
          </a:bodyPr>
          <a:lstStyle>
            <a:lvl1pPr marL="0" indent="0">
              <a:lnSpc>
                <a:spcPct val="100000"/>
              </a:lnSpc>
              <a:spcBef>
                <a:spcPts val="0"/>
              </a:spcBef>
              <a:buFontTx/>
              <a:buNone/>
              <a:defRPr sz="2300" b="1">
                <a:solidFill>
                  <a:schemeClr val="bg1"/>
                </a:solidFill>
                <a:latin typeface="Century Gothic" panose="020B0502020202020204" pitchFamily="34" charset="0"/>
              </a:defRPr>
            </a:lvl1pPr>
            <a:lvl2pPr>
              <a:lnSpc>
                <a:spcPts val="3332"/>
              </a:lnSpc>
              <a:defRPr sz="2932">
                <a:solidFill>
                  <a:schemeClr val="accent2"/>
                </a:solidFill>
              </a:defRPr>
            </a:lvl2pPr>
            <a:lvl3pPr marL="0" indent="0">
              <a:lnSpc>
                <a:spcPts val="3332"/>
              </a:lnSpc>
              <a:buFontTx/>
              <a:buNone/>
              <a:defRPr sz="2932">
                <a:solidFill>
                  <a:schemeClr val="accent2"/>
                </a:solidFill>
              </a:defRPr>
            </a:lvl3pPr>
            <a:lvl4pPr marL="0" indent="0">
              <a:lnSpc>
                <a:spcPts val="3332"/>
              </a:lnSpc>
              <a:buFontTx/>
              <a:buNone/>
              <a:defRPr sz="2932">
                <a:solidFill>
                  <a:schemeClr val="accent2"/>
                </a:solidFill>
              </a:defRPr>
            </a:lvl4pPr>
            <a:lvl5pPr marL="0" indent="0">
              <a:lnSpc>
                <a:spcPts val="3332"/>
              </a:lnSpc>
              <a:buFontTx/>
              <a:buNone/>
              <a:defRPr sz="2932">
                <a:solidFill>
                  <a:schemeClr val="accent2"/>
                </a:solidFill>
              </a:defRPr>
            </a:lvl5pPr>
          </a:lstStyle>
          <a:p>
            <a:pPr lvl="0"/>
            <a:r>
              <a:rPr lang="en-US" dirty="0"/>
              <a:t>Support copy or sub header to be placed here across 2/3 lines</a:t>
            </a:r>
          </a:p>
        </p:txBody>
      </p:sp>
    </p:spTree>
    <p:extLst>
      <p:ext uri="{BB962C8B-B14F-4D97-AF65-F5344CB8AC3E}">
        <p14:creationId xmlns:p14="http://schemas.microsoft.com/office/powerpoint/2010/main" val="1900197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3" name="Slide Number Placeholder 10">
            <a:extLst>
              <a:ext uri="{FF2B5EF4-FFF2-40B4-BE49-F238E27FC236}">
                <a16:creationId xmlns:a16="http://schemas.microsoft.com/office/drawing/2014/main" id="{EDE0DC04-5EAA-4746-A99B-49872BDB1561}"/>
              </a:ext>
            </a:extLst>
          </p:cNvPr>
          <p:cNvSpPr>
            <a:spLocks noGrp="1"/>
          </p:cNvSpPr>
          <p:nvPr>
            <p:ph type="sldNum" sz="quarter" idx="4"/>
          </p:nvPr>
        </p:nvSpPr>
        <p:spPr>
          <a:xfrm>
            <a:off x="676190" y="6361254"/>
            <a:ext cx="379679" cy="365125"/>
          </a:xfrm>
          <a:prstGeom prst="rect">
            <a:avLst/>
          </a:prstGeom>
        </p:spPr>
        <p:txBody>
          <a:bodyPr vert="horz" lIns="91440" tIns="45720" rIns="91440" bIns="45720" rtlCol="0" anchor="ctr"/>
          <a:lstStyle>
            <a:lvl1pPr algn="r">
              <a:defRPr sz="900" b="1">
                <a:solidFill>
                  <a:schemeClr val="bg1"/>
                </a:solidFill>
                <a:latin typeface="Century Gothic" panose="020B0502020202020204" pitchFamily="34" charset="0"/>
              </a:defRPr>
            </a:lvl1pPr>
          </a:lstStyle>
          <a:p>
            <a:fld id="{ED8D6988-99EB-4B78-B0B8-4234E6B0D0B2}" type="slidenum">
              <a:rPr lang="en-GB" smtClean="0"/>
              <a:pPr/>
              <a:t>‹#›</a:t>
            </a:fld>
            <a:endParaRPr lang="en-GB" dirty="0"/>
          </a:p>
        </p:txBody>
      </p:sp>
      <p:sp>
        <p:nvSpPr>
          <p:cNvPr id="4" name="Footer Placeholder 11">
            <a:extLst>
              <a:ext uri="{FF2B5EF4-FFF2-40B4-BE49-F238E27FC236}">
                <a16:creationId xmlns:a16="http://schemas.microsoft.com/office/drawing/2014/main" id="{32A02958-8DD1-47BF-A2C2-247CC1C4728B}"/>
              </a:ext>
            </a:extLst>
          </p:cNvPr>
          <p:cNvSpPr>
            <a:spLocks noGrp="1"/>
          </p:cNvSpPr>
          <p:nvPr>
            <p:ph type="ftr" sz="quarter" idx="3"/>
          </p:nvPr>
        </p:nvSpPr>
        <p:spPr>
          <a:xfrm>
            <a:off x="1211068" y="6361255"/>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GB" dirty="0"/>
              <a:t>PRESENTATION TITLE </a:t>
            </a:r>
          </a:p>
        </p:txBody>
      </p:sp>
      <p:sp>
        <p:nvSpPr>
          <p:cNvPr id="5" name="Text Placeholder 17">
            <a:extLst>
              <a:ext uri="{FF2B5EF4-FFF2-40B4-BE49-F238E27FC236}">
                <a16:creationId xmlns:a16="http://schemas.microsoft.com/office/drawing/2014/main" id="{4FAA10EE-C96A-466B-BD83-020E2A60520F}"/>
              </a:ext>
            </a:extLst>
          </p:cNvPr>
          <p:cNvSpPr>
            <a:spLocks noGrp="1"/>
          </p:cNvSpPr>
          <p:nvPr>
            <p:ph type="body" sz="quarter" idx="10" hasCustomPrompt="1"/>
          </p:nvPr>
        </p:nvSpPr>
        <p:spPr>
          <a:xfrm>
            <a:off x="712489" y="359077"/>
            <a:ext cx="5327650" cy="681038"/>
          </a:xfrm>
        </p:spPr>
        <p:txBody>
          <a:bodyPr lIns="0">
            <a:normAutofit/>
          </a:bodyPr>
          <a:lstStyle>
            <a:lvl1pPr marL="0" indent="0">
              <a:lnSpc>
                <a:spcPct val="100000"/>
              </a:lnSpc>
              <a:spcBef>
                <a:spcPts val="0"/>
              </a:spcBef>
              <a:buFontTx/>
              <a:buNone/>
              <a:defRPr sz="3500" b="1">
                <a:solidFill>
                  <a:srgbClr val="323F47"/>
                </a:solidFill>
                <a:latin typeface="Century Gothic" panose="020B0502020202020204" pitchFamily="34" charset="0"/>
              </a:defRPr>
            </a:lvl1pPr>
          </a:lstStyle>
          <a:p>
            <a:pPr lvl="0"/>
            <a:r>
              <a:rPr lang="en-GB" dirty="0"/>
              <a:t>TITLE HEADER</a:t>
            </a:r>
          </a:p>
        </p:txBody>
      </p:sp>
    </p:spTree>
    <p:extLst>
      <p:ext uri="{BB962C8B-B14F-4D97-AF65-F5344CB8AC3E}">
        <p14:creationId xmlns:p14="http://schemas.microsoft.com/office/powerpoint/2010/main" val="16262603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11E3D9CF-A5E2-499A-B5C3-584D03F51487}"/>
              </a:ext>
            </a:extLst>
          </p:cNvPr>
          <p:cNvSpPr>
            <a:spLocks noGrp="1"/>
          </p:cNvSpPr>
          <p:nvPr>
            <p:ph type="sldNum" sz="quarter" idx="4"/>
          </p:nvPr>
        </p:nvSpPr>
        <p:spPr>
          <a:xfrm>
            <a:off x="676190" y="6361254"/>
            <a:ext cx="379679" cy="365125"/>
          </a:xfrm>
          <a:prstGeom prst="rect">
            <a:avLst/>
          </a:prstGeom>
        </p:spPr>
        <p:txBody>
          <a:bodyPr vert="horz" lIns="91440" tIns="45720" rIns="91440" bIns="45720" rtlCol="0" anchor="ctr"/>
          <a:lstStyle>
            <a:lvl1pPr algn="r">
              <a:defRPr sz="900" b="1">
                <a:solidFill>
                  <a:schemeClr val="bg1"/>
                </a:solidFill>
                <a:latin typeface="Century Gothic" panose="020B0502020202020204" pitchFamily="34" charset="0"/>
              </a:defRPr>
            </a:lvl1pPr>
          </a:lstStyle>
          <a:p>
            <a:fld id="{ED8D6988-99EB-4B78-B0B8-4234E6B0D0B2}" type="slidenum">
              <a:rPr lang="en-GB" smtClean="0"/>
              <a:pPr/>
              <a:t>‹#›</a:t>
            </a:fld>
            <a:endParaRPr lang="en-GB" dirty="0"/>
          </a:p>
        </p:txBody>
      </p:sp>
      <p:sp>
        <p:nvSpPr>
          <p:cNvPr id="12" name="Footer Placeholder 11">
            <a:extLst>
              <a:ext uri="{FF2B5EF4-FFF2-40B4-BE49-F238E27FC236}">
                <a16:creationId xmlns:a16="http://schemas.microsoft.com/office/drawing/2014/main" id="{DD4B05FD-3A6D-44CE-8457-AA3CCEE6B662}"/>
              </a:ext>
            </a:extLst>
          </p:cNvPr>
          <p:cNvSpPr>
            <a:spLocks noGrp="1"/>
          </p:cNvSpPr>
          <p:nvPr>
            <p:ph type="ftr" sz="quarter" idx="3"/>
          </p:nvPr>
        </p:nvSpPr>
        <p:spPr>
          <a:xfrm>
            <a:off x="1211068" y="6361255"/>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GB" dirty="0"/>
              <a:t>PRESENTATION TITLE </a:t>
            </a:r>
          </a:p>
        </p:txBody>
      </p:sp>
      <p:sp>
        <p:nvSpPr>
          <p:cNvPr id="13" name="Text Placeholder 17">
            <a:extLst>
              <a:ext uri="{FF2B5EF4-FFF2-40B4-BE49-F238E27FC236}">
                <a16:creationId xmlns:a16="http://schemas.microsoft.com/office/drawing/2014/main" id="{3F429B69-AB31-4C57-ADA3-5F8EA2D5982D}"/>
              </a:ext>
            </a:extLst>
          </p:cNvPr>
          <p:cNvSpPr>
            <a:spLocks noGrp="1"/>
          </p:cNvSpPr>
          <p:nvPr>
            <p:ph type="body" sz="quarter" idx="10" hasCustomPrompt="1"/>
          </p:nvPr>
        </p:nvSpPr>
        <p:spPr>
          <a:xfrm>
            <a:off x="712489" y="359077"/>
            <a:ext cx="5327650" cy="681038"/>
          </a:xfrm>
        </p:spPr>
        <p:txBody>
          <a:bodyPr>
            <a:normAutofit/>
          </a:bodyPr>
          <a:lstStyle>
            <a:lvl1pPr marL="0" indent="0">
              <a:lnSpc>
                <a:spcPct val="100000"/>
              </a:lnSpc>
              <a:spcBef>
                <a:spcPts val="0"/>
              </a:spcBef>
              <a:buFontTx/>
              <a:buNone/>
              <a:defRPr sz="3500" b="1">
                <a:solidFill>
                  <a:srgbClr val="00B0F0"/>
                </a:solidFill>
                <a:latin typeface="Century Gothic" panose="020B0502020202020204" pitchFamily="34" charset="0"/>
              </a:defRPr>
            </a:lvl1pPr>
          </a:lstStyle>
          <a:p>
            <a:pPr lvl="0"/>
            <a:r>
              <a:rPr lang="en-GB" dirty="0"/>
              <a:t>TITLE HEADER</a:t>
            </a:r>
          </a:p>
        </p:txBody>
      </p:sp>
      <p:sp>
        <p:nvSpPr>
          <p:cNvPr id="14" name="Text Placeholder 19">
            <a:extLst>
              <a:ext uri="{FF2B5EF4-FFF2-40B4-BE49-F238E27FC236}">
                <a16:creationId xmlns:a16="http://schemas.microsoft.com/office/drawing/2014/main" id="{6DD70FED-0C31-46EE-866A-2574DF8D2CAF}"/>
              </a:ext>
            </a:extLst>
          </p:cNvPr>
          <p:cNvSpPr>
            <a:spLocks noGrp="1"/>
          </p:cNvSpPr>
          <p:nvPr>
            <p:ph type="body" sz="quarter" idx="11" hasCustomPrompt="1"/>
          </p:nvPr>
        </p:nvSpPr>
        <p:spPr>
          <a:xfrm>
            <a:off x="704994" y="1075705"/>
            <a:ext cx="10782011" cy="515704"/>
          </a:xfrm>
        </p:spPr>
        <p:txBody>
          <a:bodyPr>
            <a:normAutofit/>
          </a:bodyPr>
          <a:lstStyle>
            <a:lvl1pPr marL="0" indent="0">
              <a:buFontTx/>
              <a:buNone/>
              <a:defRPr sz="1500" b="1">
                <a:solidFill>
                  <a:srgbClr val="12326E"/>
                </a:solidFill>
                <a:latin typeface="Century Gothic" panose="020B0502020202020204" pitchFamily="34" charset="0"/>
              </a:defRPr>
            </a:lvl1pPr>
          </a:lstStyle>
          <a:p>
            <a:pPr lvl="0"/>
            <a:r>
              <a:rPr lang="en-GB" dirty="0"/>
              <a:t>Support copy and title text to be placed here across two to three lines</a:t>
            </a:r>
          </a:p>
        </p:txBody>
      </p:sp>
      <p:sp>
        <p:nvSpPr>
          <p:cNvPr id="18" name="Picture Placeholder 17">
            <a:extLst>
              <a:ext uri="{FF2B5EF4-FFF2-40B4-BE49-F238E27FC236}">
                <a16:creationId xmlns:a16="http://schemas.microsoft.com/office/drawing/2014/main" id="{C0EFDC52-159A-46FE-83CF-B74FD89A6A59}"/>
              </a:ext>
            </a:extLst>
          </p:cNvPr>
          <p:cNvSpPr>
            <a:spLocks noGrp="1"/>
          </p:cNvSpPr>
          <p:nvPr>
            <p:ph type="pic" sz="quarter" idx="19" hasCustomPrompt="1"/>
          </p:nvPr>
        </p:nvSpPr>
        <p:spPr>
          <a:xfrm>
            <a:off x="714763" y="1801812"/>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19" name="Picture Placeholder 17">
            <a:extLst>
              <a:ext uri="{FF2B5EF4-FFF2-40B4-BE49-F238E27FC236}">
                <a16:creationId xmlns:a16="http://schemas.microsoft.com/office/drawing/2014/main" id="{642DA988-D2F5-425A-B475-2617843D9CE9}"/>
              </a:ext>
            </a:extLst>
          </p:cNvPr>
          <p:cNvSpPr>
            <a:spLocks noGrp="1"/>
          </p:cNvSpPr>
          <p:nvPr>
            <p:ph type="pic" sz="quarter" idx="20" hasCustomPrompt="1"/>
          </p:nvPr>
        </p:nvSpPr>
        <p:spPr>
          <a:xfrm>
            <a:off x="4371180" y="1810605"/>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20" name="Picture Placeholder 17">
            <a:extLst>
              <a:ext uri="{FF2B5EF4-FFF2-40B4-BE49-F238E27FC236}">
                <a16:creationId xmlns:a16="http://schemas.microsoft.com/office/drawing/2014/main" id="{8930EBAC-D7BC-4C6E-AB16-6331257AB95C}"/>
              </a:ext>
            </a:extLst>
          </p:cNvPr>
          <p:cNvSpPr>
            <a:spLocks noGrp="1"/>
          </p:cNvSpPr>
          <p:nvPr>
            <p:ph type="pic" sz="quarter" idx="21" hasCustomPrompt="1"/>
          </p:nvPr>
        </p:nvSpPr>
        <p:spPr>
          <a:xfrm>
            <a:off x="8029574" y="1801812"/>
            <a:ext cx="3449638" cy="1997075"/>
          </a:xfrm>
        </p:spPr>
        <p:txBody>
          <a:bodyPr>
            <a:normAutofit/>
          </a:bodyPr>
          <a:lstStyle>
            <a:lvl1pPr marL="0" indent="0">
              <a:buFontTx/>
              <a:buNone/>
              <a:defRPr sz="1200">
                <a:solidFill>
                  <a:srgbClr val="323F47"/>
                </a:solidFill>
              </a:defRPr>
            </a:lvl1pPr>
          </a:lstStyle>
          <a:p>
            <a:r>
              <a:rPr lang="en-GB" sz="1200" dirty="0"/>
              <a:t>Click icon to insert picture</a:t>
            </a:r>
            <a:endParaRPr lang="en-GB" dirty="0"/>
          </a:p>
        </p:txBody>
      </p:sp>
      <p:sp>
        <p:nvSpPr>
          <p:cNvPr id="22" name="Text Placeholder 21">
            <a:extLst>
              <a:ext uri="{FF2B5EF4-FFF2-40B4-BE49-F238E27FC236}">
                <a16:creationId xmlns:a16="http://schemas.microsoft.com/office/drawing/2014/main" id="{345736E3-272B-473B-8CDB-45C45096C71B}"/>
              </a:ext>
            </a:extLst>
          </p:cNvPr>
          <p:cNvSpPr>
            <a:spLocks noGrp="1"/>
          </p:cNvSpPr>
          <p:nvPr>
            <p:ph type="body" sz="quarter" idx="22"/>
          </p:nvPr>
        </p:nvSpPr>
        <p:spPr>
          <a:xfrm>
            <a:off x="712490" y="3991704"/>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21">
            <a:extLst>
              <a:ext uri="{FF2B5EF4-FFF2-40B4-BE49-F238E27FC236}">
                <a16:creationId xmlns:a16="http://schemas.microsoft.com/office/drawing/2014/main" id="{522BF0E6-D09C-4846-8EA7-DA0346FA844B}"/>
              </a:ext>
            </a:extLst>
          </p:cNvPr>
          <p:cNvSpPr>
            <a:spLocks noGrp="1"/>
          </p:cNvSpPr>
          <p:nvPr>
            <p:ph type="body" sz="quarter" idx="23"/>
          </p:nvPr>
        </p:nvSpPr>
        <p:spPr>
          <a:xfrm>
            <a:off x="4371180" y="3978043"/>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21">
            <a:extLst>
              <a:ext uri="{FF2B5EF4-FFF2-40B4-BE49-F238E27FC236}">
                <a16:creationId xmlns:a16="http://schemas.microsoft.com/office/drawing/2014/main" id="{2F7555DA-94CF-455D-BAB2-C74BE314AF10}"/>
              </a:ext>
            </a:extLst>
          </p:cNvPr>
          <p:cNvSpPr>
            <a:spLocks noGrp="1"/>
          </p:cNvSpPr>
          <p:nvPr>
            <p:ph type="body" sz="quarter" idx="24"/>
          </p:nvPr>
        </p:nvSpPr>
        <p:spPr>
          <a:xfrm>
            <a:off x="8029574" y="3978042"/>
            <a:ext cx="3449638" cy="1995487"/>
          </a:xfrm>
        </p:spPr>
        <p:txBody>
          <a:bodyPr>
            <a:normAutofit/>
          </a:bodyPr>
          <a:lstStyle>
            <a:lvl1pPr marL="457200" indent="-457200">
              <a:buFont typeface="Arial" panose="020B0604020202020204" pitchFamily="34" charset="0"/>
              <a:buChar char="•"/>
              <a:defRPr sz="1400" b="1">
                <a:solidFill>
                  <a:srgbClr val="323F47"/>
                </a:solidFill>
              </a:defRPr>
            </a:lvl1pPr>
            <a:lvl2pPr marL="800100" indent="-342900">
              <a:buFont typeface="Arial" panose="020B0604020202020204" pitchFamily="34" charset="0"/>
              <a:buChar char="•"/>
              <a:defRPr sz="1200">
                <a:solidFill>
                  <a:srgbClr val="323F47"/>
                </a:solidFill>
              </a:defRPr>
            </a:lvl2pPr>
            <a:lvl3pPr marL="1257300" indent="-342900">
              <a:buFont typeface="Arial" panose="020B0604020202020204" pitchFamily="34" charset="0"/>
              <a:buChar char="•"/>
              <a:defRPr sz="1200">
                <a:solidFill>
                  <a:srgbClr val="323F47"/>
                </a:solidFill>
              </a:defRPr>
            </a:lvl3pPr>
            <a:lvl4pPr marL="1657350" indent="-285750">
              <a:buFont typeface="Arial" panose="020B0604020202020204" pitchFamily="34" charset="0"/>
              <a:buChar char="•"/>
              <a:defRPr sz="1200">
                <a:solidFill>
                  <a:srgbClr val="323F47"/>
                </a:solidFill>
              </a:defRPr>
            </a:lvl4pPr>
            <a:lvl5pPr marL="2114550" indent="-285750">
              <a:buFont typeface="Arial" panose="020B0604020202020204" pitchFamily="34" charset="0"/>
              <a:buChar char="•"/>
              <a:defRPr sz="1200">
                <a:solidFill>
                  <a:srgbClr val="323F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90035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95DE5453-9FBD-4311-BA67-DD247F8D3E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BF52273-01A8-4738-8709-7CA10B800D81}"/>
              </a:ext>
            </a:extLst>
          </p:cNvPr>
          <p:cNvSpPr>
            <a:spLocks noGrp="1"/>
          </p:cNvSpPr>
          <p:nvPr>
            <p:ph type="title" hasCustomPrompt="1"/>
          </p:nvPr>
        </p:nvSpPr>
        <p:spPr/>
        <p:txBody>
          <a:bodyPr/>
          <a:lstStyle>
            <a:lvl1pPr>
              <a:defRPr/>
            </a:lvl1pPr>
          </a:lstStyle>
          <a:p>
            <a:r>
              <a:rPr lang="en-US" dirty="0"/>
              <a:t>THANK YOU</a:t>
            </a:r>
            <a:endParaRPr lang="en-GB" dirty="0"/>
          </a:p>
        </p:txBody>
      </p:sp>
      <p:sp>
        <p:nvSpPr>
          <p:cNvPr id="6" name="Text Placeholder 3">
            <a:extLst>
              <a:ext uri="{FF2B5EF4-FFF2-40B4-BE49-F238E27FC236}">
                <a16:creationId xmlns:a16="http://schemas.microsoft.com/office/drawing/2014/main" id="{5D608580-FE0F-42C4-B5CF-5079D87793B1}"/>
              </a:ext>
            </a:extLst>
          </p:cNvPr>
          <p:cNvSpPr>
            <a:spLocks noGrp="1"/>
          </p:cNvSpPr>
          <p:nvPr>
            <p:ph type="body" sz="quarter" idx="10" hasCustomPrompt="1"/>
          </p:nvPr>
        </p:nvSpPr>
        <p:spPr>
          <a:xfrm>
            <a:off x="695325" y="1204913"/>
            <a:ext cx="10848975" cy="412750"/>
          </a:xfrm>
        </p:spPr>
        <p:txBody>
          <a:bodyPr/>
          <a:lstStyle>
            <a:lvl1pPr>
              <a:lnSpc>
                <a:spcPct val="100000"/>
              </a:lnSpc>
              <a:spcBef>
                <a:spcPts val="0"/>
              </a:spcBef>
              <a:defRPr sz="1500" b="1">
                <a:solidFill>
                  <a:schemeClr val="bg1"/>
                </a:solidFill>
                <a:latin typeface="Century Gothic" panose="020B0502020202020204" pitchFamily="34" charset="0"/>
              </a:defRPr>
            </a:lvl1pPr>
          </a:lstStyle>
          <a:p>
            <a:pPr lvl="0"/>
            <a:r>
              <a:rPr lang="en-US" dirty="0"/>
              <a:t>For further information, please contact the following people:</a:t>
            </a:r>
          </a:p>
        </p:txBody>
      </p:sp>
      <p:sp>
        <p:nvSpPr>
          <p:cNvPr id="10" name="Text Placeholder 9">
            <a:extLst>
              <a:ext uri="{FF2B5EF4-FFF2-40B4-BE49-F238E27FC236}">
                <a16:creationId xmlns:a16="http://schemas.microsoft.com/office/drawing/2014/main" id="{CB031132-89B4-4B24-8DE5-EFBD681BFF39}"/>
              </a:ext>
            </a:extLst>
          </p:cNvPr>
          <p:cNvSpPr>
            <a:spLocks noGrp="1"/>
          </p:cNvSpPr>
          <p:nvPr>
            <p:ph type="body" sz="quarter" idx="11" hasCustomPrompt="1"/>
          </p:nvPr>
        </p:nvSpPr>
        <p:spPr>
          <a:xfrm>
            <a:off x="695325" y="1855788"/>
            <a:ext cx="4316413" cy="2214562"/>
          </a:xfrm>
        </p:spPr>
        <p:txBody>
          <a:bodyPr/>
          <a:lstStyle>
            <a:lvl1pPr>
              <a:lnSpc>
                <a:spcPct val="100000"/>
              </a:lnSpc>
              <a:defRPr sz="1500" b="1">
                <a:solidFill>
                  <a:srgbClr val="00B0F0"/>
                </a:solidFill>
                <a:latin typeface="Century Gothic" panose="020B0502020202020204" pitchFamily="34" charset="0"/>
              </a:defRPr>
            </a:lvl1pPr>
            <a:lvl2pPr>
              <a:lnSpc>
                <a:spcPct val="100000"/>
              </a:lnSpc>
              <a:defRPr sz="1500">
                <a:solidFill>
                  <a:schemeClr val="bg1"/>
                </a:solidFill>
              </a:defRPr>
            </a:lvl2pPr>
            <a:lvl3pPr>
              <a:lnSpc>
                <a:spcPct val="100000"/>
              </a:lnSpc>
              <a:defRPr sz="1500">
                <a:solidFill>
                  <a:schemeClr val="bg1"/>
                </a:solidFill>
              </a:defRPr>
            </a:lvl3pPr>
            <a:lvl4pPr>
              <a:lnSpc>
                <a:spcPct val="100000"/>
              </a:lnSpc>
              <a:defRPr sz="1500">
                <a:solidFill>
                  <a:schemeClr val="bg1"/>
                </a:solidFill>
              </a:defRPr>
            </a:lvl4pPr>
            <a:lvl5pPr>
              <a:lnSpc>
                <a:spcPct val="100000"/>
              </a:lnSpc>
              <a:defRPr sz="1500">
                <a:solidFill>
                  <a:schemeClr val="bg1"/>
                </a:solidFill>
              </a:defRPr>
            </a:lvl5pPr>
          </a:lstStyle>
          <a:p>
            <a:pPr lvl="0"/>
            <a:r>
              <a:rPr lang="en-US" dirty="0"/>
              <a:t>Forename Surname</a:t>
            </a:r>
          </a:p>
          <a:p>
            <a:pPr lvl="0"/>
            <a:r>
              <a:rPr lang="en-US" dirty="0"/>
              <a:t>Job Title</a:t>
            </a:r>
          </a:p>
          <a:p>
            <a:r>
              <a:rPr lang="en-GB" sz="1500" b="1" dirty="0">
                <a:solidFill>
                  <a:schemeClr val="bg1"/>
                </a:solidFill>
                <a:latin typeface="Calibri" panose="020F0502020204030204" pitchFamily="34" charset="0"/>
                <a:cs typeface="Calibri" panose="020F0502020204030204" pitchFamily="34" charset="0"/>
              </a:rPr>
              <a:t>T</a:t>
            </a:r>
            <a:r>
              <a:rPr lang="en-GB" sz="1500" dirty="0">
                <a:solidFill>
                  <a:schemeClr val="bg1"/>
                </a:solidFill>
                <a:latin typeface="Calibri" panose="020F0502020204030204" pitchFamily="34" charset="0"/>
                <a:cs typeface="Calibri" panose="020F0502020204030204" pitchFamily="34" charset="0"/>
              </a:rPr>
              <a:t>      +44 (0) 1234 567 891</a:t>
            </a:r>
            <a:br>
              <a:rPr lang="en-GB" sz="1500"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M</a:t>
            </a:r>
            <a:r>
              <a:rPr lang="en-GB" sz="1500" dirty="0">
                <a:solidFill>
                  <a:schemeClr val="bg1"/>
                </a:solidFill>
                <a:latin typeface="Calibri" panose="020F0502020204030204" pitchFamily="34" charset="0"/>
                <a:cs typeface="Calibri" panose="020F0502020204030204" pitchFamily="34" charset="0"/>
              </a:rPr>
              <a:t>    +44 (0) 12345 678 910</a:t>
            </a:r>
            <a:br>
              <a:rPr lang="en-GB" sz="1500"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E</a:t>
            </a:r>
            <a:r>
              <a:rPr lang="en-GB" sz="1500" dirty="0">
                <a:solidFill>
                  <a:schemeClr val="bg1"/>
                </a:solidFill>
                <a:latin typeface="Calibri" panose="020F0502020204030204" pitchFamily="34" charset="0"/>
                <a:cs typeface="Calibri" panose="020F0502020204030204" pitchFamily="34" charset="0"/>
              </a:rPr>
              <a:t>     surname.forename@libertysteelgroup.com</a:t>
            </a:r>
          </a:p>
        </p:txBody>
      </p:sp>
      <p:sp>
        <p:nvSpPr>
          <p:cNvPr id="11" name="Text Placeholder 9">
            <a:extLst>
              <a:ext uri="{FF2B5EF4-FFF2-40B4-BE49-F238E27FC236}">
                <a16:creationId xmlns:a16="http://schemas.microsoft.com/office/drawing/2014/main" id="{936BC537-4E80-45C4-BB01-441B1B411944}"/>
              </a:ext>
            </a:extLst>
          </p:cNvPr>
          <p:cNvSpPr>
            <a:spLocks noGrp="1"/>
          </p:cNvSpPr>
          <p:nvPr>
            <p:ph type="body" sz="quarter" idx="12" hasCustomPrompt="1"/>
          </p:nvPr>
        </p:nvSpPr>
        <p:spPr>
          <a:xfrm>
            <a:off x="5316538" y="1855788"/>
            <a:ext cx="4316413" cy="2214562"/>
          </a:xfrm>
        </p:spPr>
        <p:txBody>
          <a:bodyPr/>
          <a:lstStyle>
            <a:lvl1pPr>
              <a:lnSpc>
                <a:spcPct val="100000"/>
              </a:lnSpc>
              <a:defRPr sz="1500" b="1">
                <a:solidFill>
                  <a:srgbClr val="00B0F0"/>
                </a:solidFill>
                <a:latin typeface="Century Gothic" panose="020B0502020202020204" pitchFamily="34" charset="0"/>
              </a:defRPr>
            </a:lvl1pPr>
            <a:lvl2pPr>
              <a:lnSpc>
                <a:spcPct val="100000"/>
              </a:lnSpc>
              <a:defRPr sz="1500">
                <a:solidFill>
                  <a:schemeClr val="bg1"/>
                </a:solidFill>
              </a:defRPr>
            </a:lvl2pPr>
            <a:lvl3pPr>
              <a:lnSpc>
                <a:spcPct val="100000"/>
              </a:lnSpc>
              <a:defRPr sz="1500">
                <a:solidFill>
                  <a:schemeClr val="bg1"/>
                </a:solidFill>
              </a:defRPr>
            </a:lvl3pPr>
            <a:lvl4pPr>
              <a:lnSpc>
                <a:spcPct val="100000"/>
              </a:lnSpc>
              <a:defRPr sz="1500">
                <a:solidFill>
                  <a:schemeClr val="bg1"/>
                </a:solidFill>
              </a:defRPr>
            </a:lvl4pPr>
            <a:lvl5pPr>
              <a:lnSpc>
                <a:spcPct val="100000"/>
              </a:lnSpc>
              <a:defRPr sz="1500">
                <a:solidFill>
                  <a:schemeClr val="bg1"/>
                </a:solidFill>
              </a:defRPr>
            </a:lvl5pPr>
          </a:lstStyle>
          <a:p>
            <a:pPr lvl="0"/>
            <a:r>
              <a:rPr lang="en-US" dirty="0"/>
              <a:t>Forename Surname</a:t>
            </a:r>
          </a:p>
          <a:p>
            <a:pPr lvl="0"/>
            <a:r>
              <a:rPr lang="en-US" dirty="0"/>
              <a:t>Job Title</a:t>
            </a:r>
          </a:p>
          <a:p>
            <a:r>
              <a:rPr lang="en-GB" sz="1500" b="1" dirty="0">
                <a:solidFill>
                  <a:schemeClr val="bg1"/>
                </a:solidFill>
                <a:latin typeface="Calibri" panose="020F0502020204030204" pitchFamily="34" charset="0"/>
                <a:cs typeface="Calibri" panose="020F0502020204030204" pitchFamily="34" charset="0"/>
              </a:rPr>
              <a:t>T</a:t>
            </a:r>
            <a:r>
              <a:rPr lang="en-GB" sz="1500" dirty="0">
                <a:solidFill>
                  <a:schemeClr val="bg1"/>
                </a:solidFill>
                <a:latin typeface="Calibri" panose="020F0502020204030204" pitchFamily="34" charset="0"/>
                <a:cs typeface="Calibri" panose="020F0502020204030204" pitchFamily="34" charset="0"/>
              </a:rPr>
              <a:t>      +44 (0) 1234 567 891</a:t>
            </a:r>
            <a:br>
              <a:rPr lang="en-GB" sz="1500"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M</a:t>
            </a:r>
            <a:r>
              <a:rPr lang="en-GB" sz="1500" dirty="0">
                <a:solidFill>
                  <a:schemeClr val="bg1"/>
                </a:solidFill>
                <a:latin typeface="Calibri" panose="020F0502020204030204" pitchFamily="34" charset="0"/>
                <a:cs typeface="Calibri" panose="020F0502020204030204" pitchFamily="34" charset="0"/>
              </a:rPr>
              <a:t>    +44 (0) 12345 678 910</a:t>
            </a:r>
            <a:br>
              <a:rPr lang="en-GB" sz="1500"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E</a:t>
            </a:r>
            <a:r>
              <a:rPr lang="en-GB" sz="1500" dirty="0">
                <a:solidFill>
                  <a:schemeClr val="bg1"/>
                </a:solidFill>
                <a:latin typeface="Calibri" panose="020F0502020204030204" pitchFamily="34" charset="0"/>
                <a:cs typeface="Calibri" panose="020F0502020204030204" pitchFamily="34" charset="0"/>
              </a:rPr>
              <a:t>     surname.forename@libertysteelgroup.com</a:t>
            </a:r>
          </a:p>
        </p:txBody>
      </p:sp>
    </p:spTree>
    <p:extLst>
      <p:ext uri="{BB962C8B-B14F-4D97-AF65-F5344CB8AC3E}">
        <p14:creationId xmlns:p14="http://schemas.microsoft.com/office/powerpoint/2010/main" val="3751529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254055-6B03-49CE-88B9-613DF68EC1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1" y="1"/>
            <a:ext cx="12182815" cy="6857999"/>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2376233" y="3039740"/>
            <a:ext cx="7559527" cy="1289082"/>
          </a:xfrm>
        </p:spPr>
        <p:txBody>
          <a:bodyPr/>
          <a:lstStyle>
            <a:lvl1pPr>
              <a:lnSpc>
                <a:spcPts val="3332"/>
              </a:lnSpc>
              <a:defRPr sz="2932" b="0">
                <a:solidFill>
                  <a:schemeClr val="accent2"/>
                </a:solidFill>
              </a:defRPr>
            </a:lvl1pPr>
            <a:lvl2pPr>
              <a:lnSpc>
                <a:spcPts val="1599"/>
              </a:lnSpc>
              <a:defRPr sz="1733" b="1" cap="all" baseline="0">
                <a:solidFill>
                  <a:schemeClr val="bg1"/>
                </a:solidFill>
                <a:latin typeface="+mj-lt"/>
              </a:defRPr>
            </a:lvl2pPr>
            <a:lvl3pPr marL="0" indent="0">
              <a:lnSpc>
                <a:spcPts val="3332"/>
              </a:lnSpc>
              <a:buFontTx/>
              <a:buNone/>
              <a:defRPr sz="2932">
                <a:solidFill>
                  <a:schemeClr val="accent2"/>
                </a:solidFill>
              </a:defRPr>
            </a:lvl3pPr>
            <a:lvl4pPr marL="0" indent="0">
              <a:lnSpc>
                <a:spcPts val="3332"/>
              </a:lnSpc>
              <a:buFontTx/>
              <a:buNone/>
              <a:defRPr sz="2932">
                <a:solidFill>
                  <a:schemeClr val="accent2"/>
                </a:solidFill>
              </a:defRPr>
            </a:lvl4pPr>
            <a:lvl5pPr marL="0" indent="0">
              <a:lnSpc>
                <a:spcPts val="3332"/>
              </a:lnSpc>
              <a:buFontTx/>
              <a:buNone/>
              <a:defRPr sz="2932">
                <a:solidFill>
                  <a:schemeClr val="accent2"/>
                </a:solidFill>
              </a:defRPr>
            </a:lvl5pPr>
          </a:lstStyle>
          <a:p>
            <a:pPr lvl="0"/>
            <a:r>
              <a:rPr lang="en-US"/>
              <a:t>Click to edit Master text styles</a:t>
            </a:r>
          </a:p>
          <a:p>
            <a:pPr lvl="1"/>
            <a:r>
              <a:rPr lang="en-US"/>
              <a:t>Second level</a:t>
            </a:r>
          </a:p>
        </p:txBody>
      </p:sp>
      <p:pic>
        <p:nvPicPr>
          <p:cNvPr id="12" name="Picture 11">
            <a:extLst>
              <a:ext uri="{FF2B5EF4-FFF2-40B4-BE49-F238E27FC236}">
                <a16:creationId xmlns:a16="http://schemas.microsoft.com/office/drawing/2014/main" id="{E489F006-265F-494B-A2FD-EF818412C8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318" y="451006"/>
            <a:ext cx="1056459" cy="1385399"/>
          </a:xfrm>
          <a:prstGeom prst="rect">
            <a:avLst/>
          </a:prstGeom>
        </p:spPr>
      </p:pic>
      <p:pic>
        <p:nvPicPr>
          <p:cNvPr id="14" name="Picture 13">
            <a:extLst>
              <a:ext uri="{FF2B5EF4-FFF2-40B4-BE49-F238E27FC236}">
                <a16:creationId xmlns:a16="http://schemas.microsoft.com/office/drawing/2014/main" id="{2B17ACDE-0D20-4108-A53F-263CBA2E00E2}"/>
              </a:ext>
            </a:extLst>
          </p:cNvPr>
          <p:cNvPicPr>
            <a:picLocks noChangeAspect="1"/>
          </p:cNvPicPr>
          <p:nvPr/>
        </p:nvPicPr>
        <p:blipFill>
          <a:blip r:embed="rId4"/>
          <a:stretch>
            <a:fillRect/>
          </a:stretch>
        </p:blipFill>
        <p:spPr>
          <a:xfrm>
            <a:off x="650394" y="5565083"/>
            <a:ext cx="696307" cy="832864"/>
          </a:xfrm>
          <a:prstGeom prst="rect">
            <a:avLst/>
          </a:prstGeom>
        </p:spPr>
      </p:pic>
      <p:sp>
        <p:nvSpPr>
          <p:cNvPr id="5" name="Text Placeholder 4">
            <a:extLst>
              <a:ext uri="{FF2B5EF4-FFF2-40B4-BE49-F238E27FC236}">
                <a16:creationId xmlns:a16="http://schemas.microsoft.com/office/drawing/2014/main" id="{CF7FA8E9-06E7-4D6F-B717-FFEA068CB5DB}"/>
              </a:ext>
            </a:extLst>
          </p:cNvPr>
          <p:cNvSpPr>
            <a:spLocks noGrp="1"/>
          </p:cNvSpPr>
          <p:nvPr>
            <p:ph type="body" sz="quarter" idx="13" hasCustomPrompt="1"/>
          </p:nvPr>
        </p:nvSpPr>
        <p:spPr>
          <a:xfrm>
            <a:off x="2376605" y="5251825"/>
            <a:ext cx="3240053" cy="1199780"/>
          </a:xfrm>
        </p:spPr>
        <p:txBody>
          <a:bodyPr/>
          <a:lstStyle>
            <a:lvl1pPr>
              <a:lnSpc>
                <a:spcPts val="1733"/>
              </a:lnSpc>
              <a:spcAft>
                <a:spcPts val="200"/>
              </a:spcAft>
              <a:defRPr sz="1733" cap="all" baseline="0">
                <a:solidFill>
                  <a:schemeClr val="bg1"/>
                </a:solidFill>
              </a:defRPr>
            </a:lvl1pPr>
            <a:lvl2pPr>
              <a:spcAft>
                <a:spcPts val="800"/>
              </a:spcAft>
              <a:defRPr sz="1733">
                <a:solidFill>
                  <a:schemeClr val="bg1"/>
                </a:solidFill>
              </a:defRPr>
            </a:lvl2pPr>
            <a:lvl3pPr marL="0" indent="0">
              <a:buFontTx/>
              <a:buNone/>
              <a:defRPr sz="1733"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sp>
        <p:nvSpPr>
          <p:cNvPr id="11" name="Title 2">
            <a:extLst>
              <a:ext uri="{FF2B5EF4-FFF2-40B4-BE49-F238E27FC236}">
                <a16:creationId xmlns:a16="http://schemas.microsoft.com/office/drawing/2014/main" id="{FE25FDAA-8EEA-4A43-92B3-C0C10A2B5EBE}"/>
              </a:ext>
            </a:extLst>
          </p:cNvPr>
          <p:cNvSpPr>
            <a:spLocks noGrp="1"/>
          </p:cNvSpPr>
          <p:nvPr>
            <p:ph type="title" hasCustomPrompt="1"/>
          </p:nvPr>
        </p:nvSpPr>
        <p:spPr>
          <a:xfrm>
            <a:off x="2375549" y="2236548"/>
            <a:ext cx="7500215" cy="749735"/>
          </a:xfrm>
        </p:spPr>
        <p:txBody>
          <a:bodyPr/>
          <a:lstStyle>
            <a:lvl1pPr>
              <a:lnSpc>
                <a:spcPts val="5865"/>
              </a:lnSpc>
              <a:defRPr sz="5865"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Tree>
    <p:extLst>
      <p:ext uri="{BB962C8B-B14F-4D97-AF65-F5344CB8AC3E}">
        <p14:creationId xmlns:p14="http://schemas.microsoft.com/office/powerpoint/2010/main" val="1304647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7" name="Date Placeholder 3">
            <a:extLst>
              <a:ext uri="{FF2B5EF4-FFF2-40B4-BE49-F238E27FC236}">
                <a16:creationId xmlns:a16="http://schemas.microsoft.com/office/drawing/2014/main" id="{84BB4F1F-6179-4449-8C1D-007D69586390}"/>
              </a:ext>
            </a:extLst>
          </p:cNvPr>
          <p:cNvSpPr>
            <a:spLocks noGrp="1"/>
          </p:cNvSpPr>
          <p:nvPr>
            <p:ph type="dt" sz="half" idx="2"/>
          </p:nvPr>
        </p:nvSpPr>
        <p:spPr>
          <a:xfrm>
            <a:off x="7355921" y="6293865"/>
            <a:ext cx="4416321" cy="363954"/>
          </a:xfrm>
          <a:prstGeom prst="rect">
            <a:avLst/>
          </a:prstGeom>
        </p:spPr>
        <p:txBody>
          <a:bodyPr vert="horz" lIns="0" tIns="0" rIns="0" bIns="0" rtlCol="0" anchor="ctr"/>
          <a:lstStyle>
            <a:lvl1pPr algn="r">
              <a:defRPr sz="1999" b="1" cap="all" baseline="0">
                <a:solidFill>
                  <a:schemeClr val="bg1"/>
                </a:solidFill>
                <a:latin typeface="+mj-lt"/>
              </a:defRPr>
            </a:lvl1pPr>
          </a:lstStyle>
          <a:p>
            <a:r>
              <a:rPr lang="en-US" dirty="0"/>
              <a:t>LIBERTY Unit Name</a:t>
            </a:r>
            <a:endParaRPr lang="en-AU" dirty="0"/>
          </a:p>
        </p:txBody>
      </p:sp>
      <p:sp>
        <p:nvSpPr>
          <p:cNvPr id="12" name="Slide Number Placeholder 5">
            <a:extLst>
              <a:ext uri="{FF2B5EF4-FFF2-40B4-BE49-F238E27FC236}">
                <a16:creationId xmlns:a16="http://schemas.microsoft.com/office/drawing/2014/main" id="{2A1313CC-3152-410C-A895-A7DDA13202D3}"/>
              </a:ext>
            </a:extLst>
          </p:cNvPr>
          <p:cNvSpPr>
            <a:spLocks noGrp="1"/>
          </p:cNvSpPr>
          <p:nvPr>
            <p:ph type="sldNum" sz="quarter" idx="4"/>
          </p:nvPr>
        </p:nvSpPr>
        <p:spPr>
          <a:xfrm>
            <a:off x="461974" y="6393559"/>
            <a:ext cx="316104" cy="216001"/>
          </a:xfrm>
          <a:prstGeom prst="rect">
            <a:avLst/>
          </a:prstGeom>
        </p:spPr>
        <p:txBody>
          <a:bodyPr vert="horz" lIns="0" tIns="0" rIns="0" bIns="0" rtlCol="0" anchor="ctr"/>
          <a:lstStyle>
            <a:lvl1pPr algn="l">
              <a:defRPr lang="en-AU" sz="1466"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3" name="Footer Placeholder 4">
            <a:extLst>
              <a:ext uri="{FF2B5EF4-FFF2-40B4-BE49-F238E27FC236}">
                <a16:creationId xmlns:a16="http://schemas.microsoft.com/office/drawing/2014/main" id="{AC05C579-1C81-4636-A06A-85D556A842F8}"/>
              </a:ext>
            </a:extLst>
          </p:cNvPr>
          <p:cNvSpPr>
            <a:spLocks noGrp="1"/>
          </p:cNvSpPr>
          <p:nvPr>
            <p:ph type="ftr" sz="quarter" idx="3"/>
          </p:nvPr>
        </p:nvSpPr>
        <p:spPr>
          <a:xfrm>
            <a:off x="791954" y="6393559"/>
            <a:ext cx="5724018" cy="216001"/>
          </a:xfrm>
          <a:prstGeom prst="rect">
            <a:avLst/>
          </a:prstGeom>
        </p:spPr>
        <p:txBody>
          <a:bodyPr vert="horz" lIns="0" tIns="0" rIns="0" bIns="0" rtlCol="0" anchor="ctr"/>
          <a:lstStyle>
            <a:lvl1pPr algn="l">
              <a:defRPr sz="1466" b="1">
                <a:solidFill>
                  <a:schemeClr val="accent1"/>
                </a:solidFill>
              </a:defRPr>
            </a:lvl1pPr>
          </a:lstStyle>
          <a:p>
            <a:r>
              <a:rPr lang="en-GB" dirty="0"/>
              <a:t>|</a:t>
            </a:r>
            <a:endParaRPr lang="en-AU" b="0" dirty="0"/>
          </a:p>
        </p:txBody>
      </p:sp>
    </p:spTree>
    <p:extLst>
      <p:ext uri="{BB962C8B-B14F-4D97-AF65-F5344CB8AC3E}">
        <p14:creationId xmlns:p14="http://schemas.microsoft.com/office/powerpoint/2010/main" val="84990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025C6-2A1B-42EA-AE13-EE8010D9D3DF}"/>
              </a:ext>
            </a:extLst>
          </p:cNvPr>
          <p:cNvSpPr>
            <a:spLocks noGrp="1"/>
          </p:cNvSpPr>
          <p:nvPr>
            <p:ph type="title"/>
          </p:nvPr>
        </p:nvSpPr>
        <p:spPr/>
        <p:txBody>
          <a:bodyPr/>
          <a:lstStyle/>
          <a:p>
            <a:r>
              <a:rPr lang="en-US"/>
              <a:t>Click to edit Master title style</a:t>
            </a:r>
            <a:endParaRPr lang="en-AU"/>
          </a:p>
        </p:txBody>
      </p:sp>
      <p:sp>
        <p:nvSpPr>
          <p:cNvPr id="9" name="Text Placeholder 8">
            <a:extLst>
              <a:ext uri="{FF2B5EF4-FFF2-40B4-BE49-F238E27FC236}">
                <a16:creationId xmlns:a16="http://schemas.microsoft.com/office/drawing/2014/main" id="{44D976CD-2A5C-4BC6-BC64-0AD1D5C25F8F}"/>
              </a:ext>
            </a:extLst>
          </p:cNvPr>
          <p:cNvSpPr>
            <a:spLocks noGrp="1"/>
          </p:cNvSpPr>
          <p:nvPr>
            <p:ph type="body" sz="quarter" idx="11"/>
          </p:nvPr>
        </p:nvSpPr>
        <p:spPr>
          <a:xfrm>
            <a:off x="457121" y="1476978"/>
            <a:ext cx="9485253" cy="3391970"/>
          </a:xfrm>
        </p:spPr>
        <p:txBody>
          <a:bodyPr/>
          <a:lstStyle>
            <a:lvl1pPr>
              <a:lnSpc>
                <a:spcPts val="4399"/>
              </a:lnSpc>
              <a:spcAft>
                <a:spcPts val="1133"/>
              </a:spcAft>
              <a:defRPr sz="3466" b="0">
                <a:solidFill>
                  <a:schemeClr val="tx1"/>
                </a:solidFill>
                <a:latin typeface="Calibri Light" panose="020F0302020204030204" pitchFamily="34" charset="0"/>
                <a:cs typeface="Calibri Light" panose="020F0302020204030204" pitchFamily="34" charset="0"/>
              </a:defRPr>
            </a:lvl1pPr>
            <a:lvl2pPr>
              <a:spcAft>
                <a:spcPts val="756"/>
              </a:spcAft>
              <a:defRPr b="1">
                <a:solidFill>
                  <a:schemeClr val="accent2"/>
                </a:solidFill>
                <a:latin typeface="+mj-lt"/>
              </a:defRPr>
            </a:lvl2pPr>
            <a:lvl3pPr marL="0" indent="0">
              <a:buFontTx/>
              <a:buNone/>
              <a:defRPr b="1">
                <a:solidFill>
                  <a:schemeClr val="accent2"/>
                </a:solidFill>
                <a:latin typeface="+mj-lt"/>
              </a:defRPr>
            </a:lvl3pPr>
            <a:lvl4pPr marL="0" indent="0">
              <a:buFontTx/>
              <a:buNone/>
              <a:defRPr b="1">
                <a:solidFill>
                  <a:schemeClr val="accent2"/>
                </a:solidFill>
                <a:latin typeface="+mj-lt"/>
              </a:defRPr>
            </a:lvl4pPr>
            <a:lvl5pPr marL="0" indent="0">
              <a:buFontTx/>
              <a:buNone/>
              <a:defRPr b="1">
                <a:solidFill>
                  <a:schemeClr val="accent2"/>
                </a:solidFill>
                <a:latin typeface="+mj-lt"/>
              </a:defRPr>
            </a:lvl5pPr>
            <a:lvl6pPr marL="0" indent="0">
              <a:buFontTx/>
              <a:buNone/>
              <a:defRPr b="1">
                <a:solidFill>
                  <a:schemeClr val="accent2"/>
                </a:solidFill>
                <a:latin typeface="+mj-lt"/>
              </a:defRPr>
            </a:lvl6pPr>
            <a:lvl7pPr marL="0" indent="0">
              <a:buFontTx/>
              <a:buNone/>
              <a:defRPr b="1">
                <a:solidFill>
                  <a:schemeClr val="accent2"/>
                </a:solidFill>
                <a:latin typeface="+mj-lt"/>
              </a:defRPr>
            </a:lvl7pPr>
            <a:lvl8pPr marL="0" indent="0">
              <a:buFontTx/>
              <a:buNone/>
              <a:defRPr b="1">
                <a:solidFill>
                  <a:schemeClr val="accent2"/>
                </a:solidFill>
                <a:latin typeface="+mj-lt"/>
              </a:defRPr>
            </a:lvl8pPr>
            <a:lvl9pPr marL="0" indent="0">
              <a:buFontTx/>
              <a:buNone/>
              <a:defRPr b="1">
                <a:solidFill>
                  <a:schemeClr val="accent2"/>
                </a:solidFill>
                <a:latin typeface="+mj-lt"/>
              </a:defRPr>
            </a:lvl9pPr>
          </a:lstStyle>
          <a:p>
            <a:pPr lvl="0"/>
            <a:r>
              <a:rPr lang="en-US"/>
              <a:t>Click to edit Master text styles</a:t>
            </a:r>
          </a:p>
          <a:p>
            <a:pPr lvl="1"/>
            <a:r>
              <a:rPr lang="en-US"/>
              <a:t>Second level</a:t>
            </a:r>
          </a:p>
          <a:p>
            <a:pPr lvl="2"/>
            <a:r>
              <a:rPr lang="en-US"/>
              <a:t>Third level</a:t>
            </a:r>
          </a:p>
        </p:txBody>
      </p:sp>
      <p:sp>
        <p:nvSpPr>
          <p:cNvPr id="7" name="Date Placeholder 3">
            <a:extLst>
              <a:ext uri="{FF2B5EF4-FFF2-40B4-BE49-F238E27FC236}">
                <a16:creationId xmlns:a16="http://schemas.microsoft.com/office/drawing/2014/main" id="{DD47A37C-419B-4AAD-A771-6DDDCAC74F02}"/>
              </a:ext>
            </a:extLst>
          </p:cNvPr>
          <p:cNvSpPr>
            <a:spLocks noGrp="1"/>
          </p:cNvSpPr>
          <p:nvPr>
            <p:ph type="dt" sz="half" idx="2"/>
          </p:nvPr>
        </p:nvSpPr>
        <p:spPr>
          <a:xfrm>
            <a:off x="7355921" y="6293865"/>
            <a:ext cx="4416321" cy="363954"/>
          </a:xfrm>
          <a:prstGeom prst="rect">
            <a:avLst/>
          </a:prstGeom>
        </p:spPr>
        <p:txBody>
          <a:bodyPr vert="horz" lIns="0" tIns="0" rIns="0" bIns="0" rtlCol="0" anchor="ctr"/>
          <a:lstStyle>
            <a:lvl1pPr algn="r">
              <a:defRPr sz="1999" b="1" cap="all" baseline="0">
                <a:solidFill>
                  <a:schemeClr val="bg1"/>
                </a:solidFill>
                <a:latin typeface="+mj-lt"/>
              </a:defRPr>
            </a:lvl1pPr>
          </a:lstStyle>
          <a:p>
            <a:r>
              <a:rPr lang="en-US" dirty="0"/>
              <a:t>LIBERTY Unit Name</a:t>
            </a:r>
            <a:endParaRPr lang="en-AU" dirty="0"/>
          </a:p>
        </p:txBody>
      </p:sp>
      <p:sp>
        <p:nvSpPr>
          <p:cNvPr id="10" name="Slide Number Placeholder 5">
            <a:extLst>
              <a:ext uri="{FF2B5EF4-FFF2-40B4-BE49-F238E27FC236}">
                <a16:creationId xmlns:a16="http://schemas.microsoft.com/office/drawing/2014/main" id="{A93A11DF-E104-4EFC-816A-E20982E0DAE9}"/>
              </a:ext>
            </a:extLst>
          </p:cNvPr>
          <p:cNvSpPr>
            <a:spLocks noGrp="1"/>
          </p:cNvSpPr>
          <p:nvPr>
            <p:ph type="sldNum" sz="quarter" idx="4"/>
          </p:nvPr>
        </p:nvSpPr>
        <p:spPr>
          <a:xfrm>
            <a:off x="461974" y="6393559"/>
            <a:ext cx="316104" cy="216001"/>
          </a:xfrm>
          <a:prstGeom prst="rect">
            <a:avLst/>
          </a:prstGeom>
        </p:spPr>
        <p:txBody>
          <a:bodyPr vert="horz" lIns="0" tIns="0" rIns="0" bIns="0" rtlCol="0" anchor="ctr"/>
          <a:lstStyle>
            <a:lvl1pPr algn="l">
              <a:defRPr lang="en-AU" sz="1466"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1" name="Footer Placeholder 4">
            <a:extLst>
              <a:ext uri="{FF2B5EF4-FFF2-40B4-BE49-F238E27FC236}">
                <a16:creationId xmlns:a16="http://schemas.microsoft.com/office/drawing/2014/main" id="{8827DCC5-B3AB-4CD4-B99B-C2648EA2D5CE}"/>
              </a:ext>
            </a:extLst>
          </p:cNvPr>
          <p:cNvSpPr>
            <a:spLocks noGrp="1"/>
          </p:cNvSpPr>
          <p:nvPr>
            <p:ph type="ftr" sz="quarter" idx="3"/>
          </p:nvPr>
        </p:nvSpPr>
        <p:spPr>
          <a:xfrm>
            <a:off x="791954" y="6393559"/>
            <a:ext cx="5724018" cy="216001"/>
          </a:xfrm>
          <a:prstGeom prst="rect">
            <a:avLst/>
          </a:prstGeom>
        </p:spPr>
        <p:txBody>
          <a:bodyPr vert="horz" lIns="0" tIns="0" rIns="0" bIns="0" rtlCol="0" anchor="ctr"/>
          <a:lstStyle>
            <a:lvl1pPr algn="l">
              <a:defRPr sz="1466" b="1">
                <a:solidFill>
                  <a:schemeClr val="accent1"/>
                </a:solidFill>
              </a:defRPr>
            </a:lvl1pPr>
          </a:lstStyle>
          <a:p>
            <a:r>
              <a:rPr lang="en-GB" dirty="0"/>
              <a:t>|</a:t>
            </a:r>
            <a:endParaRPr lang="en-AU" b="0" dirty="0"/>
          </a:p>
        </p:txBody>
      </p:sp>
    </p:spTree>
    <p:extLst>
      <p:ext uri="{BB962C8B-B14F-4D97-AF65-F5344CB8AC3E}">
        <p14:creationId xmlns:p14="http://schemas.microsoft.com/office/powerpoint/2010/main" val="2081131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Title no P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11887-90DA-4FC6-A1F2-45EC80779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3" y="1"/>
            <a:ext cx="12182815" cy="6857999"/>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2375928" y="2046479"/>
            <a:ext cx="5049983" cy="1550740"/>
          </a:xfrm>
        </p:spPr>
        <p:txBody>
          <a:bodyPr/>
          <a:lstStyle>
            <a:lvl1pPr>
              <a:lnSpc>
                <a:spcPts val="5865"/>
              </a:lnSpc>
              <a:defRPr sz="5865" b="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2375928" y="1266286"/>
            <a:ext cx="1269779" cy="598832"/>
          </a:xfrm>
        </p:spPr>
        <p:txBody>
          <a:bodyPr/>
          <a:lstStyle>
            <a:lvl1pPr>
              <a:lnSpc>
                <a:spcPts val="5865"/>
              </a:lnSpc>
              <a:defRPr sz="5865" b="1">
                <a:solidFill>
                  <a:schemeClr val="bg1"/>
                </a:solidFill>
              </a:defRPr>
            </a:lvl1pPr>
            <a:lvl2pPr>
              <a:defRPr sz="5865" b="1">
                <a:solidFill>
                  <a:srgbClr val="FFC000"/>
                </a:solidFill>
              </a:defRPr>
            </a:lvl2pPr>
            <a:lvl3pPr>
              <a:defRPr sz="5865" b="1">
                <a:solidFill>
                  <a:srgbClr val="FFC000"/>
                </a:solidFill>
              </a:defRPr>
            </a:lvl3pPr>
            <a:lvl4pPr>
              <a:defRPr sz="5865" b="1">
                <a:solidFill>
                  <a:srgbClr val="FFC000"/>
                </a:solidFill>
              </a:defRPr>
            </a:lvl4pPr>
            <a:lvl5pPr>
              <a:defRPr sz="5865"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2376232" y="3604481"/>
            <a:ext cx="5050238" cy="490915"/>
          </a:xfrm>
        </p:spPr>
        <p:txBody>
          <a:bodyPr/>
          <a:lstStyle>
            <a:lvl1pPr>
              <a:lnSpc>
                <a:spcPts val="3332"/>
              </a:lnSpc>
              <a:defRPr sz="2932" b="0">
                <a:solidFill>
                  <a:schemeClr val="accent2"/>
                </a:solidFill>
              </a:defRPr>
            </a:lvl1pPr>
            <a:lvl2pPr>
              <a:lnSpc>
                <a:spcPts val="3332"/>
              </a:lnSpc>
              <a:defRPr sz="2932">
                <a:solidFill>
                  <a:schemeClr val="accent2"/>
                </a:solidFill>
              </a:defRPr>
            </a:lvl2pPr>
            <a:lvl3pPr marL="0" indent="0">
              <a:lnSpc>
                <a:spcPts val="3332"/>
              </a:lnSpc>
              <a:buFontTx/>
              <a:buNone/>
              <a:defRPr sz="2932">
                <a:solidFill>
                  <a:schemeClr val="accent2"/>
                </a:solidFill>
              </a:defRPr>
            </a:lvl3pPr>
            <a:lvl4pPr marL="0" indent="0">
              <a:lnSpc>
                <a:spcPts val="3332"/>
              </a:lnSpc>
              <a:buFontTx/>
              <a:buNone/>
              <a:defRPr sz="2932">
                <a:solidFill>
                  <a:schemeClr val="accent2"/>
                </a:solidFill>
              </a:defRPr>
            </a:lvl4pPr>
            <a:lvl5pPr marL="0" indent="0">
              <a:lnSpc>
                <a:spcPts val="3332"/>
              </a:lnSpc>
              <a:buFontTx/>
              <a:buNone/>
              <a:defRPr sz="2932">
                <a:solidFill>
                  <a:schemeClr val="accent2"/>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E489F006-265F-494B-A2FD-EF818412C8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318" y="451006"/>
            <a:ext cx="1056459" cy="1385399"/>
          </a:xfrm>
          <a:prstGeom prst="rect">
            <a:avLst/>
          </a:prstGeom>
        </p:spPr>
      </p:pic>
      <p:sp>
        <p:nvSpPr>
          <p:cNvPr id="11" name="Date Placeholder 3">
            <a:extLst>
              <a:ext uri="{FF2B5EF4-FFF2-40B4-BE49-F238E27FC236}">
                <a16:creationId xmlns:a16="http://schemas.microsoft.com/office/drawing/2014/main" id="{C695E7F8-555A-40B1-8E6F-B472BB301EA9}"/>
              </a:ext>
            </a:extLst>
          </p:cNvPr>
          <p:cNvSpPr>
            <a:spLocks noGrp="1"/>
          </p:cNvSpPr>
          <p:nvPr>
            <p:ph type="dt" sz="half" idx="2"/>
          </p:nvPr>
        </p:nvSpPr>
        <p:spPr>
          <a:xfrm>
            <a:off x="2369329" y="6143271"/>
            <a:ext cx="1657224" cy="363954"/>
          </a:xfrm>
          <a:prstGeom prst="rect">
            <a:avLst/>
          </a:prstGeom>
        </p:spPr>
        <p:txBody>
          <a:bodyPr vert="horz" lIns="0" tIns="0" rIns="0" bIns="0" rtlCol="0" anchor="ctr"/>
          <a:lstStyle>
            <a:lvl1pPr algn="l">
              <a:defRPr sz="1999" b="1" cap="all" baseline="0">
                <a:solidFill>
                  <a:schemeClr val="bg1"/>
                </a:solidFill>
                <a:latin typeface="+mj-lt"/>
              </a:defRPr>
            </a:lvl1pPr>
          </a:lstStyle>
          <a:p>
            <a:r>
              <a:rPr lang="en-US" dirty="0"/>
              <a:t>LIBERTY Unit Name</a:t>
            </a:r>
            <a:endParaRPr lang="en-AU" dirty="0"/>
          </a:p>
        </p:txBody>
      </p:sp>
      <p:pic>
        <p:nvPicPr>
          <p:cNvPr id="9" name="Picture 8">
            <a:extLst>
              <a:ext uri="{FF2B5EF4-FFF2-40B4-BE49-F238E27FC236}">
                <a16:creationId xmlns:a16="http://schemas.microsoft.com/office/drawing/2014/main" id="{E79E5367-45B4-41A9-BAB4-52BA708FC6CC}"/>
              </a:ext>
            </a:extLst>
          </p:cNvPr>
          <p:cNvPicPr>
            <a:picLocks noChangeAspect="1"/>
          </p:cNvPicPr>
          <p:nvPr/>
        </p:nvPicPr>
        <p:blipFill>
          <a:blip r:embed="rId4"/>
          <a:stretch>
            <a:fillRect/>
          </a:stretch>
        </p:blipFill>
        <p:spPr>
          <a:xfrm>
            <a:off x="650394" y="5565083"/>
            <a:ext cx="696307" cy="832864"/>
          </a:xfrm>
          <a:prstGeom prst="rect">
            <a:avLst/>
          </a:prstGeom>
        </p:spPr>
      </p:pic>
    </p:spTree>
    <p:extLst>
      <p:ext uri="{BB962C8B-B14F-4D97-AF65-F5344CB8AC3E}">
        <p14:creationId xmlns:p14="http://schemas.microsoft.com/office/powerpoint/2010/main" val="3478480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6243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adpis a obsah">
    <p:spTree>
      <p:nvGrpSpPr>
        <p:cNvPr id="1" name=""/>
        <p:cNvGrpSpPr/>
        <p:nvPr/>
      </p:nvGrpSpPr>
      <p:grpSpPr>
        <a:xfrm>
          <a:off x="0" y="0"/>
          <a:ext cx="0" cy="0"/>
          <a:chOff x="0" y="0"/>
          <a:chExt cx="0" cy="0"/>
        </a:xfrm>
      </p:grpSpPr>
      <p:sp>
        <p:nvSpPr>
          <p:cNvPr id="9" name="Zástupný symbol pro zápatí 8">
            <a:extLst>
              <a:ext uri="{FF2B5EF4-FFF2-40B4-BE49-F238E27FC236}">
                <a16:creationId xmlns:a16="http://schemas.microsoft.com/office/drawing/2014/main" id="{30B7F4AC-4B8A-4BDE-84A9-24BC2A100A55}"/>
              </a:ext>
            </a:extLst>
          </p:cNvPr>
          <p:cNvSpPr>
            <a:spLocks noGrp="1"/>
          </p:cNvSpPr>
          <p:nvPr>
            <p:ph type="ftr" sz="quarter" idx="14"/>
          </p:nvPr>
        </p:nvSpPr>
        <p:spPr/>
        <p:txBody>
          <a:bodyPr/>
          <a:lstStyle/>
          <a:p>
            <a:pPr algn="l"/>
            <a:r>
              <a:rPr lang="en-US" dirty="0"/>
              <a:t>Change this text via Insert / Header and Footer / Apply for all</a:t>
            </a:r>
            <a:endParaRPr lang="cs-CZ" dirty="0"/>
          </a:p>
        </p:txBody>
      </p:sp>
      <p:sp>
        <p:nvSpPr>
          <p:cNvPr id="10" name="Zástupný symbol pro číslo snímku 9">
            <a:extLst>
              <a:ext uri="{FF2B5EF4-FFF2-40B4-BE49-F238E27FC236}">
                <a16:creationId xmlns:a16="http://schemas.microsoft.com/office/drawing/2014/main" id="{2987F559-833D-4951-AECE-E21F225C2DD1}"/>
              </a:ext>
            </a:extLst>
          </p:cNvPr>
          <p:cNvSpPr>
            <a:spLocks noGrp="1"/>
          </p:cNvSpPr>
          <p:nvPr>
            <p:ph type="sldNum" sz="quarter" idx="15"/>
          </p:nvPr>
        </p:nvSpPr>
        <p:spPr/>
        <p:txBody>
          <a:bodyPr/>
          <a:lstStyle/>
          <a:p>
            <a:pPr algn="l"/>
            <a:fld id="{17F0B5DE-51F6-4CA5-B82B-3F3CB22B6682}" type="slidenum">
              <a:rPr lang="cs-CZ" smtClean="0"/>
              <a:pPr/>
              <a:t>‹#›</a:t>
            </a:fld>
            <a:endParaRPr lang="cs-CZ"/>
          </a:p>
        </p:txBody>
      </p:sp>
      <p:sp>
        <p:nvSpPr>
          <p:cNvPr id="3" name="Zástupný obsah 2">
            <a:extLst>
              <a:ext uri="{FF2B5EF4-FFF2-40B4-BE49-F238E27FC236}">
                <a16:creationId xmlns:a16="http://schemas.microsoft.com/office/drawing/2014/main" id="{95CC837F-EC23-4486-8D30-6B3045891109}"/>
              </a:ext>
            </a:extLst>
          </p:cNvPr>
          <p:cNvSpPr>
            <a:spLocks noGrp="1"/>
          </p:cNvSpPr>
          <p:nvPr>
            <p:ph idx="1" hasCustomPrompt="1"/>
          </p:nvPr>
        </p:nvSpPr>
        <p:spPr/>
        <p:txBody>
          <a:bodyPr/>
          <a:lstStyle/>
          <a:p>
            <a:pPr lvl="0"/>
            <a:r>
              <a:rPr lang="cs-CZ" dirty="0" err="1"/>
              <a:t>Click</a:t>
            </a:r>
            <a:r>
              <a:rPr lang="cs-CZ" dirty="0"/>
              <a:t> to </a:t>
            </a:r>
            <a:r>
              <a:rPr lang="cs-CZ" dirty="0" err="1"/>
              <a:t>add</a:t>
            </a:r>
            <a:r>
              <a:rPr lang="cs-CZ" dirty="0"/>
              <a:t> text</a:t>
            </a:r>
          </a:p>
          <a:p>
            <a:pPr lvl="1"/>
            <a:r>
              <a:rPr lang="cs-CZ" dirty="0"/>
              <a:t>Second level</a:t>
            </a:r>
          </a:p>
          <a:p>
            <a:pPr lvl="2"/>
            <a:r>
              <a:rPr lang="cs-CZ" dirty="0" err="1"/>
              <a:t>Third</a:t>
            </a:r>
            <a:r>
              <a:rPr lang="cs-CZ" dirty="0"/>
              <a:t> level</a:t>
            </a:r>
          </a:p>
          <a:p>
            <a:pPr lvl="3"/>
            <a:r>
              <a:rPr lang="cs-CZ" dirty="0" err="1"/>
              <a:t>Fourth</a:t>
            </a:r>
            <a:r>
              <a:rPr lang="cs-CZ" dirty="0"/>
              <a:t> level</a:t>
            </a:r>
          </a:p>
          <a:p>
            <a:pPr lvl="4"/>
            <a:r>
              <a:rPr lang="cs-CZ" dirty="0" err="1"/>
              <a:t>Fifth</a:t>
            </a:r>
            <a:r>
              <a:rPr lang="cs-CZ" dirty="0"/>
              <a:t> level</a:t>
            </a:r>
          </a:p>
        </p:txBody>
      </p:sp>
      <p:sp>
        <p:nvSpPr>
          <p:cNvPr id="8" name="Zástupný Subheading">
            <a:extLst>
              <a:ext uri="{FF2B5EF4-FFF2-40B4-BE49-F238E27FC236}">
                <a16:creationId xmlns:a16="http://schemas.microsoft.com/office/drawing/2014/main" id="{152D4388-8968-49E0-A169-DEAE9F6E10C4}"/>
              </a:ext>
            </a:extLst>
          </p:cNvPr>
          <p:cNvSpPr>
            <a:spLocks noGrp="1"/>
          </p:cNvSpPr>
          <p:nvPr>
            <p:ph type="body" sz="quarter" idx="13" hasCustomPrompt="1"/>
          </p:nvPr>
        </p:nvSpPr>
        <p:spPr>
          <a:xfrm>
            <a:off x="550862" y="1089025"/>
            <a:ext cx="8981064" cy="503238"/>
          </a:xfrm>
        </p:spPr>
        <p:txBody>
          <a:bodyPr>
            <a:normAutofit/>
          </a:bodyPr>
          <a:lstStyle>
            <a:lvl1pPr marL="0" indent="0">
              <a:lnSpc>
                <a:spcPct val="90000"/>
              </a:lnSpc>
              <a:spcBef>
                <a:spcPts val="0"/>
              </a:spcBef>
              <a:buFontTx/>
              <a:buNone/>
              <a:defRPr sz="1800">
                <a:solidFill>
                  <a:schemeClr val="tx2"/>
                </a:solidFill>
                <a:latin typeface="+mj-lt"/>
              </a:defRPr>
            </a:lvl1pPr>
            <a:lvl2pPr>
              <a:spcBef>
                <a:spcPts val="0"/>
              </a:spcBef>
              <a:defRPr/>
            </a:lvl2pPr>
            <a:lvl3pPr>
              <a:spcBef>
                <a:spcPts val="0"/>
              </a:spcBef>
              <a:defRPr/>
            </a:lvl3pPr>
            <a:lvl4pPr>
              <a:spcBef>
                <a:spcPts val="0"/>
              </a:spcBef>
              <a:defRPr/>
            </a:lvl4pPr>
            <a:lvl5pPr>
              <a:spcBef>
                <a:spcPts val="0"/>
              </a:spcBef>
              <a:defRPr/>
            </a:lvl5pPr>
          </a:lstStyle>
          <a:p>
            <a:pPr lvl="0"/>
            <a:r>
              <a:rPr lang="cs-CZ" dirty="0"/>
              <a:t>Slide sub-</a:t>
            </a:r>
            <a:r>
              <a:rPr lang="cs-CZ" dirty="0" err="1"/>
              <a:t>heading</a:t>
            </a:r>
            <a:r>
              <a:rPr lang="cs-CZ" dirty="0"/>
              <a:t> </a:t>
            </a:r>
            <a:r>
              <a:rPr lang="cs-CZ" dirty="0" err="1"/>
              <a:t>goes</a:t>
            </a:r>
            <a:r>
              <a:rPr lang="cs-CZ" dirty="0"/>
              <a:t> </a:t>
            </a:r>
            <a:r>
              <a:rPr lang="cs-CZ" dirty="0" err="1"/>
              <a:t>here</a:t>
            </a:r>
            <a:endParaRPr lang="cs-CZ" dirty="0"/>
          </a:p>
        </p:txBody>
      </p:sp>
      <p:sp>
        <p:nvSpPr>
          <p:cNvPr id="2" name="Nadpis 1">
            <a:extLst>
              <a:ext uri="{FF2B5EF4-FFF2-40B4-BE49-F238E27FC236}">
                <a16:creationId xmlns:a16="http://schemas.microsoft.com/office/drawing/2014/main" id="{C19DCA96-94E3-48CB-B871-9A69B1A4E12F}"/>
              </a:ext>
            </a:extLst>
          </p:cNvPr>
          <p:cNvSpPr>
            <a:spLocks noGrp="1"/>
          </p:cNvSpPr>
          <p:nvPr>
            <p:ph type="title" hasCustomPrompt="1"/>
          </p:nvPr>
        </p:nvSpPr>
        <p:spPr/>
        <p:txBody>
          <a:bodyPr/>
          <a:lstStyle/>
          <a:p>
            <a:r>
              <a:rPr lang="cs-CZ" dirty="0"/>
              <a:t>Slide </a:t>
            </a:r>
            <a:r>
              <a:rPr lang="cs-CZ" dirty="0" err="1"/>
              <a:t>title</a:t>
            </a:r>
            <a:endParaRPr lang="cs-CZ" dirty="0"/>
          </a:p>
        </p:txBody>
      </p:sp>
    </p:spTree>
    <p:extLst>
      <p:ext uri="{BB962C8B-B14F-4D97-AF65-F5344CB8AC3E}">
        <p14:creationId xmlns:p14="http://schemas.microsoft.com/office/powerpoint/2010/main" val="133063948"/>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1003">
          <p15:clr>
            <a:srgbClr val="FBAE40"/>
          </p15:clr>
        </p15:guide>
        <p15:guide id="3" pos="3840">
          <p15:clr>
            <a:srgbClr val="FBAE40"/>
          </p15:clr>
        </p15:guide>
        <p15:guide id="4" pos="347">
          <p15:clr>
            <a:srgbClr val="FBAE40"/>
          </p15:clr>
        </p15:guide>
        <p15:guide id="5" pos="7333">
          <p15:clr>
            <a:srgbClr val="FBAE40"/>
          </p15:clr>
        </p15:guide>
        <p15:guide id="6" orient="horz" pos="640">
          <p15:clr>
            <a:srgbClr val="FBAE40"/>
          </p15:clr>
        </p15:guide>
        <p15:guide id="7" orient="horz" pos="1071">
          <p15:clr>
            <a:srgbClr val="FBAE40"/>
          </p15:clr>
        </p15:guide>
        <p15:guide id="8" orient="horz" pos="3521">
          <p15:clr>
            <a:srgbClr val="FBAE40"/>
          </p15:clr>
        </p15:guide>
        <p15:guide id="9" orient="horz" pos="22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Full-Bleed Image">
    <p:spTree>
      <p:nvGrpSpPr>
        <p:cNvPr id="1" name=""/>
        <p:cNvGrpSpPr/>
        <p:nvPr/>
      </p:nvGrpSpPr>
      <p:grpSpPr>
        <a:xfrm>
          <a:off x="0" y="0"/>
          <a:ext cx="0" cy="0"/>
          <a:chOff x="0" y="0"/>
          <a:chExt cx="0" cy="0"/>
        </a:xfrm>
      </p:grpSpPr>
      <p:pic>
        <p:nvPicPr>
          <p:cNvPr id="8" name="Picture 7" descr="A person in a blue shirt&#10;&#10;Description automatically generated with low confidence">
            <a:extLst>
              <a:ext uri="{FF2B5EF4-FFF2-40B4-BE49-F238E27FC236}">
                <a16:creationId xmlns:a16="http://schemas.microsoft.com/office/drawing/2014/main" id="{20959585-0E73-4628-90F6-515EBABAF1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15B672EA-BA68-4F82-8306-BC87453FEB65}"/>
              </a:ext>
            </a:extLst>
          </p:cNvPr>
          <p:cNvSpPr>
            <a:spLocks noGrp="1"/>
          </p:cNvSpPr>
          <p:nvPr>
            <p:ph type="pic" sz="quarter" idx="15"/>
          </p:nvPr>
        </p:nvSpPr>
        <p:spPr>
          <a:xfrm>
            <a:off x="0" y="0"/>
            <a:ext cx="12192000" cy="6858000"/>
          </a:xfrm>
        </p:spPr>
        <p:txBody>
          <a:bodyPr/>
          <a:lstStyle>
            <a:lvl1pPr algn="ctr">
              <a:defRPr b="1">
                <a:solidFill>
                  <a:schemeClr val="bg1"/>
                </a:solidFill>
              </a:defRPr>
            </a:lvl1pPr>
          </a:lstStyle>
          <a:p>
            <a:endParaRPr lang="en-GB" dirty="0"/>
          </a:p>
          <a:p>
            <a:r>
              <a:rPr lang="en-GB" dirty="0"/>
              <a:t>Click icon to change picture</a:t>
            </a:r>
          </a:p>
        </p:txBody>
      </p:sp>
      <p:sp>
        <p:nvSpPr>
          <p:cNvPr id="12" name="Text Placeholder 11">
            <a:extLst>
              <a:ext uri="{FF2B5EF4-FFF2-40B4-BE49-F238E27FC236}">
                <a16:creationId xmlns:a16="http://schemas.microsoft.com/office/drawing/2014/main" id="{9339882A-FE1D-48FB-8DB4-E9AC1031F667}"/>
              </a:ext>
            </a:extLst>
          </p:cNvPr>
          <p:cNvSpPr>
            <a:spLocks noGrp="1"/>
          </p:cNvSpPr>
          <p:nvPr>
            <p:ph type="body" sz="quarter" idx="12" hasCustomPrompt="1"/>
          </p:nvPr>
        </p:nvSpPr>
        <p:spPr>
          <a:xfrm>
            <a:off x="838200" y="1582615"/>
            <a:ext cx="4200525" cy="1165348"/>
          </a:xfrm>
        </p:spPr>
        <p:txBody>
          <a:bodyPr/>
          <a:lstStyle>
            <a:lvl1pPr>
              <a:lnSpc>
                <a:spcPct val="100000"/>
              </a:lnSpc>
              <a:spcBef>
                <a:spcPts val="0"/>
              </a:spcBef>
              <a:defRPr sz="3500">
                <a:solidFill>
                  <a:schemeClr val="bg1"/>
                </a:solidFill>
                <a:latin typeface="Century Gothic Pro" panose="020B0802020202020204" pitchFamily="34" charset="0"/>
              </a:defRPr>
            </a:lvl1pPr>
          </a:lstStyle>
          <a:p>
            <a:pPr lvl="0"/>
            <a:r>
              <a:rPr lang="en-GB" dirty="0"/>
              <a:t>POWERPOINT PRESENTATION TITLE.</a:t>
            </a:r>
          </a:p>
        </p:txBody>
      </p:sp>
      <p:sp>
        <p:nvSpPr>
          <p:cNvPr id="14" name="SmartArt Placeholder 13">
            <a:extLst>
              <a:ext uri="{FF2B5EF4-FFF2-40B4-BE49-F238E27FC236}">
                <a16:creationId xmlns:a16="http://schemas.microsoft.com/office/drawing/2014/main" id="{396C1BEC-90B5-47E4-B25D-3497C35B2272}"/>
              </a:ext>
            </a:extLst>
          </p:cNvPr>
          <p:cNvSpPr>
            <a:spLocks noGrp="1"/>
          </p:cNvSpPr>
          <p:nvPr>
            <p:ph type="dgm" sz="quarter" idx="13" hasCustomPrompt="1"/>
          </p:nvPr>
        </p:nvSpPr>
        <p:spPr>
          <a:xfrm>
            <a:off x="814800" y="2987674"/>
            <a:ext cx="46800" cy="601200"/>
          </a:xfrm>
          <a:solidFill>
            <a:srgbClr val="00B0F0"/>
          </a:solidFill>
          <a:ln>
            <a:noFill/>
          </a:ln>
        </p:spPr>
        <p:txBody>
          <a:bodyPr/>
          <a:lstStyle>
            <a:lvl1pPr>
              <a:defRPr sz="800">
                <a:solidFill>
                  <a:srgbClr val="00B0F0"/>
                </a:solidFill>
              </a:defRPr>
            </a:lvl1pPr>
          </a:lstStyle>
          <a:p>
            <a:r>
              <a:rPr lang="en-GB" dirty="0"/>
              <a:t>shape</a:t>
            </a:r>
          </a:p>
        </p:txBody>
      </p:sp>
      <p:sp>
        <p:nvSpPr>
          <p:cNvPr id="5" name="Text Placeholder 4">
            <a:extLst>
              <a:ext uri="{FF2B5EF4-FFF2-40B4-BE49-F238E27FC236}">
                <a16:creationId xmlns:a16="http://schemas.microsoft.com/office/drawing/2014/main" id="{8BA8F28A-0F15-4E7F-833C-8898CE79DCB5}"/>
              </a:ext>
            </a:extLst>
          </p:cNvPr>
          <p:cNvSpPr>
            <a:spLocks noGrp="1"/>
          </p:cNvSpPr>
          <p:nvPr>
            <p:ph type="body" sz="quarter" idx="16" hasCustomPrompt="1"/>
          </p:nvPr>
        </p:nvSpPr>
        <p:spPr>
          <a:xfrm>
            <a:off x="1038225" y="2952506"/>
            <a:ext cx="4703152" cy="799200"/>
          </a:xfrm>
        </p:spPr>
        <p:txBody>
          <a:bodyPr/>
          <a:lstStyle>
            <a:lvl1pPr>
              <a:lnSpc>
                <a:spcPct val="100000"/>
              </a:lnSpc>
              <a:spcBef>
                <a:spcPts val="0"/>
              </a:spcBef>
              <a:defRPr sz="2300" b="1">
                <a:solidFill>
                  <a:schemeClr val="bg1"/>
                </a:solidFill>
                <a:latin typeface="Century Gothic" panose="020B0502020202020204" pitchFamily="34" charset="0"/>
              </a:defRPr>
            </a:lvl1pPr>
          </a:lstStyle>
          <a:p>
            <a:pPr lvl="0"/>
            <a:r>
              <a:rPr lang="en-GB" dirty="0"/>
              <a:t>Support copy and title text to be placed here across 2/3 lines</a:t>
            </a:r>
          </a:p>
        </p:txBody>
      </p:sp>
      <p:sp>
        <p:nvSpPr>
          <p:cNvPr id="13" name="SmartArt Placeholder 13">
            <a:extLst>
              <a:ext uri="{FF2B5EF4-FFF2-40B4-BE49-F238E27FC236}">
                <a16:creationId xmlns:a16="http://schemas.microsoft.com/office/drawing/2014/main" id="{D8E76EC3-DB84-4D68-85BA-4EDFB15FA081}"/>
              </a:ext>
            </a:extLst>
          </p:cNvPr>
          <p:cNvSpPr>
            <a:spLocks noGrp="1"/>
          </p:cNvSpPr>
          <p:nvPr>
            <p:ph type="dgm" sz="quarter" idx="17" hasCustomPrompt="1"/>
          </p:nvPr>
        </p:nvSpPr>
        <p:spPr>
          <a:xfrm>
            <a:off x="814800" y="5223850"/>
            <a:ext cx="46800" cy="763711"/>
          </a:xfrm>
          <a:solidFill>
            <a:srgbClr val="00B0F0"/>
          </a:solidFill>
          <a:ln>
            <a:noFill/>
          </a:ln>
        </p:spPr>
        <p:txBody>
          <a:bodyPr/>
          <a:lstStyle>
            <a:lvl1pPr>
              <a:defRPr sz="800">
                <a:solidFill>
                  <a:srgbClr val="00B0F0"/>
                </a:solidFill>
              </a:defRPr>
            </a:lvl1pPr>
          </a:lstStyle>
          <a:p>
            <a:r>
              <a:rPr lang="en-GB" dirty="0"/>
              <a:t>shape</a:t>
            </a:r>
          </a:p>
        </p:txBody>
      </p:sp>
      <p:sp>
        <p:nvSpPr>
          <p:cNvPr id="9" name="Text Placeholder 8">
            <a:extLst>
              <a:ext uri="{FF2B5EF4-FFF2-40B4-BE49-F238E27FC236}">
                <a16:creationId xmlns:a16="http://schemas.microsoft.com/office/drawing/2014/main" id="{E9AF107B-F2FF-43BA-A743-26F4D3974776}"/>
              </a:ext>
            </a:extLst>
          </p:cNvPr>
          <p:cNvSpPr>
            <a:spLocks noGrp="1"/>
          </p:cNvSpPr>
          <p:nvPr>
            <p:ph type="body" sz="quarter" idx="18" hasCustomPrompt="1"/>
          </p:nvPr>
        </p:nvSpPr>
        <p:spPr>
          <a:xfrm>
            <a:off x="1038225" y="5223851"/>
            <a:ext cx="4770438" cy="799200"/>
          </a:xfrm>
        </p:spPr>
        <p:txBody>
          <a:bodyPr/>
          <a:lstStyle>
            <a:lvl1pPr>
              <a:lnSpc>
                <a:spcPct val="100000"/>
              </a:lnSpc>
              <a:spcBef>
                <a:spcPts val="0"/>
              </a:spcBef>
              <a:spcAft>
                <a:spcPts val="0"/>
              </a:spcAft>
              <a:defRPr sz="2300" b="0">
                <a:solidFill>
                  <a:schemeClr val="bg1"/>
                </a:solidFill>
                <a:latin typeface="Century Gothic" panose="020B0502020202020204" pitchFamily="34" charset="0"/>
              </a:defRPr>
            </a:lvl1pPr>
          </a:lstStyle>
          <a:p>
            <a:pPr lvl="0"/>
            <a:r>
              <a:rPr lang="en-GB" dirty="0"/>
              <a:t>Presenter Name, Job Description Date</a:t>
            </a:r>
          </a:p>
        </p:txBody>
      </p:sp>
      <p:pic>
        <p:nvPicPr>
          <p:cNvPr id="10" name="Picture 9" descr="A picture containing text, clipart&#10;&#10;Description automatically generated">
            <a:extLst>
              <a:ext uri="{FF2B5EF4-FFF2-40B4-BE49-F238E27FC236}">
                <a16:creationId xmlns:a16="http://schemas.microsoft.com/office/drawing/2014/main" id="{D4D06BA5-7A84-4147-A7B2-61D14AA3A5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11941" y="5566604"/>
            <a:ext cx="2540618" cy="603291"/>
          </a:xfrm>
          <a:prstGeom prst="rect">
            <a:avLst/>
          </a:prstGeom>
        </p:spPr>
      </p:pic>
    </p:spTree>
    <p:extLst>
      <p:ext uri="{BB962C8B-B14F-4D97-AF65-F5344CB8AC3E}">
        <p14:creationId xmlns:p14="http://schemas.microsoft.com/office/powerpoint/2010/main" val="28648523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5.png"/><Relationship Id="rId3" Type="http://schemas.openxmlformats.org/officeDocument/2006/relationships/slideLayout" Target="../slideLayouts/slideLayout5.xml"/><Relationship Id="rId7" Type="http://schemas.openxmlformats.org/officeDocument/2006/relationships/theme" Target="../theme/theme3.xml"/><Relationship Id="rId12" Type="http://schemas.openxmlformats.org/officeDocument/2006/relationships/image" Target="../media/image4.jp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image" Target="../media/image3.emf"/><Relationship Id="rId5" Type="http://schemas.openxmlformats.org/officeDocument/2006/relationships/slideLayout" Target="../slideLayouts/slideLayout7.xml"/><Relationship Id="rId10" Type="http://schemas.openxmlformats.org/officeDocument/2006/relationships/oleObject" Target="../embeddings/oleObject1.bin"/><Relationship Id="rId4" Type="http://schemas.openxmlformats.org/officeDocument/2006/relationships/slideLayout" Target="../slideLayouts/slideLayout6.xml"/><Relationship Id="rId9"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2ECDD4B-BAE6-4130-96C5-600868888882}"/>
              </a:ext>
            </a:extLst>
          </p:cNvPr>
          <p:cNvSpPr>
            <a:spLocks noChangeAspect="1"/>
          </p:cNvSpPr>
          <p:nvPr userDrawn="1"/>
        </p:nvSpPr>
        <p:spPr>
          <a:xfrm>
            <a:off x="0" y="6339560"/>
            <a:ext cx="12192000" cy="540000"/>
          </a:xfrm>
          <a:prstGeom prst="rect">
            <a:avLst/>
          </a:prstGeom>
          <a:solidFill>
            <a:srgbClr val="323E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descr="A picture containing text, clipart&#10;&#10;Description automatically generated">
            <a:extLst>
              <a:ext uri="{FF2B5EF4-FFF2-40B4-BE49-F238E27FC236}">
                <a16:creationId xmlns:a16="http://schemas.microsoft.com/office/drawing/2014/main" id="{2EDE2978-0824-490A-BCCC-7B69AC19D6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099" y="6493717"/>
            <a:ext cx="942198" cy="223733"/>
          </a:xfrm>
          <a:prstGeom prst="rect">
            <a:avLst/>
          </a:prstGeom>
        </p:spPr>
      </p:pic>
      <p:sp>
        <p:nvSpPr>
          <p:cNvPr id="16" name="Footer Placeholder 4">
            <a:extLst>
              <a:ext uri="{FF2B5EF4-FFF2-40B4-BE49-F238E27FC236}">
                <a16:creationId xmlns:a16="http://schemas.microsoft.com/office/drawing/2014/main" id="{412A08AB-A345-49BE-9625-4854D1C5E6E2}"/>
              </a:ext>
            </a:extLst>
          </p:cNvPr>
          <p:cNvSpPr txBox="1">
            <a:spLocks/>
          </p:cNvSpPr>
          <p:nvPr userDrawn="1"/>
        </p:nvSpPr>
        <p:spPr>
          <a:xfrm>
            <a:off x="2844446" y="5631712"/>
            <a:ext cx="2439731" cy="365125"/>
          </a:xfrm>
          <a:prstGeom prst="rect">
            <a:avLst/>
          </a:prstGeom>
        </p:spPr>
        <p:txBody>
          <a:bodyPr vert="horz" lIns="91440" tIns="45720" rIns="91440" bIns="45720" rtlCol="0" anchor="ctr"/>
          <a:lstStyle>
            <a:defPPr>
              <a:defRPr lang="en-US"/>
            </a:defPPr>
            <a:lvl1pPr marL="0" algn="l" defTabSz="914400" rtl="0" eaLnBrk="1" latinLnBrk="0" hangingPunct="1">
              <a:defRPr sz="900" b="1" kern="1200">
                <a:solidFill>
                  <a:srgbClr val="00B0F0"/>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solidFill>
                  <a:schemeClr val="bg1"/>
                </a:solidFill>
              </a:rPr>
              <a:t>Presentation Title and Sub-Title</a:t>
            </a:r>
          </a:p>
        </p:txBody>
      </p:sp>
      <p:sp>
        <p:nvSpPr>
          <p:cNvPr id="17" name="Title Placeholder 16">
            <a:extLst>
              <a:ext uri="{FF2B5EF4-FFF2-40B4-BE49-F238E27FC236}">
                <a16:creationId xmlns:a16="http://schemas.microsoft.com/office/drawing/2014/main" id="{E7637093-8912-4D11-9334-6E3BC48C8A94}"/>
              </a:ext>
            </a:extLst>
          </p:cNvPr>
          <p:cNvSpPr>
            <a:spLocks noGrp="1"/>
          </p:cNvSpPr>
          <p:nvPr>
            <p:ph type="title"/>
          </p:nvPr>
        </p:nvSpPr>
        <p:spPr>
          <a:xfrm>
            <a:off x="694592" y="267922"/>
            <a:ext cx="10849705" cy="813044"/>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19" name="Slide Number Placeholder 5">
            <a:extLst>
              <a:ext uri="{FF2B5EF4-FFF2-40B4-BE49-F238E27FC236}">
                <a16:creationId xmlns:a16="http://schemas.microsoft.com/office/drawing/2014/main" id="{67C9E4CA-BD1A-4DD1-B29B-95B938C175B3}"/>
              </a:ext>
            </a:extLst>
          </p:cNvPr>
          <p:cNvSpPr txBox="1">
            <a:spLocks/>
          </p:cNvSpPr>
          <p:nvPr userDrawn="1"/>
        </p:nvSpPr>
        <p:spPr>
          <a:xfrm>
            <a:off x="809748" y="6506442"/>
            <a:ext cx="316104" cy="216001"/>
          </a:xfrm>
          <a:prstGeom prst="rect">
            <a:avLst/>
          </a:prstGeom>
        </p:spPr>
        <p:txBody>
          <a:bodyPr vert="horz" lIns="0" tIns="0" rIns="0" bIns="0" rtlCol="0" anchor="ctr"/>
          <a:lstStyle>
            <a:defPPr>
              <a:defRPr lang="en-US"/>
            </a:defPPr>
            <a:lvl1pPr marL="0" algn="l" defTabSz="914400" rtl="0" eaLnBrk="1" latinLnBrk="0" hangingPunct="1">
              <a:defRPr lang="en-AU" sz="1466" b="1" kern="1200" smtClean="0">
                <a:solidFill>
                  <a:schemeClr val="bg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E1B70CE-F4BC-4B6F-A663-B479B5E51611}" type="slidenum">
              <a:rPr lang="en-GB" sz="900" smtClean="0">
                <a:solidFill>
                  <a:schemeClr val="bg1"/>
                </a:solidFill>
                <a:latin typeface="Century Gothic" panose="020B0502020202020204" pitchFamily="34" charset="0"/>
              </a:rPr>
              <a:pPr/>
              <a:t>‹#›</a:t>
            </a:fld>
            <a:endParaRPr lang="en-GB" sz="900" dirty="0">
              <a:solidFill>
                <a:schemeClr val="bg1"/>
              </a:solidFill>
              <a:latin typeface="Century Gothic" panose="020B0502020202020204" pitchFamily="34" charset="0"/>
            </a:endParaRPr>
          </a:p>
        </p:txBody>
      </p:sp>
      <p:sp>
        <p:nvSpPr>
          <p:cNvPr id="23" name="Text Placeholder 2">
            <a:extLst>
              <a:ext uri="{FF2B5EF4-FFF2-40B4-BE49-F238E27FC236}">
                <a16:creationId xmlns:a16="http://schemas.microsoft.com/office/drawing/2014/main" id="{97D1000B-8018-4330-883D-C4B94E364EFD}"/>
              </a:ext>
            </a:extLst>
          </p:cNvPr>
          <p:cNvSpPr>
            <a:spLocks noGrp="1"/>
          </p:cNvSpPr>
          <p:nvPr>
            <p:ph type="body" idx="1"/>
          </p:nvPr>
        </p:nvSpPr>
        <p:spPr>
          <a:xfrm>
            <a:off x="694592" y="1481041"/>
            <a:ext cx="10849705" cy="4466013"/>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Tree>
    <p:extLst>
      <p:ext uri="{BB962C8B-B14F-4D97-AF65-F5344CB8AC3E}">
        <p14:creationId xmlns:p14="http://schemas.microsoft.com/office/powerpoint/2010/main" val="2732319072"/>
      </p:ext>
    </p:extLst>
  </p:cSld>
  <p:clrMap bg1="lt1" tx1="dk1" bg2="lt2" tx2="dk2" accent1="accent1" accent2="accent2" accent3="accent3" accent4="accent4" accent5="accent5" accent6="accent6" hlink="hlink" folHlink="folHlink"/>
  <p:sldLayoutIdLst>
    <p:sldLayoutId id="2147483970" r:id="rId1"/>
  </p:sldLayoutIdLst>
  <p:txStyles>
    <p:titleStyle>
      <a:lvl1pPr algn="l" defTabSz="914400" rtl="0" eaLnBrk="1" latinLnBrk="0" hangingPunct="1">
        <a:lnSpc>
          <a:spcPct val="100000"/>
        </a:lnSpc>
        <a:spcBef>
          <a:spcPct val="0"/>
        </a:spcBef>
        <a:buNone/>
        <a:defRPr sz="3500" kern="1200">
          <a:solidFill>
            <a:srgbClr val="00B0F0"/>
          </a:solidFill>
          <a:latin typeface="Century Gothic Pro" panose="020B0802020202020204" pitchFamily="34" charset="0"/>
          <a:ea typeface="+mj-ea"/>
          <a:cs typeface="+mj-cs"/>
        </a:defRPr>
      </a:lvl1pPr>
    </p:titleStyle>
    <p:bodyStyle>
      <a:lvl1pPr marL="0" indent="0" algn="l" defTabSz="914400" rtl="0" eaLnBrk="1" latinLnBrk="0" hangingPunct="1">
        <a:lnSpc>
          <a:spcPct val="100000"/>
        </a:lnSpc>
        <a:spcBef>
          <a:spcPts val="1000"/>
        </a:spcBef>
        <a:buFontTx/>
        <a:buNone/>
        <a:defRPr sz="2800" kern="1200">
          <a:solidFill>
            <a:srgbClr val="323E48"/>
          </a:solidFill>
          <a:latin typeface="+mn-lt"/>
          <a:ea typeface="+mn-ea"/>
          <a:cs typeface="+mn-cs"/>
        </a:defRPr>
      </a:lvl1pPr>
      <a:lvl2pPr marL="457200" indent="0" algn="l" defTabSz="914400" rtl="0" eaLnBrk="1" latinLnBrk="0" hangingPunct="1">
        <a:lnSpc>
          <a:spcPct val="100000"/>
        </a:lnSpc>
        <a:spcBef>
          <a:spcPts val="500"/>
        </a:spcBef>
        <a:buFontTx/>
        <a:buNone/>
        <a:defRPr sz="2400" kern="1200">
          <a:solidFill>
            <a:srgbClr val="323E48"/>
          </a:solidFill>
          <a:latin typeface="+mn-lt"/>
          <a:ea typeface="+mn-ea"/>
          <a:cs typeface="+mn-cs"/>
        </a:defRPr>
      </a:lvl2pPr>
      <a:lvl3pPr marL="914400" indent="0" algn="l" defTabSz="914400" rtl="0" eaLnBrk="1" latinLnBrk="0" hangingPunct="1">
        <a:lnSpc>
          <a:spcPct val="100000"/>
        </a:lnSpc>
        <a:spcBef>
          <a:spcPts val="500"/>
        </a:spcBef>
        <a:buFontTx/>
        <a:buNone/>
        <a:defRPr sz="2000" kern="1200">
          <a:solidFill>
            <a:srgbClr val="323E48"/>
          </a:solidFill>
          <a:latin typeface="+mn-lt"/>
          <a:ea typeface="+mn-ea"/>
          <a:cs typeface="+mn-cs"/>
        </a:defRPr>
      </a:lvl3pPr>
      <a:lvl4pPr marL="13716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4pPr>
      <a:lvl5pPr marL="18288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2ECDD4B-BAE6-4130-96C5-600868888882}"/>
              </a:ext>
            </a:extLst>
          </p:cNvPr>
          <p:cNvSpPr>
            <a:spLocks noChangeAspect="1"/>
          </p:cNvSpPr>
          <p:nvPr userDrawn="1"/>
        </p:nvSpPr>
        <p:spPr>
          <a:xfrm>
            <a:off x="0" y="6339560"/>
            <a:ext cx="12192000" cy="540000"/>
          </a:xfrm>
          <a:prstGeom prst="rect">
            <a:avLst/>
          </a:prstGeom>
          <a:solidFill>
            <a:srgbClr val="323E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Footer Placeholder 4">
            <a:extLst>
              <a:ext uri="{FF2B5EF4-FFF2-40B4-BE49-F238E27FC236}">
                <a16:creationId xmlns:a16="http://schemas.microsoft.com/office/drawing/2014/main" id="{412A08AB-A345-49BE-9625-4854D1C5E6E2}"/>
              </a:ext>
            </a:extLst>
          </p:cNvPr>
          <p:cNvSpPr txBox="1">
            <a:spLocks/>
          </p:cNvSpPr>
          <p:nvPr userDrawn="1"/>
        </p:nvSpPr>
        <p:spPr>
          <a:xfrm>
            <a:off x="2844446" y="5631712"/>
            <a:ext cx="2439731" cy="365125"/>
          </a:xfrm>
          <a:prstGeom prst="rect">
            <a:avLst/>
          </a:prstGeom>
        </p:spPr>
        <p:txBody>
          <a:bodyPr vert="horz" lIns="91440" tIns="45720" rIns="91440" bIns="45720" rtlCol="0" anchor="ctr"/>
          <a:lstStyle>
            <a:defPPr>
              <a:defRPr lang="en-US"/>
            </a:defPPr>
            <a:lvl1pPr marL="0" algn="l" defTabSz="914400" rtl="0" eaLnBrk="1" latinLnBrk="0" hangingPunct="1">
              <a:defRPr sz="900" b="1" kern="1200">
                <a:solidFill>
                  <a:srgbClr val="00B0F0"/>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solidFill>
                  <a:schemeClr val="bg1"/>
                </a:solidFill>
              </a:rPr>
              <a:t>Presentation Title and Sub-Title</a:t>
            </a:r>
          </a:p>
        </p:txBody>
      </p:sp>
      <p:sp>
        <p:nvSpPr>
          <p:cNvPr id="17" name="Title Placeholder 16">
            <a:extLst>
              <a:ext uri="{FF2B5EF4-FFF2-40B4-BE49-F238E27FC236}">
                <a16:creationId xmlns:a16="http://schemas.microsoft.com/office/drawing/2014/main" id="{E7637093-8912-4D11-9334-6E3BC48C8A94}"/>
              </a:ext>
            </a:extLst>
          </p:cNvPr>
          <p:cNvSpPr>
            <a:spLocks noGrp="1"/>
          </p:cNvSpPr>
          <p:nvPr>
            <p:ph type="title"/>
          </p:nvPr>
        </p:nvSpPr>
        <p:spPr>
          <a:xfrm>
            <a:off x="694592" y="267922"/>
            <a:ext cx="10849705" cy="813044"/>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19" name="Slide Number Placeholder 5">
            <a:extLst>
              <a:ext uri="{FF2B5EF4-FFF2-40B4-BE49-F238E27FC236}">
                <a16:creationId xmlns:a16="http://schemas.microsoft.com/office/drawing/2014/main" id="{67C9E4CA-BD1A-4DD1-B29B-95B938C175B3}"/>
              </a:ext>
            </a:extLst>
          </p:cNvPr>
          <p:cNvSpPr txBox="1">
            <a:spLocks/>
          </p:cNvSpPr>
          <p:nvPr userDrawn="1"/>
        </p:nvSpPr>
        <p:spPr>
          <a:xfrm>
            <a:off x="809748" y="6506442"/>
            <a:ext cx="316104" cy="216001"/>
          </a:xfrm>
          <a:prstGeom prst="rect">
            <a:avLst/>
          </a:prstGeom>
        </p:spPr>
        <p:txBody>
          <a:bodyPr vert="horz" lIns="0" tIns="0" rIns="0" bIns="0" rtlCol="0" anchor="ctr"/>
          <a:lstStyle>
            <a:defPPr>
              <a:defRPr lang="en-US"/>
            </a:defPPr>
            <a:lvl1pPr marL="0" algn="l" defTabSz="914400" rtl="0" eaLnBrk="1" latinLnBrk="0" hangingPunct="1">
              <a:defRPr lang="en-AU" sz="1466" b="1" kern="1200" smtClean="0">
                <a:solidFill>
                  <a:schemeClr val="bg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E1B70CE-F4BC-4B6F-A663-B479B5E51611}" type="slidenum">
              <a:rPr lang="en-GB" sz="900" smtClean="0">
                <a:solidFill>
                  <a:schemeClr val="bg1"/>
                </a:solidFill>
                <a:latin typeface="Century Gothic" panose="020B0502020202020204" pitchFamily="34" charset="0"/>
              </a:rPr>
              <a:pPr/>
              <a:t>‹#›</a:t>
            </a:fld>
            <a:endParaRPr lang="en-GB" sz="900" dirty="0">
              <a:solidFill>
                <a:schemeClr val="bg1"/>
              </a:solidFill>
              <a:latin typeface="Century Gothic" panose="020B0502020202020204" pitchFamily="34" charset="0"/>
            </a:endParaRPr>
          </a:p>
        </p:txBody>
      </p:sp>
      <p:sp>
        <p:nvSpPr>
          <p:cNvPr id="23" name="Text Placeholder 2">
            <a:extLst>
              <a:ext uri="{FF2B5EF4-FFF2-40B4-BE49-F238E27FC236}">
                <a16:creationId xmlns:a16="http://schemas.microsoft.com/office/drawing/2014/main" id="{97D1000B-8018-4330-883D-C4B94E364EFD}"/>
              </a:ext>
            </a:extLst>
          </p:cNvPr>
          <p:cNvSpPr>
            <a:spLocks noGrp="1"/>
          </p:cNvSpPr>
          <p:nvPr>
            <p:ph type="body" idx="1"/>
          </p:nvPr>
        </p:nvSpPr>
        <p:spPr>
          <a:xfrm>
            <a:off x="694592" y="1481041"/>
            <a:ext cx="10849705" cy="4466013"/>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Tree>
    <p:extLst>
      <p:ext uri="{BB962C8B-B14F-4D97-AF65-F5344CB8AC3E}">
        <p14:creationId xmlns:p14="http://schemas.microsoft.com/office/powerpoint/2010/main" val="2588031903"/>
      </p:ext>
    </p:extLst>
  </p:cSld>
  <p:clrMap bg1="lt1" tx1="dk1" bg2="lt2" tx2="dk2" accent1="accent1" accent2="accent2" accent3="accent3" accent4="accent4" accent5="accent5" accent6="accent6" hlink="hlink" folHlink="folHlink"/>
  <p:sldLayoutIdLst>
    <p:sldLayoutId id="2147484044" r:id="rId1"/>
  </p:sldLayoutIdLst>
  <p:txStyles>
    <p:titleStyle>
      <a:lvl1pPr algn="l" defTabSz="914400" rtl="0" eaLnBrk="1" latinLnBrk="0" hangingPunct="1">
        <a:lnSpc>
          <a:spcPct val="100000"/>
        </a:lnSpc>
        <a:spcBef>
          <a:spcPct val="0"/>
        </a:spcBef>
        <a:buNone/>
        <a:defRPr sz="3500" kern="1200">
          <a:solidFill>
            <a:srgbClr val="00B0F0"/>
          </a:solidFill>
          <a:latin typeface="Century Gothic Pro" panose="020B0802020202020204" pitchFamily="34" charset="0"/>
          <a:ea typeface="+mj-ea"/>
          <a:cs typeface="+mj-cs"/>
        </a:defRPr>
      </a:lvl1pPr>
    </p:titleStyle>
    <p:bodyStyle>
      <a:lvl1pPr marL="0" indent="0" algn="l" defTabSz="914400" rtl="0" eaLnBrk="1" latinLnBrk="0" hangingPunct="1">
        <a:lnSpc>
          <a:spcPct val="100000"/>
        </a:lnSpc>
        <a:spcBef>
          <a:spcPts val="1000"/>
        </a:spcBef>
        <a:buFontTx/>
        <a:buNone/>
        <a:defRPr sz="2800" kern="1200">
          <a:solidFill>
            <a:srgbClr val="323E48"/>
          </a:solidFill>
          <a:latin typeface="+mn-lt"/>
          <a:ea typeface="+mn-ea"/>
          <a:cs typeface="+mn-cs"/>
        </a:defRPr>
      </a:lvl1pPr>
      <a:lvl2pPr marL="457200" indent="0" algn="l" defTabSz="914400" rtl="0" eaLnBrk="1" latinLnBrk="0" hangingPunct="1">
        <a:lnSpc>
          <a:spcPct val="100000"/>
        </a:lnSpc>
        <a:spcBef>
          <a:spcPts val="500"/>
        </a:spcBef>
        <a:buFontTx/>
        <a:buNone/>
        <a:defRPr sz="2400" kern="1200">
          <a:solidFill>
            <a:srgbClr val="323E48"/>
          </a:solidFill>
          <a:latin typeface="+mn-lt"/>
          <a:ea typeface="+mn-ea"/>
          <a:cs typeface="+mn-cs"/>
        </a:defRPr>
      </a:lvl2pPr>
      <a:lvl3pPr marL="914400" indent="0" algn="l" defTabSz="914400" rtl="0" eaLnBrk="1" latinLnBrk="0" hangingPunct="1">
        <a:lnSpc>
          <a:spcPct val="100000"/>
        </a:lnSpc>
        <a:spcBef>
          <a:spcPts val="500"/>
        </a:spcBef>
        <a:buFontTx/>
        <a:buNone/>
        <a:defRPr sz="2000" kern="1200">
          <a:solidFill>
            <a:srgbClr val="323E48"/>
          </a:solidFill>
          <a:latin typeface="+mn-lt"/>
          <a:ea typeface="+mn-ea"/>
          <a:cs typeface="+mn-cs"/>
        </a:defRPr>
      </a:lvl3pPr>
      <a:lvl4pPr marL="13716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4pPr>
      <a:lvl5pPr marL="18288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BCD5004-5338-441C-AA84-3AFA30286C51}"/>
              </a:ext>
            </a:extLst>
          </p:cNvPr>
          <p:cNvGraphicFramePr>
            <a:graphicFrameLocks noChangeAspect="1"/>
          </p:cNvGraphicFramePr>
          <p:nvPr>
            <p:custDataLst>
              <p:tags r:id="rId8"/>
            </p:custDataLst>
            <p:extLst>
              <p:ext uri="{D42A27DB-BD31-4B8C-83A1-F6EECF244321}">
                <p14:modId xmlns:p14="http://schemas.microsoft.com/office/powerpoint/2010/main" val="27823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3" imgH="384" progId="TCLayout.ActiveDocument.1">
                  <p:embed/>
                </p:oleObj>
              </mc:Choice>
              <mc:Fallback>
                <p:oleObj name="think-cell Slide" r:id="rId10" imgW="383" imgH="384" progId="TCLayout.ActiveDocument.1">
                  <p:embed/>
                  <p:pic>
                    <p:nvPicPr>
                      <p:cNvPr id="7" name="Objekt 6" hidden="1">
                        <a:extLst>
                          <a:ext uri="{FF2B5EF4-FFF2-40B4-BE49-F238E27FC236}">
                            <a16:creationId xmlns:a16="http://schemas.microsoft.com/office/drawing/2014/main" id="{5BCD5004-5338-441C-AA84-3AFA30286C5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Obdélník 3" hidden="1">
            <a:extLst>
              <a:ext uri="{FF2B5EF4-FFF2-40B4-BE49-F238E27FC236}">
                <a16:creationId xmlns:a16="http://schemas.microsoft.com/office/drawing/2014/main" id="{1A0C0F56-551C-4700-BD79-B5F439D6CC50}"/>
              </a:ext>
            </a:extLst>
          </p:cNvPr>
          <p:cNvSpPr/>
          <p:nvPr>
            <p:custDataLst>
              <p:tags r:id="rId9"/>
            </p:custDataLst>
          </p:nvPr>
        </p:nvSpPr>
        <p:spPr>
          <a:xfrm>
            <a:off x="0" y="0"/>
            <a:ext cx="158750" cy="1587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999" b="0" i="0" baseline="0" dirty="0">
              <a:solidFill>
                <a:schemeClr val="tx1"/>
              </a:solidFill>
              <a:latin typeface="Calibri" panose="020F0502020204030204" pitchFamily="34" charset="0"/>
              <a:ea typeface="+mj-ea"/>
              <a:cs typeface="Arial" panose="020B0604020202020204" pitchFamily="34" charset="0"/>
              <a:sym typeface="Calibri" panose="020F0502020204030204" pitchFamily="34" charset="0"/>
            </a:endParaRPr>
          </a:p>
        </p:txBody>
      </p:sp>
      <p:pic>
        <p:nvPicPr>
          <p:cNvPr id="11" name="Picture 10">
            <a:extLst>
              <a:ext uri="{FF2B5EF4-FFF2-40B4-BE49-F238E27FC236}">
                <a16:creationId xmlns:a16="http://schemas.microsoft.com/office/drawing/2014/main" id="{BE59A04E-75F1-45D1-BC44-7BCF24875C17}"/>
              </a:ext>
            </a:extLst>
          </p:cNvPr>
          <p:cNvPicPr>
            <a:picLocks noChangeAspect="1"/>
          </p:cNvPicPr>
          <p:nvPr/>
        </p:nvPicPr>
        <p:blipFill>
          <a:blip r:embed="rId12"/>
          <a:stretch>
            <a:fillRect/>
          </a:stretch>
        </p:blipFill>
        <p:spPr>
          <a:xfrm>
            <a:off x="0" y="6317673"/>
            <a:ext cx="12188165" cy="540480"/>
          </a:xfrm>
          <a:prstGeom prst="rect">
            <a:avLst/>
          </a:prstGeom>
        </p:spPr>
      </p:pic>
      <p:sp>
        <p:nvSpPr>
          <p:cNvPr id="2" name="Title Placeholder 1"/>
          <p:cNvSpPr>
            <a:spLocks noGrp="1"/>
          </p:cNvSpPr>
          <p:nvPr>
            <p:ph type="title"/>
          </p:nvPr>
        </p:nvSpPr>
        <p:spPr>
          <a:xfrm>
            <a:off x="472051" y="422461"/>
            <a:ext cx="9502350" cy="456452"/>
          </a:xfrm>
          <a:prstGeom prst="rect">
            <a:avLst/>
          </a:prstGeom>
        </p:spPr>
        <p:txBody>
          <a:bodyPr vert="horz" lIns="0" tIns="0" rIns="0" bIns="0" rtlCol="0" anchor="t">
            <a:noAutofit/>
          </a:bodyPr>
          <a:lstStyle/>
          <a:p>
            <a:r>
              <a:rPr lang="en-US" noProof="0"/>
              <a:t>Click to edit Master title style</a:t>
            </a:r>
            <a:endParaRPr lang="en-AU" noProof="0" dirty="0"/>
          </a:p>
        </p:txBody>
      </p:sp>
      <p:sp>
        <p:nvSpPr>
          <p:cNvPr id="3" name="Text Placeholder 2"/>
          <p:cNvSpPr>
            <a:spLocks noGrp="1"/>
          </p:cNvSpPr>
          <p:nvPr>
            <p:ph type="body" idx="1"/>
          </p:nvPr>
        </p:nvSpPr>
        <p:spPr>
          <a:xfrm>
            <a:off x="470319" y="1481041"/>
            <a:ext cx="11285785" cy="4466013"/>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461974" y="6393559"/>
            <a:ext cx="316104" cy="216001"/>
          </a:xfrm>
          <a:prstGeom prst="rect">
            <a:avLst/>
          </a:prstGeom>
        </p:spPr>
        <p:txBody>
          <a:bodyPr vert="horz" lIns="0" tIns="0" rIns="0" bIns="0" rtlCol="0" anchor="ctr"/>
          <a:lstStyle>
            <a:lvl1pPr algn="l">
              <a:defRPr lang="en-AU" sz="1466"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pic>
        <p:nvPicPr>
          <p:cNvPr id="10" name="Picture 9">
            <a:extLst>
              <a:ext uri="{FF2B5EF4-FFF2-40B4-BE49-F238E27FC236}">
                <a16:creationId xmlns:a16="http://schemas.microsoft.com/office/drawing/2014/main" id="{8671F232-47F8-451A-9FB9-9641C09D61B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086086" y="547138"/>
            <a:ext cx="1670018" cy="357523"/>
          </a:xfrm>
          <a:prstGeom prst="rect">
            <a:avLst/>
          </a:prstGeom>
        </p:spPr>
      </p:pic>
      <p:sp>
        <p:nvSpPr>
          <p:cNvPr id="5" name="Footer Placeholder 4">
            <a:extLst>
              <a:ext uri="{FF2B5EF4-FFF2-40B4-BE49-F238E27FC236}">
                <a16:creationId xmlns:a16="http://schemas.microsoft.com/office/drawing/2014/main" id="{D80200FA-54D1-46FF-AC9C-8127824A4C4D}"/>
              </a:ext>
            </a:extLst>
          </p:cNvPr>
          <p:cNvSpPr>
            <a:spLocks noGrp="1"/>
          </p:cNvSpPr>
          <p:nvPr>
            <p:ph type="ftr" sz="quarter" idx="3"/>
          </p:nvPr>
        </p:nvSpPr>
        <p:spPr>
          <a:xfrm>
            <a:off x="791954" y="6393559"/>
            <a:ext cx="5724018" cy="216001"/>
          </a:xfrm>
          <a:prstGeom prst="rect">
            <a:avLst/>
          </a:prstGeom>
        </p:spPr>
        <p:txBody>
          <a:bodyPr vert="horz" lIns="0" tIns="0" rIns="0" bIns="0" rtlCol="0" anchor="ctr"/>
          <a:lstStyle>
            <a:lvl1pPr algn="l">
              <a:defRPr sz="1466" b="1">
                <a:solidFill>
                  <a:schemeClr val="accent1"/>
                </a:solidFill>
              </a:defRPr>
            </a:lvl1pPr>
          </a:lstStyle>
          <a:p>
            <a:r>
              <a:rPr lang="en-GB" dirty="0"/>
              <a:t>|</a:t>
            </a:r>
            <a:endParaRPr lang="en-AU" b="0" dirty="0"/>
          </a:p>
        </p:txBody>
      </p:sp>
    </p:spTree>
    <p:extLst>
      <p:ext uri="{BB962C8B-B14F-4D97-AF65-F5344CB8AC3E}">
        <p14:creationId xmlns:p14="http://schemas.microsoft.com/office/powerpoint/2010/main" val="823200605"/>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Lst>
  <p:hf hdr="0"/>
  <p:txStyles>
    <p:titleStyle>
      <a:lvl1pPr algn="l" defTabSz="1218804" rtl="0" eaLnBrk="1" latinLnBrk="0" hangingPunct="1">
        <a:lnSpc>
          <a:spcPts val="3999"/>
        </a:lnSpc>
        <a:spcBef>
          <a:spcPct val="0"/>
        </a:spcBef>
        <a:buNone/>
        <a:defRPr sz="3999" b="0" kern="1200">
          <a:solidFill>
            <a:schemeClr val="accent1"/>
          </a:solidFill>
          <a:latin typeface="+mj-lt"/>
          <a:ea typeface="+mj-ea"/>
          <a:cs typeface="Arial" pitchFamily="34" charset="0"/>
        </a:defRPr>
      </a:lvl1pPr>
    </p:titleStyle>
    <p:bodyStyle>
      <a:lvl1pPr marL="0" indent="0" algn="l" defTabSz="1218804" rtl="0" eaLnBrk="1" latinLnBrk="0" hangingPunct="1">
        <a:lnSpc>
          <a:spcPts val="2399"/>
        </a:lnSpc>
        <a:spcBef>
          <a:spcPts val="0"/>
        </a:spcBef>
        <a:spcAft>
          <a:spcPts val="756"/>
        </a:spcAft>
        <a:buFont typeface="Arial" pitchFamily="34" charset="0"/>
        <a:buNone/>
        <a:defRPr sz="1999" b="1" kern="1200" baseline="0">
          <a:solidFill>
            <a:schemeClr val="tx1"/>
          </a:solidFill>
          <a:latin typeface="+mj-lt"/>
          <a:ea typeface="+mn-ea"/>
          <a:cs typeface="Arial" pitchFamily="34" charset="0"/>
        </a:defRPr>
      </a:lvl1pPr>
      <a:lvl2pPr marL="0" indent="0" algn="l" defTabSz="1218804" rtl="0" eaLnBrk="1" latinLnBrk="0" hangingPunct="1">
        <a:lnSpc>
          <a:spcPts val="2266"/>
        </a:lnSpc>
        <a:spcBef>
          <a:spcPts val="0"/>
        </a:spcBef>
        <a:spcAft>
          <a:spcPts val="756"/>
        </a:spcAft>
        <a:buClrTx/>
        <a:buSzPct val="100000"/>
        <a:buFontTx/>
        <a:buNone/>
        <a:defRPr sz="1999" kern="1200">
          <a:solidFill>
            <a:schemeClr val="tx1"/>
          </a:solidFill>
          <a:latin typeface="+mn-lt"/>
          <a:ea typeface="+mn-ea"/>
          <a:cs typeface="Arial" pitchFamily="34" charset="0"/>
        </a:defRPr>
      </a:lvl2pPr>
      <a:lvl3pPr marL="0" indent="-335891" algn="l" defTabSz="1218804" rtl="0" eaLnBrk="1" latinLnBrk="0" hangingPunct="1">
        <a:lnSpc>
          <a:spcPts val="2266"/>
        </a:lnSpc>
        <a:spcBef>
          <a:spcPts val="0"/>
        </a:spcBef>
        <a:spcAft>
          <a:spcPts val="756"/>
        </a:spcAft>
        <a:buClrTx/>
        <a:buSzPct val="80000"/>
        <a:buFont typeface="Symbol" panose="05050102010706020507" pitchFamily="18" charset="2"/>
        <a:buChar char=""/>
        <a:defRPr sz="1999" kern="1200">
          <a:solidFill>
            <a:schemeClr val="tx1"/>
          </a:solidFill>
          <a:latin typeface="+mn-lt"/>
          <a:ea typeface="+mn-ea"/>
          <a:cs typeface="Arial" pitchFamily="34" charset="0"/>
        </a:defRPr>
      </a:lvl3pPr>
      <a:lvl4pPr marL="671782" indent="-335891" algn="l" defTabSz="1218804" rtl="0" eaLnBrk="1" latinLnBrk="0" hangingPunct="1">
        <a:lnSpc>
          <a:spcPts val="2266"/>
        </a:lnSpc>
        <a:spcBef>
          <a:spcPts val="0"/>
        </a:spcBef>
        <a:spcAft>
          <a:spcPts val="756"/>
        </a:spcAft>
        <a:buClrTx/>
        <a:buSzPct val="80000"/>
        <a:buFont typeface="Arial" panose="020B0604020202020204" pitchFamily="34" charset="0"/>
        <a:buChar char="–"/>
        <a:defRPr sz="1999" kern="1200">
          <a:solidFill>
            <a:schemeClr val="tx1"/>
          </a:solidFill>
          <a:latin typeface="+mn-lt"/>
          <a:ea typeface="+mn-ea"/>
          <a:cs typeface="Arial" pitchFamily="34" charset="0"/>
        </a:defRPr>
      </a:lvl4pPr>
      <a:lvl5pPr marL="1007672" indent="-335891" algn="l" defTabSz="1218804" rtl="0" eaLnBrk="1" latinLnBrk="0" hangingPunct="1">
        <a:lnSpc>
          <a:spcPts val="2266"/>
        </a:lnSpc>
        <a:spcBef>
          <a:spcPts val="0"/>
        </a:spcBef>
        <a:spcAft>
          <a:spcPts val="756"/>
        </a:spcAft>
        <a:buClrTx/>
        <a:buSzPct val="80000"/>
        <a:buFont typeface="Symbol" panose="05050102010706020507" pitchFamily="18" charset="2"/>
        <a:buChar char="·"/>
        <a:defRPr sz="1999" kern="1200" baseline="0">
          <a:solidFill>
            <a:schemeClr val="tx1"/>
          </a:solidFill>
          <a:latin typeface="+mn-lt"/>
          <a:ea typeface="+mn-ea"/>
          <a:cs typeface="Arial" pitchFamily="34" charset="0"/>
        </a:defRPr>
      </a:lvl5pPr>
      <a:lvl6pPr marL="1343563" indent="-335891" algn="l" defTabSz="1218804" rtl="0" eaLnBrk="1" latinLnBrk="0" hangingPunct="1">
        <a:lnSpc>
          <a:spcPts val="2266"/>
        </a:lnSpc>
        <a:spcBef>
          <a:spcPts val="0"/>
        </a:spcBef>
        <a:spcAft>
          <a:spcPts val="756"/>
        </a:spcAft>
        <a:buClrTx/>
        <a:buSzPct val="80000"/>
        <a:buFont typeface="Symbol" panose="05050102010706020507" pitchFamily="18" charset="2"/>
        <a:buChar char="·"/>
        <a:defRPr sz="1999" kern="1200">
          <a:solidFill>
            <a:schemeClr val="tx1"/>
          </a:solidFill>
          <a:latin typeface="+mn-lt"/>
          <a:ea typeface="+mn-ea"/>
          <a:cs typeface="Arial" pitchFamily="34" charset="0"/>
        </a:defRPr>
      </a:lvl6pPr>
      <a:lvl7pPr marL="1679454" indent="-335891" algn="l" defTabSz="1218804" rtl="0" eaLnBrk="1" latinLnBrk="0" hangingPunct="1">
        <a:lnSpc>
          <a:spcPts val="2266"/>
        </a:lnSpc>
        <a:spcBef>
          <a:spcPts val="0"/>
        </a:spcBef>
        <a:spcAft>
          <a:spcPts val="756"/>
        </a:spcAft>
        <a:buClrTx/>
        <a:buSzPct val="80000"/>
        <a:buFont typeface="Symbol" panose="05050102010706020507" pitchFamily="18" charset="2"/>
        <a:buChar char="·"/>
        <a:defRPr sz="1999" kern="1200">
          <a:solidFill>
            <a:schemeClr val="tx1"/>
          </a:solidFill>
          <a:latin typeface="+mn-lt"/>
          <a:ea typeface="+mn-ea"/>
          <a:cs typeface="Arial" pitchFamily="34" charset="0"/>
        </a:defRPr>
      </a:lvl7pPr>
      <a:lvl8pPr marL="2015345" indent="-335891" algn="l" defTabSz="1218804" rtl="0" eaLnBrk="1" latinLnBrk="0" hangingPunct="1">
        <a:lnSpc>
          <a:spcPts val="2266"/>
        </a:lnSpc>
        <a:spcBef>
          <a:spcPts val="0"/>
        </a:spcBef>
        <a:spcAft>
          <a:spcPts val="756"/>
        </a:spcAft>
        <a:buClrTx/>
        <a:buSzPct val="80000"/>
        <a:buFont typeface="Symbol" panose="05050102010706020507" pitchFamily="18" charset="2"/>
        <a:buChar char="·"/>
        <a:defRPr sz="1999" kern="1200">
          <a:solidFill>
            <a:schemeClr val="tx1"/>
          </a:solidFill>
          <a:latin typeface="+mn-lt"/>
          <a:ea typeface="+mn-ea"/>
          <a:cs typeface="Arial" pitchFamily="34" charset="0"/>
        </a:defRPr>
      </a:lvl8pPr>
      <a:lvl9pPr marL="2351236" indent="-335891" algn="l" defTabSz="1218804" rtl="0" eaLnBrk="1" latinLnBrk="0" hangingPunct="1">
        <a:lnSpc>
          <a:spcPts val="2266"/>
        </a:lnSpc>
        <a:spcBef>
          <a:spcPts val="0"/>
        </a:spcBef>
        <a:spcAft>
          <a:spcPts val="756"/>
        </a:spcAft>
        <a:buClrTx/>
        <a:buSzPct val="80000"/>
        <a:buFont typeface="Symbol" panose="05050102010706020507" pitchFamily="18" charset="2"/>
        <a:buChar char="·"/>
        <a:defRPr sz="1999"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95">
          <p15:clr>
            <a:srgbClr val="F26B43"/>
          </p15:clr>
        </p15:guide>
        <p15:guide id="2" pos="5563">
          <p15:clr>
            <a:srgbClr val="F26B43"/>
          </p15:clr>
        </p15:guide>
        <p15:guide id="3" orient="horz" pos="430">
          <p15:clr>
            <a:srgbClr val="F26B43"/>
          </p15:clr>
        </p15:guide>
        <p15:guide id="4" orient="horz" pos="3026">
          <p15:clr>
            <a:srgbClr val="F26B43"/>
          </p15:clr>
        </p15:guide>
        <p15:guide id="5" pos="216">
          <p15:clr>
            <a:srgbClr val="F26B43"/>
          </p15:clr>
        </p15:guide>
        <p15:guide id="6" orient="horz" pos="69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2ECDD4B-BAE6-4130-96C5-600868888882}"/>
              </a:ext>
            </a:extLst>
          </p:cNvPr>
          <p:cNvSpPr>
            <a:spLocks noChangeAspect="1"/>
          </p:cNvSpPr>
          <p:nvPr userDrawn="1"/>
        </p:nvSpPr>
        <p:spPr>
          <a:xfrm>
            <a:off x="0" y="6339560"/>
            <a:ext cx="12192000" cy="540000"/>
          </a:xfrm>
          <a:prstGeom prst="rect">
            <a:avLst/>
          </a:prstGeom>
          <a:solidFill>
            <a:srgbClr val="323E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Footer Placeholder 4">
            <a:extLst>
              <a:ext uri="{FF2B5EF4-FFF2-40B4-BE49-F238E27FC236}">
                <a16:creationId xmlns:a16="http://schemas.microsoft.com/office/drawing/2014/main" id="{412A08AB-A345-49BE-9625-4854D1C5E6E2}"/>
              </a:ext>
            </a:extLst>
          </p:cNvPr>
          <p:cNvSpPr txBox="1">
            <a:spLocks/>
          </p:cNvSpPr>
          <p:nvPr userDrawn="1"/>
        </p:nvSpPr>
        <p:spPr>
          <a:xfrm>
            <a:off x="2844446" y="5631712"/>
            <a:ext cx="2439731" cy="365125"/>
          </a:xfrm>
          <a:prstGeom prst="rect">
            <a:avLst/>
          </a:prstGeom>
        </p:spPr>
        <p:txBody>
          <a:bodyPr vert="horz" lIns="91440" tIns="45720" rIns="91440" bIns="45720" rtlCol="0" anchor="ctr"/>
          <a:lstStyle>
            <a:defPPr>
              <a:defRPr lang="en-US"/>
            </a:defPPr>
            <a:lvl1pPr marL="0" algn="l" defTabSz="914400" rtl="0" eaLnBrk="1" latinLnBrk="0" hangingPunct="1">
              <a:defRPr sz="900" b="1" kern="1200">
                <a:solidFill>
                  <a:srgbClr val="00B0F0"/>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solidFill>
                  <a:schemeClr val="bg1"/>
                </a:solidFill>
              </a:rPr>
              <a:t>Presentation Title and Sub-Title</a:t>
            </a:r>
          </a:p>
        </p:txBody>
      </p:sp>
      <p:sp>
        <p:nvSpPr>
          <p:cNvPr id="17" name="Title Placeholder 16">
            <a:extLst>
              <a:ext uri="{FF2B5EF4-FFF2-40B4-BE49-F238E27FC236}">
                <a16:creationId xmlns:a16="http://schemas.microsoft.com/office/drawing/2014/main" id="{E7637093-8912-4D11-9334-6E3BC48C8A94}"/>
              </a:ext>
            </a:extLst>
          </p:cNvPr>
          <p:cNvSpPr>
            <a:spLocks noGrp="1"/>
          </p:cNvSpPr>
          <p:nvPr>
            <p:ph type="title"/>
          </p:nvPr>
        </p:nvSpPr>
        <p:spPr>
          <a:xfrm>
            <a:off x="694592" y="267922"/>
            <a:ext cx="10849705" cy="813044"/>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19" name="Slide Number Placeholder 5">
            <a:extLst>
              <a:ext uri="{FF2B5EF4-FFF2-40B4-BE49-F238E27FC236}">
                <a16:creationId xmlns:a16="http://schemas.microsoft.com/office/drawing/2014/main" id="{67C9E4CA-BD1A-4DD1-B29B-95B938C175B3}"/>
              </a:ext>
            </a:extLst>
          </p:cNvPr>
          <p:cNvSpPr txBox="1">
            <a:spLocks/>
          </p:cNvSpPr>
          <p:nvPr userDrawn="1"/>
        </p:nvSpPr>
        <p:spPr>
          <a:xfrm>
            <a:off x="809748" y="6506442"/>
            <a:ext cx="316104" cy="216001"/>
          </a:xfrm>
          <a:prstGeom prst="rect">
            <a:avLst/>
          </a:prstGeom>
        </p:spPr>
        <p:txBody>
          <a:bodyPr vert="horz" lIns="0" tIns="0" rIns="0" bIns="0" rtlCol="0" anchor="ctr"/>
          <a:lstStyle>
            <a:defPPr>
              <a:defRPr lang="en-US"/>
            </a:defPPr>
            <a:lvl1pPr marL="0" algn="l" defTabSz="914400" rtl="0" eaLnBrk="1" latinLnBrk="0" hangingPunct="1">
              <a:defRPr lang="en-AU" sz="1466" b="1" kern="1200" smtClean="0">
                <a:solidFill>
                  <a:schemeClr val="bg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E1B70CE-F4BC-4B6F-A663-B479B5E51611}" type="slidenum">
              <a:rPr lang="en-GB" sz="900" smtClean="0">
                <a:solidFill>
                  <a:schemeClr val="bg1"/>
                </a:solidFill>
                <a:latin typeface="Century Gothic" panose="020B0502020202020204" pitchFamily="34" charset="0"/>
              </a:rPr>
              <a:pPr/>
              <a:t>‹#›</a:t>
            </a:fld>
            <a:endParaRPr lang="en-GB" sz="900" dirty="0">
              <a:solidFill>
                <a:schemeClr val="bg1"/>
              </a:solidFill>
              <a:latin typeface="Century Gothic" panose="020B0502020202020204" pitchFamily="34" charset="0"/>
            </a:endParaRPr>
          </a:p>
        </p:txBody>
      </p:sp>
      <p:sp>
        <p:nvSpPr>
          <p:cNvPr id="23" name="Text Placeholder 2">
            <a:extLst>
              <a:ext uri="{FF2B5EF4-FFF2-40B4-BE49-F238E27FC236}">
                <a16:creationId xmlns:a16="http://schemas.microsoft.com/office/drawing/2014/main" id="{97D1000B-8018-4330-883D-C4B94E364EFD}"/>
              </a:ext>
            </a:extLst>
          </p:cNvPr>
          <p:cNvSpPr>
            <a:spLocks noGrp="1"/>
          </p:cNvSpPr>
          <p:nvPr>
            <p:ph type="body" idx="1"/>
          </p:nvPr>
        </p:nvSpPr>
        <p:spPr>
          <a:xfrm>
            <a:off x="694592" y="1481041"/>
            <a:ext cx="10849705" cy="4466013"/>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Tree>
    <p:extLst>
      <p:ext uri="{BB962C8B-B14F-4D97-AF65-F5344CB8AC3E}">
        <p14:creationId xmlns:p14="http://schemas.microsoft.com/office/powerpoint/2010/main" val="4211202103"/>
      </p:ext>
    </p:extLst>
  </p:cSld>
  <p:clrMap bg1="lt1" tx1="dk1" bg2="lt2" tx2="dk2" accent1="accent1" accent2="accent2" accent3="accent3" accent4="accent4" accent5="accent5" accent6="accent6" hlink="hlink" folHlink="folHlink"/>
  <p:sldLayoutIdLst>
    <p:sldLayoutId id="2147484062" r:id="rId1"/>
    <p:sldLayoutId id="2147484066" r:id="rId2"/>
  </p:sldLayoutIdLst>
  <p:txStyles>
    <p:titleStyle>
      <a:lvl1pPr algn="l" defTabSz="914400" rtl="0" eaLnBrk="1" latinLnBrk="0" hangingPunct="1">
        <a:lnSpc>
          <a:spcPct val="100000"/>
        </a:lnSpc>
        <a:spcBef>
          <a:spcPct val="0"/>
        </a:spcBef>
        <a:buNone/>
        <a:defRPr sz="3500" kern="1200">
          <a:solidFill>
            <a:srgbClr val="00B0F0"/>
          </a:solidFill>
          <a:latin typeface="Century Gothic Pro" panose="020B0802020202020204" pitchFamily="34" charset="0"/>
          <a:ea typeface="+mj-ea"/>
          <a:cs typeface="+mj-cs"/>
        </a:defRPr>
      </a:lvl1pPr>
    </p:titleStyle>
    <p:bodyStyle>
      <a:lvl1pPr marL="0" indent="0" algn="l" defTabSz="914400" rtl="0" eaLnBrk="1" latinLnBrk="0" hangingPunct="1">
        <a:lnSpc>
          <a:spcPct val="100000"/>
        </a:lnSpc>
        <a:spcBef>
          <a:spcPts val="1000"/>
        </a:spcBef>
        <a:buFontTx/>
        <a:buNone/>
        <a:defRPr sz="2800" kern="1200">
          <a:solidFill>
            <a:srgbClr val="323E48"/>
          </a:solidFill>
          <a:latin typeface="+mn-lt"/>
          <a:ea typeface="+mn-ea"/>
          <a:cs typeface="+mn-cs"/>
        </a:defRPr>
      </a:lvl1pPr>
      <a:lvl2pPr marL="457200" indent="0" algn="l" defTabSz="914400" rtl="0" eaLnBrk="1" latinLnBrk="0" hangingPunct="1">
        <a:lnSpc>
          <a:spcPct val="100000"/>
        </a:lnSpc>
        <a:spcBef>
          <a:spcPts val="500"/>
        </a:spcBef>
        <a:buFontTx/>
        <a:buNone/>
        <a:defRPr sz="2400" kern="1200">
          <a:solidFill>
            <a:srgbClr val="323E48"/>
          </a:solidFill>
          <a:latin typeface="+mn-lt"/>
          <a:ea typeface="+mn-ea"/>
          <a:cs typeface="+mn-cs"/>
        </a:defRPr>
      </a:lvl2pPr>
      <a:lvl3pPr marL="914400" indent="0" algn="l" defTabSz="914400" rtl="0" eaLnBrk="1" latinLnBrk="0" hangingPunct="1">
        <a:lnSpc>
          <a:spcPct val="100000"/>
        </a:lnSpc>
        <a:spcBef>
          <a:spcPts val="500"/>
        </a:spcBef>
        <a:buFontTx/>
        <a:buNone/>
        <a:defRPr sz="2000" kern="1200">
          <a:solidFill>
            <a:srgbClr val="323E48"/>
          </a:solidFill>
          <a:latin typeface="+mn-lt"/>
          <a:ea typeface="+mn-ea"/>
          <a:cs typeface="+mn-cs"/>
        </a:defRPr>
      </a:lvl3pPr>
      <a:lvl4pPr marL="13716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4pPr>
      <a:lvl5pPr marL="18288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5D9812-86E5-413B-82E8-89DA574EDAAE}"/>
              </a:ext>
            </a:extLst>
          </p:cNvPr>
          <p:cNvSpPr>
            <a:spLocks noGrp="1"/>
          </p:cNvSpPr>
          <p:nvPr>
            <p:ph type="title"/>
          </p:nvPr>
        </p:nvSpPr>
        <p:spPr>
          <a:xfrm>
            <a:off x="820370" y="313759"/>
            <a:ext cx="10515600" cy="861910"/>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3" name="Text Placeholder 2">
            <a:extLst>
              <a:ext uri="{FF2B5EF4-FFF2-40B4-BE49-F238E27FC236}">
                <a16:creationId xmlns:a16="http://schemas.microsoft.com/office/drawing/2014/main" id="{23E562E2-40AD-40C5-9995-E242C70B1B00}"/>
              </a:ext>
            </a:extLst>
          </p:cNvPr>
          <p:cNvSpPr>
            <a:spLocks noGrp="1"/>
          </p:cNvSpPr>
          <p:nvPr>
            <p:ph type="body" idx="1"/>
          </p:nvPr>
        </p:nvSpPr>
        <p:spPr>
          <a:xfrm>
            <a:off x="838200" y="1310054"/>
            <a:ext cx="10515600" cy="486690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Rectangle 6">
            <a:extLst>
              <a:ext uri="{FF2B5EF4-FFF2-40B4-BE49-F238E27FC236}">
                <a16:creationId xmlns:a16="http://schemas.microsoft.com/office/drawing/2014/main" id="{68A19226-5693-4AAA-8BFA-1754543F5592}"/>
              </a:ext>
            </a:extLst>
          </p:cNvPr>
          <p:cNvSpPr/>
          <p:nvPr userDrawn="1"/>
        </p:nvSpPr>
        <p:spPr>
          <a:xfrm>
            <a:off x="0" y="6311348"/>
            <a:ext cx="12192000" cy="546652"/>
          </a:xfrm>
          <a:prstGeom prst="rect">
            <a:avLst/>
          </a:prstGeom>
          <a:solidFill>
            <a:srgbClr val="323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lide Number Placeholder 10">
            <a:extLst>
              <a:ext uri="{FF2B5EF4-FFF2-40B4-BE49-F238E27FC236}">
                <a16:creationId xmlns:a16="http://schemas.microsoft.com/office/drawing/2014/main" id="{92BEFC05-25A8-4D38-826B-9FEDF5F69593}"/>
              </a:ext>
            </a:extLst>
          </p:cNvPr>
          <p:cNvSpPr>
            <a:spLocks noGrp="1"/>
          </p:cNvSpPr>
          <p:nvPr>
            <p:ph type="sldNum" sz="quarter" idx="4"/>
          </p:nvPr>
        </p:nvSpPr>
        <p:spPr>
          <a:xfrm>
            <a:off x="676190" y="6361254"/>
            <a:ext cx="379679" cy="365125"/>
          </a:xfrm>
          <a:prstGeom prst="rect">
            <a:avLst/>
          </a:prstGeom>
        </p:spPr>
        <p:txBody>
          <a:bodyPr vert="horz" lIns="91440" tIns="45720" rIns="91440" bIns="45720" rtlCol="0" anchor="ctr"/>
          <a:lstStyle>
            <a:lvl1pPr algn="r">
              <a:defRPr sz="900" b="1">
                <a:solidFill>
                  <a:schemeClr val="bg1"/>
                </a:solidFill>
                <a:latin typeface="Century Gothic" panose="020B0502020202020204" pitchFamily="34" charset="0"/>
              </a:defRPr>
            </a:lvl1pPr>
          </a:lstStyle>
          <a:p>
            <a:fld id="{ED8D6988-99EB-4B78-B0B8-4234E6B0D0B2}" type="slidenum">
              <a:rPr lang="en-GB" smtClean="0"/>
              <a:pPr/>
              <a:t>‹#›</a:t>
            </a:fld>
            <a:endParaRPr lang="en-GB" dirty="0"/>
          </a:p>
        </p:txBody>
      </p:sp>
      <p:sp>
        <p:nvSpPr>
          <p:cNvPr id="8" name="Footer Placeholder 11">
            <a:extLst>
              <a:ext uri="{FF2B5EF4-FFF2-40B4-BE49-F238E27FC236}">
                <a16:creationId xmlns:a16="http://schemas.microsoft.com/office/drawing/2014/main" id="{70200B5A-66B4-4669-A312-50AB570074D6}"/>
              </a:ext>
            </a:extLst>
          </p:cNvPr>
          <p:cNvSpPr>
            <a:spLocks noGrp="1"/>
          </p:cNvSpPr>
          <p:nvPr>
            <p:ph type="ftr" sz="quarter" idx="3"/>
          </p:nvPr>
        </p:nvSpPr>
        <p:spPr>
          <a:xfrm>
            <a:off x="1211068" y="6345491"/>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GB" dirty="0"/>
              <a:t>EWC Meeting  |  January 2022</a:t>
            </a:r>
            <a:endParaRPr lang="en-AU" b="0" dirty="0"/>
          </a:p>
        </p:txBody>
      </p:sp>
      <p:pic>
        <p:nvPicPr>
          <p:cNvPr id="4" name="Picture 3" descr="A picture containing text, clipart&#10;&#10;Description automatically generated">
            <a:extLst>
              <a:ext uri="{FF2B5EF4-FFF2-40B4-BE49-F238E27FC236}">
                <a16:creationId xmlns:a16="http://schemas.microsoft.com/office/drawing/2014/main" id="{DA1999EC-53B4-1FB5-D54D-FBCE69FD4F0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02099" y="6493717"/>
            <a:ext cx="942198" cy="223733"/>
          </a:xfrm>
          <a:prstGeom prst="rect">
            <a:avLst/>
          </a:prstGeom>
        </p:spPr>
      </p:pic>
    </p:spTree>
    <p:extLst>
      <p:ext uri="{BB962C8B-B14F-4D97-AF65-F5344CB8AC3E}">
        <p14:creationId xmlns:p14="http://schemas.microsoft.com/office/powerpoint/2010/main" val="4262477679"/>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7" r:id="rId3"/>
  </p:sldLayoutIdLst>
  <p:txStyles>
    <p:titleStyle>
      <a:lvl1pPr algn="l" defTabSz="914400" rtl="0" eaLnBrk="1" latinLnBrk="0" hangingPunct="1">
        <a:lnSpc>
          <a:spcPct val="90000"/>
        </a:lnSpc>
        <a:spcBef>
          <a:spcPct val="0"/>
        </a:spcBef>
        <a:buNone/>
        <a:defRPr sz="4000" b="1" kern="1200">
          <a:solidFill>
            <a:srgbClr val="323F47"/>
          </a:solidFill>
          <a:latin typeface="Century Gothic Pro"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23F4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23F47"/>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23F47"/>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23F47"/>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23F47"/>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8.jpe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hyperlink" Target="mailto:creditorsinfo.ostrava@libertysteelgroup.com"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3C748D-2308-A99D-9AA5-0E849439CB62}"/>
              </a:ext>
            </a:extLst>
          </p:cNvPr>
          <p:cNvSpPr/>
          <p:nvPr/>
        </p:nvSpPr>
        <p:spPr>
          <a:xfrm>
            <a:off x="0" y="0"/>
            <a:ext cx="12192000" cy="6957392"/>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BD821D78-315F-DCD8-E692-E64898FC225F}"/>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282" y="0"/>
            <a:ext cx="12192000" cy="6962729"/>
          </a:xfrm>
          <a:prstGeom prst="rect">
            <a:avLst/>
          </a:prstGeom>
        </p:spPr>
      </p:pic>
      <p:sp>
        <p:nvSpPr>
          <p:cNvPr id="11" name="Text Placeholder 10">
            <a:extLst>
              <a:ext uri="{FF2B5EF4-FFF2-40B4-BE49-F238E27FC236}">
                <a16:creationId xmlns:a16="http://schemas.microsoft.com/office/drawing/2014/main" id="{2FA510E6-F6FB-4F38-86D5-CAD08E8C2342}"/>
              </a:ext>
            </a:extLst>
          </p:cNvPr>
          <p:cNvSpPr>
            <a:spLocks noGrp="1"/>
          </p:cNvSpPr>
          <p:nvPr>
            <p:ph type="body" sz="quarter" idx="12"/>
          </p:nvPr>
        </p:nvSpPr>
        <p:spPr>
          <a:xfrm>
            <a:off x="1038225" y="2708920"/>
            <a:ext cx="10458375" cy="648072"/>
          </a:xfrm>
        </p:spPr>
        <p:txBody>
          <a:bodyPr/>
          <a:lstStyle/>
          <a:p>
            <a:r>
              <a:rPr lang="en-GB" b="1" dirty="0">
                <a:latin typeface="Century Gothic" panose="020B0502020202020204" pitchFamily="34" charset="0"/>
                <a:ea typeface="+mj-ea"/>
                <a:cs typeface="+mj-cs"/>
              </a:rPr>
              <a:t>LIBERTY OSTRAVA</a:t>
            </a:r>
            <a:br>
              <a:rPr lang="en-GB" sz="3600" b="1" dirty="0"/>
            </a:br>
            <a:r>
              <a:rPr lang="en-GB" sz="2800" b="1" dirty="0">
                <a:latin typeface="Century Gothic" panose="020B0502020202020204" pitchFamily="34" charset="0"/>
              </a:rPr>
              <a:t>Restructuring Plan Presentation</a:t>
            </a:r>
          </a:p>
          <a:p>
            <a:r>
              <a:rPr lang="en-GB" sz="2400" b="1" dirty="0">
                <a:latin typeface="Century Gothic" panose="020B0502020202020204" pitchFamily="34" charset="0"/>
              </a:rPr>
              <a:t>Executive Committee </a:t>
            </a:r>
          </a:p>
        </p:txBody>
      </p:sp>
      <p:sp>
        <p:nvSpPr>
          <p:cNvPr id="12" name="SmartArt Placeholder 11">
            <a:extLst>
              <a:ext uri="{FF2B5EF4-FFF2-40B4-BE49-F238E27FC236}">
                <a16:creationId xmlns:a16="http://schemas.microsoft.com/office/drawing/2014/main" id="{0465391D-96FD-44F2-AFE0-7228C15F2E15}"/>
              </a:ext>
            </a:extLst>
          </p:cNvPr>
          <p:cNvSpPr>
            <a:spLocks noGrp="1"/>
          </p:cNvSpPr>
          <p:nvPr>
            <p:ph type="dgm" sz="quarter" idx="13"/>
          </p:nvPr>
        </p:nvSpPr>
        <p:spPr>
          <a:xfrm>
            <a:off x="814800" y="3004766"/>
            <a:ext cx="46800" cy="828000"/>
          </a:xfrm>
        </p:spPr>
        <p:txBody>
          <a:bodyPr/>
          <a:lstStyle/>
          <a:p>
            <a:endParaRPr lang="en-AE" dirty="0"/>
          </a:p>
        </p:txBody>
      </p:sp>
      <p:sp>
        <p:nvSpPr>
          <p:cNvPr id="15" name="SmartArt Placeholder 14">
            <a:extLst>
              <a:ext uri="{FF2B5EF4-FFF2-40B4-BE49-F238E27FC236}">
                <a16:creationId xmlns:a16="http://schemas.microsoft.com/office/drawing/2014/main" id="{67FA4512-A703-4BEC-8E63-FDCD4069F0D6}"/>
              </a:ext>
            </a:extLst>
          </p:cNvPr>
          <p:cNvSpPr>
            <a:spLocks noGrp="1"/>
          </p:cNvSpPr>
          <p:nvPr>
            <p:ph type="dgm" sz="quarter" idx="17"/>
          </p:nvPr>
        </p:nvSpPr>
        <p:spPr/>
        <p:txBody>
          <a:bodyPr/>
          <a:lstStyle/>
          <a:p>
            <a:endParaRPr lang="en-AE" dirty="0"/>
          </a:p>
        </p:txBody>
      </p:sp>
      <p:sp>
        <p:nvSpPr>
          <p:cNvPr id="13" name="Text Placeholder 6">
            <a:extLst>
              <a:ext uri="{FF2B5EF4-FFF2-40B4-BE49-F238E27FC236}">
                <a16:creationId xmlns:a16="http://schemas.microsoft.com/office/drawing/2014/main" id="{8DA7190A-28BF-4DAC-995E-7A8E80281067}"/>
              </a:ext>
            </a:extLst>
          </p:cNvPr>
          <p:cNvSpPr txBox="1">
            <a:spLocks/>
          </p:cNvSpPr>
          <p:nvPr/>
        </p:nvSpPr>
        <p:spPr>
          <a:xfrm>
            <a:off x="1102863" y="5166195"/>
            <a:ext cx="8170432" cy="927101"/>
          </a:xfrm>
          <a:prstGeom prst="rect">
            <a:avLst/>
          </a:prstGeom>
        </p:spPr>
        <p:txBody>
          <a:bodyPr vert="horz" lIns="0" tIns="0" rIns="0" bIns="0" rtlCol="0" anchor="ctr">
            <a:normAutofit/>
          </a:bodyPr>
          <a:lstStyle>
            <a:lvl1pPr marL="0" indent="0" algn="l" defTabSz="914400" rtl="0" eaLnBrk="1" latinLnBrk="0" hangingPunct="1">
              <a:lnSpc>
                <a:spcPct val="100000"/>
              </a:lnSpc>
              <a:spcBef>
                <a:spcPts val="0"/>
              </a:spcBef>
              <a:buFontTx/>
              <a:buNone/>
              <a:defRPr sz="3500" kern="1200">
                <a:solidFill>
                  <a:schemeClr val="bg1"/>
                </a:solidFill>
                <a:latin typeface="Century Gothic Pro" panose="020B0802020202020204" pitchFamily="34" charset="0"/>
                <a:ea typeface="+mn-ea"/>
                <a:cs typeface="+mn-cs"/>
              </a:defRPr>
            </a:lvl1pPr>
            <a:lvl2pPr marL="457200" indent="0" algn="l" defTabSz="914400" rtl="0" eaLnBrk="1" latinLnBrk="0" hangingPunct="1">
              <a:lnSpc>
                <a:spcPct val="100000"/>
              </a:lnSpc>
              <a:spcBef>
                <a:spcPts val="500"/>
              </a:spcBef>
              <a:buFontTx/>
              <a:buNone/>
              <a:defRPr sz="2400" kern="1200">
                <a:solidFill>
                  <a:srgbClr val="323E48"/>
                </a:solidFill>
                <a:latin typeface="+mn-lt"/>
                <a:ea typeface="+mn-ea"/>
                <a:cs typeface="+mn-cs"/>
              </a:defRPr>
            </a:lvl2pPr>
            <a:lvl3pPr marL="914400" indent="0" algn="l" defTabSz="914400" rtl="0" eaLnBrk="1" latinLnBrk="0" hangingPunct="1">
              <a:lnSpc>
                <a:spcPct val="100000"/>
              </a:lnSpc>
              <a:spcBef>
                <a:spcPts val="500"/>
              </a:spcBef>
              <a:buFontTx/>
              <a:buNone/>
              <a:defRPr sz="2000" kern="1200">
                <a:solidFill>
                  <a:srgbClr val="323E48"/>
                </a:solidFill>
                <a:latin typeface="+mn-lt"/>
                <a:ea typeface="+mn-ea"/>
                <a:cs typeface="+mn-cs"/>
              </a:defRPr>
            </a:lvl3pPr>
            <a:lvl4pPr marL="13716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4pPr>
            <a:lvl5pPr marL="18288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GB" sz="2400" baseline="30000" dirty="0">
                <a:solidFill>
                  <a:prstClr val="white"/>
                </a:solidFill>
                <a:latin typeface="Century Gothic" panose="020B0502020202020204" pitchFamily="34" charset="0"/>
              </a:rPr>
              <a:t>14th</a:t>
            </a:r>
            <a:r>
              <a:rPr lang="en-GB" sz="2400" dirty="0">
                <a:solidFill>
                  <a:prstClr val="white"/>
                </a:solidFill>
                <a:latin typeface="Century Gothic" panose="020B0502020202020204" pitchFamily="34" charset="0"/>
              </a:rPr>
              <a:t> March</a:t>
            </a:r>
            <a:r>
              <a:rPr kumimoji="0" lang="en-GB" sz="2400" i="0" u="none" strike="noStrike" kern="1200" cap="none" spc="0" normalizeH="0" baseline="0" noProof="0" dirty="0">
                <a:ln>
                  <a:noFill/>
                </a:ln>
                <a:solidFill>
                  <a:prstClr val="white"/>
                </a:solidFill>
                <a:effectLst/>
                <a:uLnTx/>
                <a:uFillTx/>
                <a:latin typeface="Century Gothic" panose="020B0502020202020204" pitchFamily="34" charset="0"/>
              </a:rPr>
              <a:t> 2024</a:t>
            </a:r>
          </a:p>
        </p:txBody>
      </p:sp>
      <p:pic>
        <p:nvPicPr>
          <p:cNvPr id="2" name="Picture 1" descr="A picture containing text, clipart&#10;&#10;Description automatically generated">
            <a:extLst>
              <a:ext uri="{FF2B5EF4-FFF2-40B4-BE49-F238E27FC236}">
                <a16:creationId xmlns:a16="http://schemas.microsoft.com/office/drawing/2014/main" id="{DE3789B2-D285-C290-6662-01CAFA2910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973" y="5805264"/>
            <a:ext cx="2024619" cy="480763"/>
          </a:xfrm>
          <a:prstGeom prst="rect">
            <a:avLst/>
          </a:prstGeom>
        </p:spPr>
      </p:pic>
    </p:spTree>
    <p:extLst>
      <p:ext uri="{BB962C8B-B14F-4D97-AF65-F5344CB8AC3E}">
        <p14:creationId xmlns:p14="http://schemas.microsoft.com/office/powerpoint/2010/main" val="673255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Energy &amp; Other Utilities: </a:t>
            </a:r>
          </a:p>
        </p:txBody>
      </p:sp>
      <p:cxnSp>
        <p:nvCxnSpPr>
          <p:cNvPr id="143" name="Connector: Elbow 142">
            <a:extLst>
              <a:ext uri="{FF2B5EF4-FFF2-40B4-BE49-F238E27FC236}">
                <a16:creationId xmlns:a16="http://schemas.microsoft.com/office/drawing/2014/main" id="{F48C15C9-E8C1-4A7A-57F4-2D5568FBF525}"/>
              </a:ext>
            </a:extLst>
          </p:cNvPr>
          <p:cNvCxnSpPr>
            <a:cxnSpLocks/>
          </p:cNvCxnSpPr>
          <p:nvPr/>
        </p:nvCxnSpPr>
        <p:spPr>
          <a:xfrm>
            <a:off x="11386748" y="2103770"/>
            <a:ext cx="544173" cy="3779874"/>
          </a:xfrm>
          <a:prstGeom prst="bentConnector2">
            <a:avLst/>
          </a:prstGeom>
          <a:noFill/>
          <a:ln w="12700" cap="flat" cmpd="sng" algn="ctr">
            <a:solidFill>
              <a:srgbClr val="323E48"/>
            </a:solidFill>
            <a:prstDash val="sysDash"/>
            <a:headEnd type="oval" w="med" len="med"/>
            <a:tailEnd type="oval" w="med" len="med"/>
          </a:ln>
          <a:effectLst/>
        </p:spPr>
      </p:cxnSp>
      <p:cxnSp>
        <p:nvCxnSpPr>
          <p:cNvPr id="144" name="Connector: Elbow 143">
            <a:extLst>
              <a:ext uri="{FF2B5EF4-FFF2-40B4-BE49-F238E27FC236}">
                <a16:creationId xmlns:a16="http://schemas.microsoft.com/office/drawing/2014/main" id="{E6402579-8A9A-E5EA-F39E-A2FBA9465FF6}"/>
              </a:ext>
            </a:extLst>
          </p:cNvPr>
          <p:cNvCxnSpPr>
            <a:cxnSpLocks/>
          </p:cNvCxnSpPr>
          <p:nvPr/>
        </p:nvCxnSpPr>
        <p:spPr>
          <a:xfrm flipH="1">
            <a:off x="290678" y="2103770"/>
            <a:ext cx="544173" cy="3779874"/>
          </a:xfrm>
          <a:prstGeom prst="bentConnector2">
            <a:avLst/>
          </a:prstGeom>
          <a:noFill/>
          <a:ln w="12700" cap="flat" cmpd="sng" algn="ctr">
            <a:solidFill>
              <a:srgbClr val="00BCF2"/>
            </a:solidFill>
            <a:prstDash val="sysDash"/>
            <a:headEnd type="oval" w="med" len="med"/>
            <a:tailEnd type="oval" w="med" len="med"/>
          </a:ln>
          <a:effectLst/>
        </p:spPr>
      </p:cxnSp>
      <p:sp>
        <p:nvSpPr>
          <p:cNvPr id="145" name="Right Brace 144">
            <a:extLst>
              <a:ext uri="{FF2B5EF4-FFF2-40B4-BE49-F238E27FC236}">
                <a16:creationId xmlns:a16="http://schemas.microsoft.com/office/drawing/2014/main" id="{F3538125-4589-3BAB-3634-486062DD8957}"/>
              </a:ext>
            </a:extLst>
          </p:cNvPr>
          <p:cNvSpPr/>
          <p:nvPr/>
        </p:nvSpPr>
        <p:spPr>
          <a:xfrm rot="5400000">
            <a:off x="5970610" y="-390066"/>
            <a:ext cx="356783" cy="3704458"/>
          </a:xfrm>
          <a:prstGeom prst="rightBrace">
            <a:avLst>
              <a:gd name="adj1" fmla="val 50474"/>
              <a:gd name="adj2" fmla="val 50000"/>
            </a:avLst>
          </a:prstGeom>
          <a:noFill/>
          <a:ln w="9525" cap="flat" cmpd="sng" algn="ctr">
            <a:solidFill>
              <a:sysClr val="window" lastClr="FFFFFF">
                <a:lumMod val="65000"/>
              </a:sysClr>
            </a:solidFill>
            <a:prstDash val="dash"/>
            <a:headEnd type="oval"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46" name="Freeform 22">
            <a:extLst>
              <a:ext uri="{FF2B5EF4-FFF2-40B4-BE49-F238E27FC236}">
                <a16:creationId xmlns:a16="http://schemas.microsoft.com/office/drawing/2014/main" id="{9A33DE3C-2202-72B9-4A68-4343AD47DF0E}"/>
              </a:ext>
            </a:extLst>
          </p:cNvPr>
          <p:cNvSpPr>
            <a:spLocks/>
          </p:cNvSpPr>
          <p:nvPr/>
        </p:nvSpPr>
        <p:spPr bwMode="auto">
          <a:xfrm flipV="1">
            <a:off x="5625779" y="2202546"/>
            <a:ext cx="1027903" cy="475844"/>
          </a:xfrm>
          <a:custGeom>
            <a:avLst/>
            <a:gdLst>
              <a:gd name="T0" fmla="*/ 0 w 428"/>
              <a:gd name="T1" fmla="*/ 195 h 197"/>
              <a:gd name="T2" fmla="*/ 214 w 428"/>
              <a:gd name="T3" fmla="*/ 0 h 197"/>
              <a:gd name="T4" fmla="*/ 428 w 428"/>
              <a:gd name="T5" fmla="*/ 197 h 197"/>
            </a:gdLst>
            <a:ahLst/>
            <a:cxnLst>
              <a:cxn ang="0">
                <a:pos x="T0" y="T1"/>
              </a:cxn>
              <a:cxn ang="0">
                <a:pos x="T2" y="T3"/>
              </a:cxn>
              <a:cxn ang="0">
                <a:pos x="T4" y="T5"/>
              </a:cxn>
            </a:cxnLst>
            <a:rect l="0" t="0" r="r" b="b"/>
            <a:pathLst>
              <a:path w="428" h="197">
                <a:moveTo>
                  <a:pt x="0" y="195"/>
                </a:moveTo>
                <a:cubicBezTo>
                  <a:pt x="10" y="85"/>
                  <a:pt x="102" y="0"/>
                  <a:pt x="214" y="0"/>
                </a:cubicBezTo>
                <a:cubicBezTo>
                  <a:pt x="327" y="0"/>
                  <a:pt x="419" y="87"/>
                  <a:pt x="428" y="197"/>
                </a:cubicBezTo>
              </a:path>
            </a:pathLst>
          </a:custGeom>
          <a:solidFill>
            <a:srgbClr val="FFFFFF"/>
          </a:solidFill>
          <a:ln w="9525">
            <a:solidFill>
              <a:srgbClr val="626262"/>
            </a:solidFill>
            <a:prstDash val="dash"/>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ndParaRPr>
          </a:p>
        </p:txBody>
      </p:sp>
      <p:sp>
        <p:nvSpPr>
          <p:cNvPr id="147" name="Rectangle 28">
            <a:extLst>
              <a:ext uri="{FF2B5EF4-FFF2-40B4-BE49-F238E27FC236}">
                <a16:creationId xmlns:a16="http://schemas.microsoft.com/office/drawing/2014/main" id="{9B6FF851-F034-4879-A106-7E21D114B9D2}"/>
              </a:ext>
            </a:extLst>
          </p:cNvPr>
          <p:cNvSpPr>
            <a:spLocks noChangeArrowheads="1"/>
          </p:cNvSpPr>
          <p:nvPr/>
        </p:nvSpPr>
        <p:spPr bwMode="auto">
          <a:xfrm flipV="1">
            <a:off x="1700383" y="2058377"/>
            <a:ext cx="3950939" cy="70448"/>
          </a:xfrm>
          <a:prstGeom prst="rect">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ndParaRPr>
          </a:p>
        </p:txBody>
      </p:sp>
      <p:sp>
        <p:nvSpPr>
          <p:cNvPr id="148" name="Rectangle 29">
            <a:extLst>
              <a:ext uri="{FF2B5EF4-FFF2-40B4-BE49-F238E27FC236}">
                <a16:creationId xmlns:a16="http://schemas.microsoft.com/office/drawing/2014/main" id="{7268CA69-1FDB-2E51-0B6C-24F1340AF9FE}"/>
              </a:ext>
            </a:extLst>
          </p:cNvPr>
          <p:cNvSpPr>
            <a:spLocks noChangeArrowheads="1"/>
          </p:cNvSpPr>
          <p:nvPr/>
        </p:nvSpPr>
        <p:spPr bwMode="auto">
          <a:xfrm flipV="1">
            <a:off x="6639674" y="2066184"/>
            <a:ext cx="4126031" cy="60561"/>
          </a:xfrm>
          <a:prstGeom prst="rect">
            <a:avLst/>
          </a:prstGeom>
          <a:solidFill>
            <a:srgbClr val="323E4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ndParaRPr>
          </a:p>
        </p:txBody>
      </p:sp>
      <p:sp>
        <p:nvSpPr>
          <p:cNvPr id="149" name="Freeform 34">
            <a:extLst>
              <a:ext uri="{FF2B5EF4-FFF2-40B4-BE49-F238E27FC236}">
                <a16:creationId xmlns:a16="http://schemas.microsoft.com/office/drawing/2014/main" id="{35985816-BB30-802A-59EF-8617EA6A816F}"/>
              </a:ext>
            </a:extLst>
          </p:cNvPr>
          <p:cNvSpPr>
            <a:spLocks/>
          </p:cNvSpPr>
          <p:nvPr/>
        </p:nvSpPr>
        <p:spPr bwMode="auto">
          <a:xfrm flipV="1">
            <a:off x="5592820" y="1609287"/>
            <a:ext cx="545880" cy="510862"/>
          </a:xfrm>
          <a:custGeom>
            <a:avLst/>
            <a:gdLst>
              <a:gd name="T0" fmla="*/ 228 w 228"/>
              <a:gd name="T1" fmla="*/ 184 h 212"/>
              <a:gd name="T2" fmla="*/ 28 w 228"/>
              <a:gd name="T3" fmla="*/ 0 h 212"/>
              <a:gd name="T4" fmla="*/ 14 w 228"/>
              <a:gd name="T5" fmla="*/ 0 h 212"/>
              <a:gd name="T6" fmla="*/ 14 w 228"/>
              <a:gd name="T7" fmla="*/ 0 h 212"/>
              <a:gd name="T8" fmla="*/ 0 w 228"/>
              <a:gd name="T9" fmla="*/ 1 h 212"/>
              <a:gd name="T10" fmla="*/ 228 w 228"/>
              <a:gd name="T11" fmla="*/ 212 h 212"/>
              <a:gd name="T12" fmla="*/ 228 w 228"/>
              <a:gd name="T13" fmla="*/ 212 h 212"/>
              <a:gd name="T14" fmla="*/ 228 w 228"/>
              <a:gd name="T15" fmla="*/ 198 h 212"/>
              <a:gd name="T16" fmla="*/ 228 w 228"/>
              <a:gd name="T17" fmla="*/ 184 h 212"/>
              <a:gd name="T18" fmla="*/ 228 w 228"/>
              <a:gd name="T19" fmla="*/ 18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12">
                <a:moveTo>
                  <a:pt x="228" y="184"/>
                </a:moveTo>
                <a:cubicBezTo>
                  <a:pt x="124" y="184"/>
                  <a:pt x="36" y="103"/>
                  <a:pt x="28" y="0"/>
                </a:cubicBezTo>
                <a:cubicBezTo>
                  <a:pt x="14" y="0"/>
                  <a:pt x="14" y="0"/>
                  <a:pt x="14" y="0"/>
                </a:cubicBezTo>
                <a:cubicBezTo>
                  <a:pt x="14" y="0"/>
                  <a:pt x="14" y="0"/>
                  <a:pt x="14" y="0"/>
                </a:cubicBezTo>
                <a:cubicBezTo>
                  <a:pt x="0" y="1"/>
                  <a:pt x="0" y="1"/>
                  <a:pt x="0" y="1"/>
                </a:cubicBezTo>
                <a:cubicBezTo>
                  <a:pt x="9" y="119"/>
                  <a:pt x="109" y="212"/>
                  <a:pt x="228" y="212"/>
                </a:cubicBezTo>
                <a:cubicBezTo>
                  <a:pt x="228" y="212"/>
                  <a:pt x="228" y="212"/>
                  <a:pt x="228" y="212"/>
                </a:cubicBezTo>
                <a:cubicBezTo>
                  <a:pt x="228" y="198"/>
                  <a:pt x="228" y="198"/>
                  <a:pt x="228" y="198"/>
                </a:cubicBezTo>
                <a:cubicBezTo>
                  <a:pt x="228" y="184"/>
                  <a:pt x="228" y="184"/>
                  <a:pt x="228" y="184"/>
                </a:cubicBezTo>
                <a:cubicBezTo>
                  <a:pt x="228" y="184"/>
                  <a:pt x="228" y="184"/>
                  <a:pt x="228" y="184"/>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ndParaRPr>
          </a:p>
        </p:txBody>
      </p:sp>
      <p:sp>
        <p:nvSpPr>
          <p:cNvPr id="150" name="Freeform 35">
            <a:extLst>
              <a:ext uri="{FF2B5EF4-FFF2-40B4-BE49-F238E27FC236}">
                <a16:creationId xmlns:a16="http://schemas.microsoft.com/office/drawing/2014/main" id="{D3A50FE2-318A-40D2-A181-8764230AF64A}"/>
              </a:ext>
            </a:extLst>
          </p:cNvPr>
          <p:cNvSpPr>
            <a:spLocks/>
          </p:cNvSpPr>
          <p:nvPr/>
        </p:nvSpPr>
        <p:spPr bwMode="auto">
          <a:xfrm flipV="1">
            <a:off x="6149001" y="1609287"/>
            <a:ext cx="539701" cy="514982"/>
          </a:xfrm>
          <a:custGeom>
            <a:avLst/>
            <a:gdLst>
              <a:gd name="T0" fmla="*/ 211 w 225"/>
              <a:gd name="T1" fmla="*/ 0 h 214"/>
              <a:gd name="T2" fmla="*/ 211 w 225"/>
              <a:gd name="T3" fmla="*/ 0 h 214"/>
              <a:gd name="T4" fmla="*/ 197 w 225"/>
              <a:gd name="T5" fmla="*/ 0 h 214"/>
              <a:gd name="T6" fmla="*/ 0 w 225"/>
              <a:gd name="T7" fmla="*/ 186 h 214"/>
              <a:gd name="T8" fmla="*/ 0 w 225"/>
              <a:gd name="T9" fmla="*/ 200 h 214"/>
              <a:gd name="T10" fmla="*/ 0 w 225"/>
              <a:gd name="T11" fmla="*/ 214 h 214"/>
              <a:gd name="T12" fmla="*/ 225 w 225"/>
              <a:gd name="T13" fmla="*/ 1 h 214"/>
              <a:gd name="T14" fmla="*/ 211 w 225"/>
              <a:gd name="T15" fmla="*/ 0 h 2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214">
                <a:moveTo>
                  <a:pt x="211" y="0"/>
                </a:moveTo>
                <a:cubicBezTo>
                  <a:pt x="211" y="0"/>
                  <a:pt x="211" y="0"/>
                  <a:pt x="211" y="0"/>
                </a:cubicBezTo>
                <a:cubicBezTo>
                  <a:pt x="197" y="0"/>
                  <a:pt x="197" y="0"/>
                  <a:pt x="197" y="0"/>
                </a:cubicBezTo>
                <a:cubicBezTo>
                  <a:pt x="189" y="103"/>
                  <a:pt x="103" y="184"/>
                  <a:pt x="0" y="186"/>
                </a:cubicBezTo>
                <a:cubicBezTo>
                  <a:pt x="0" y="200"/>
                  <a:pt x="0" y="200"/>
                  <a:pt x="0" y="200"/>
                </a:cubicBezTo>
                <a:cubicBezTo>
                  <a:pt x="0" y="214"/>
                  <a:pt x="0" y="214"/>
                  <a:pt x="0" y="214"/>
                </a:cubicBezTo>
                <a:cubicBezTo>
                  <a:pt x="118" y="212"/>
                  <a:pt x="216" y="119"/>
                  <a:pt x="225" y="1"/>
                </a:cubicBezTo>
                <a:lnTo>
                  <a:pt x="211" y="0"/>
                </a:lnTo>
                <a:close/>
              </a:path>
            </a:pathLst>
          </a:custGeom>
          <a:solidFill>
            <a:srgbClr val="323E4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ndParaRPr>
          </a:p>
        </p:txBody>
      </p:sp>
      <p:cxnSp>
        <p:nvCxnSpPr>
          <p:cNvPr id="151" name="Straight Connector 150">
            <a:extLst>
              <a:ext uri="{FF2B5EF4-FFF2-40B4-BE49-F238E27FC236}">
                <a16:creationId xmlns:a16="http://schemas.microsoft.com/office/drawing/2014/main" id="{292A0258-DCB3-64AD-8124-A97F47CB12E1}"/>
              </a:ext>
            </a:extLst>
          </p:cNvPr>
          <p:cNvCxnSpPr/>
          <p:nvPr/>
        </p:nvCxnSpPr>
        <p:spPr>
          <a:xfrm flipV="1">
            <a:off x="6139732" y="2678389"/>
            <a:ext cx="0" cy="3221063"/>
          </a:xfrm>
          <a:prstGeom prst="line">
            <a:avLst/>
          </a:prstGeom>
          <a:solidFill>
            <a:srgbClr val="FFFFFF"/>
          </a:solidFill>
          <a:ln w="9525">
            <a:solidFill>
              <a:srgbClr val="626262"/>
            </a:solidFill>
            <a:prstDash val="dash"/>
            <a:round/>
            <a:headEnd type="oval"/>
            <a:tailEnd/>
          </a:ln>
        </p:spPr>
      </p:cxnSp>
      <p:sp>
        <p:nvSpPr>
          <p:cNvPr id="152" name="Rectangle 151">
            <a:extLst>
              <a:ext uri="{FF2B5EF4-FFF2-40B4-BE49-F238E27FC236}">
                <a16:creationId xmlns:a16="http://schemas.microsoft.com/office/drawing/2014/main" id="{5D9A9D62-D71B-A47C-C5C6-71220B365EFD}"/>
              </a:ext>
            </a:extLst>
          </p:cNvPr>
          <p:cNvSpPr/>
          <p:nvPr/>
        </p:nvSpPr>
        <p:spPr>
          <a:xfrm>
            <a:off x="4463106" y="1038674"/>
            <a:ext cx="3351187" cy="369332"/>
          </a:xfrm>
          <a:prstGeom prst="rect">
            <a:avLst/>
          </a:prstGeom>
        </p:spPr>
        <p:txBody>
          <a:bodyPr wrap="square" lIns="0" tIns="0" rIns="0" bIns="0">
            <a:spAutoFit/>
          </a:bodyPr>
          <a:lstStyle/>
          <a:p>
            <a:pPr marL="0" marR="0" lvl="0" indent="0" algn="ctr" defTabSz="887554"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effectLst/>
                <a:uLnTx/>
                <a:uFillTx/>
                <a:latin typeface="Century Gothic" panose="020B0502020202020204" pitchFamily="34" charset="0"/>
                <a:ea typeface="ＭＳ Ｐゴシック" pitchFamily="34" charset="-128"/>
                <a:cs typeface="Segoe UI Semibold" panose="020B0702040204020203" pitchFamily="34" charset="0"/>
              </a:rPr>
              <a:t>The Restructuring Plan </a:t>
            </a:r>
          </a:p>
        </p:txBody>
      </p:sp>
      <p:sp>
        <p:nvSpPr>
          <p:cNvPr id="154" name="Rectangle: Rounded Corners 153">
            <a:extLst>
              <a:ext uri="{FF2B5EF4-FFF2-40B4-BE49-F238E27FC236}">
                <a16:creationId xmlns:a16="http://schemas.microsoft.com/office/drawing/2014/main" id="{58E784FF-EC13-71DB-9A3C-1DFD075AAD1B}"/>
              </a:ext>
            </a:extLst>
          </p:cNvPr>
          <p:cNvSpPr/>
          <p:nvPr/>
        </p:nvSpPr>
        <p:spPr bwMode="auto">
          <a:xfrm>
            <a:off x="6907966" y="1866847"/>
            <a:ext cx="4443762" cy="473846"/>
          </a:xfrm>
          <a:prstGeom prst="roundRect">
            <a:avLst>
              <a:gd name="adj" fmla="val 50000"/>
            </a:avLst>
          </a:prstGeom>
          <a:solidFill>
            <a:srgbClr val="323E4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Rectangle: Rounded Corners 156">
            <a:extLst>
              <a:ext uri="{FF2B5EF4-FFF2-40B4-BE49-F238E27FC236}">
                <a16:creationId xmlns:a16="http://schemas.microsoft.com/office/drawing/2014/main" id="{845B5980-764C-0214-347A-715E39935874}"/>
              </a:ext>
            </a:extLst>
          </p:cNvPr>
          <p:cNvSpPr/>
          <p:nvPr/>
        </p:nvSpPr>
        <p:spPr bwMode="auto">
          <a:xfrm>
            <a:off x="11019989" y="1866847"/>
            <a:ext cx="687646" cy="473846"/>
          </a:xfrm>
          <a:prstGeom prst="roundRect">
            <a:avLst>
              <a:gd name="adj" fmla="val 50000"/>
            </a:avLst>
          </a:prstGeom>
          <a:solidFill>
            <a:srgbClr val="323E48"/>
          </a:solidFill>
          <a:ln w="2857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9" name="Rectangle: Rounded Corners 158">
            <a:extLst>
              <a:ext uri="{FF2B5EF4-FFF2-40B4-BE49-F238E27FC236}">
                <a16:creationId xmlns:a16="http://schemas.microsoft.com/office/drawing/2014/main" id="{EF87ECBE-BF49-2B4C-4762-9906B3947AD9}"/>
              </a:ext>
            </a:extLst>
          </p:cNvPr>
          <p:cNvSpPr/>
          <p:nvPr/>
        </p:nvSpPr>
        <p:spPr bwMode="auto">
          <a:xfrm flipH="1">
            <a:off x="695116" y="1866847"/>
            <a:ext cx="4672219" cy="473846"/>
          </a:xfrm>
          <a:prstGeom prst="roundRect">
            <a:avLst>
              <a:gd name="adj" fmla="val 50000"/>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Rectangle: Rounded Corners 159">
            <a:extLst>
              <a:ext uri="{FF2B5EF4-FFF2-40B4-BE49-F238E27FC236}">
                <a16:creationId xmlns:a16="http://schemas.microsoft.com/office/drawing/2014/main" id="{172EF612-ADBD-DA42-0EAB-D08C078017E7}"/>
              </a:ext>
            </a:extLst>
          </p:cNvPr>
          <p:cNvSpPr/>
          <p:nvPr/>
        </p:nvSpPr>
        <p:spPr bwMode="auto">
          <a:xfrm flipH="1">
            <a:off x="494664" y="1866847"/>
            <a:ext cx="687646" cy="473846"/>
          </a:xfrm>
          <a:prstGeom prst="roundRect">
            <a:avLst>
              <a:gd name="adj" fmla="val 50000"/>
            </a:avLst>
          </a:prstGeom>
          <a:solidFill>
            <a:srgbClr val="36BCEE"/>
          </a:solidFill>
          <a:ln w="2857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Rectangle 160">
            <a:extLst>
              <a:ext uri="{FF2B5EF4-FFF2-40B4-BE49-F238E27FC236}">
                <a16:creationId xmlns:a16="http://schemas.microsoft.com/office/drawing/2014/main" id="{4D709A74-00E8-E98A-BB6D-0CB89E8C1E5B}"/>
              </a:ext>
            </a:extLst>
          </p:cNvPr>
          <p:cNvSpPr/>
          <p:nvPr/>
        </p:nvSpPr>
        <p:spPr>
          <a:xfrm>
            <a:off x="493897" y="2771911"/>
            <a:ext cx="5415868" cy="2569934"/>
          </a:xfrm>
          <a:prstGeom prst="rect">
            <a:avLst/>
          </a:prstGeom>
        </p:spPr>
        <p:txBody>
          <a:bodyPr wrap="square">
            <a:spAutoFit/>
          </a:bodyPr>
          <a:lstStyle/>
          <a:p>
            <a:pPr>
              <a:spcBef>
                <a:spcPts val="600"/>
              </a:spcBef>
              <a:spcAft>
                <a:spcPts val="600"/>
              </a:spcAft>
            </a:pPr>
            <a:r>
              <a:rPr lang="en-US" b="1" dirty="0"/>
              <a:t>Total Utilities provided by </a:t>
            </a:r>
            <a:r>
              <a:rPr lang="en-US" b="1" dirty="0" err="1"/>
              <a:t>Tameh</a:t>
            </a:r>
            <a:r>
              <a:rPr lang="en-US" b="1" dirty="0"/>
              <a:t> as per the requested volume:</a:t>
            </a:r>
          </a:p>
          <a:p>
            <a:pPr marL="285750" indent="-285750">
              <a:spcBef>
                <a:spcPts val="400"/>
              </a:spcBef>
              <a:spcAft>
                <a:spcPts val="400"/>
              </a:spcAft>
              <a:buFont typeface="Arial" panose="020B0604020202020204" pitchFamily="34" charset="0"/>
              <a:buChar char="•"/>
            </a:pPr>
            <a:r>
              <a:rPr lang="en-US" dirty="0"/>
              <a:t>Steam </a:t>
            </a:r>
          </a:p>
          <a:p>
            <a:pPr marL="285750" indent="-285750">
              <a:spcBef>
                <a:spcPts val="400"/>
              </a:spcBef>
              <a:spcAft>
                <a:spcPts val="400"/>
              </a:spcAft>
              <a:buFont typeface="Arial" panose="020B0604020202020204" pitchFamily="34" charset="0"/>
              <a:buChar char="•"/>
            </a:pPr>
            <a:r>
              <a:rPr lang="en-US" dirty="0"/>
              <a:t>Heating</a:t>
            </a:r>
          </a:p>
          <a:p>
            <a:pPr marL="285750" indent="-285750">
              <a:spcBef>
                <a:spcPts val="400"/>
              </a:spcBef>
              <a:spcAft>
                <a:spcPts val="400"/>
              </a:spcAft>
              <a:buFont typeface="Arial" panose="020B0604020202020204" pitchFamily="34" charset="0"/>
              <a:buChar char="•"/>
            </a:pPr>
            <a:r>
              <a:rPr lang="en-US" dirty="0"/>
              <a:t>Compressed Air</a:t>
            </a:r>
          </a:p>
          <a:p>
            <a:pPr marL="285750" indent="-285750">
              <a:spcBef>
                <a:spcPts val="400"/>
              </a:spcBef>
              <a:spcAft>
                <a:spcPts val="400"/>
              </a:spcAft>
              <a:buFont typeface="Arial" panose="020B0604020202020204" pitchFamily="34" charset="0"/>
              <a:buChar char="•"/>
            </a:pPr>
            <a:r>
              <a:rPr lang="en-US" dirty="0"/>
              <a:t>Electricity as per the requested quantity</a:t>
            </a:r>
          </a:p>
          <a:p>
            <a:pPr marL="285750" indent="-285750">
              <a:spcBef>
                <a:spcPts val="400"/>
              </a:spcBef>
              <a:spcAft>
                <a:spcPts val="400"/>
              </a:spcAft>
              <a:buFont typeface="Arial" panose="020B0604020202020204" pitchFamily="34" charset="0"/>
              <a:buChar char="•"/>
            </a:pPr>
            <a:r>
              <a:rPr lang="en-US" dirty="0"/>
              <a:t>Additional electricity from the National Grid</a:t>
            </a:r>
          </a:p>
        </p:txBody>
      </p:sp>
      <p:grpSp>
        <p:nvGrpSpPr>
          <p:cNvPr id="162" name="Group 161">
            <a:extLst>
              <a:ext uri="{FF2B5EF4-FFF2-40B4-BE49-F238E27FC236}">
                <a16:creationId xmlns:a16="http://schemas.microsoft.com/office/drawing/2014/main" id="{25886F90-7468-0E48-7AE9-67261E70ADB1}"/>
              </a:ext>
            </a:extLst>
          </p:cNvPr>
          <p:cNvGrpSpPr/>
          <p:nvPr/>
        </p:nvGrpSpPr>
        <p:grpSpPr>
          <a:xfrm>
            <a:off x="638422" y="1937453"/>
            <a:ext cx="348950" cy="322596"/>
            <a:chOff x="5810250" y="3067050"/>
            <a:chExt cx="561987" cy="571500"/>
          </a:xfrm>
          <a:solidFill>
            <a:sysClr val="window" lastClr="FFFFFF"/>
          </a:solidFill>
        </p:grpSpPr>
        <p:sp>
          <p:nvSpPr>
            <p:cNvPr id="164" name="Freeform: Shape 163">
              <a:extLst>
                <a:ext uri="{FF2B5EF4-FFF2-40B4-BE49-F238E27FC236}">
                  <a16:creationId xmlns:a16="http://schemas.microsoft.com/office/drawing/2014/main" id="{F508292D-AA3E-9B7F-32ED-01DAA2CB7B44}"/>
                </a:ext>
              </a:extLst>
            </p:cNvPr>
            <p:cNvSpPr/>
            <p:nvPr/>
          </p:nvSpPr>
          <p:spPr>
            <a:xfrm>
              <a:off x="6248412" y="3067050"/>
              <a:ext cx="123825" cy="133350"/>
            </a:xfrm>
            <a:custGeom>
              <a:avLst/>
              <a:gdLst>
                <a:gd name="connsiteX0" fmla="*/ 132843 w 123825"/>
                <a:gd name="connsiteY0" fmla="*/ 50168 h 133350"/>
                <a:gd name="connsiteX1" fmla="*/ 125251 w 123825"/>
                <a:gd name="connsiteY1" fmla="*/ 43777 h 133350"/>
                <a:gd name="connsiteX2" fmla="*/ 90790 w 123825"/>
                <a:gd name="connsiteY2" fmla="*/ 38500 h 133350"/>
                <a:gd name="connsiteX3" fmla="*/ 75293 w 123825"/>
                <a:gd name="connsiteY3" fmla="*/ 5477 h 133350"/>
                <a:gd name="connsiteX4" fmla="*/ 66663 w 123825"/>
                <a:gd name="connsiteY4" fmla="*/ 0 h 133350"/>
                <a:gd name="connsiteX5" fmla="*/ 58043 w 123825"/>
                <a:gd name="connsiteY5" fmla="*/ 5477 h 133350"/>
                <a:gd name="connsiteX6" fmla="*/ 42546 w 123825"/>
                <a:gd name="connsiteY6" fmla="*/ 38500 h 133350"/>
                <a:gd name="connsiteX7" fmla="*/ 8084 w 123825"/>
                <a:gd name="connsiteY7" fmla="*/ 43777 h 133350"/>
                <a:gd name="connsiteX8" fmla="*/ 493 w 123825"/>
                <a:gd name="connsiteY8" fmla="*/ 50168 h 133350"/>
                <a:gd name="connsiteX9" fmla="*/ 2703 w 123825"/>
                <a:gd name="connsiteY9" fmla="*/ 59846 h 133350"/>
                <a:gd name="connsiteX10" fmla="*/ 27915 w 123825"/>
                <a:gd name="connsiteY10" fmla="*/ 85687 h 133350"/>
                <a:gd name="connsiteX11" fmla="*/ 21953 w 123825"/>
                <a:gd name="connsiteY11" fmla="*/ 122301 h 133350"/>
                <a:gd name="connsiteX12" fmla="*/ 25867 w 123825"/>
                <a:gd name="connsiteY12" fmla="*/ 131626 h 133350"/>
                <a:gd name="connsiteX13" fmla="*/ 35964 w 123825"/>
                <a:gd name="connsiteY13" fmla="*/ 132178 h 133350"/>
                <a:gd name="connsiteX14" fmla="*/ 66663 w 123825"/>
                <a:gd name="connsiteY14" fmla="*/ 115186 h 133350"/>
                <a:gd name="connsiteX15" fmla="*/ 97372 w 123825"/>
                <a:gd name="connsiteY15" fmla="*/ 132159 h 133350"/>
                <a:gd name="connsiteX16" fmla="*/ 101982 w 123825"/>
                <a:gd name="connsiteY16" fmla="*/ 133350 h 133350"/>
                <a:gd name="connsiteX17" fmla="*/ 107468 w 123825"/>
                <a:gd name="connsiteY17" fmla="*/ 131607 h 133350"/>
                <a:gd name="connsiteX18" fmla="*/ 111383 w 123825"/>
                <a:gd name="connsiteY18" fmla="*/ 122282 h 133350"/>
                <a:gd name="connsiteX19" fmla="*/ 105420 w 123825"/>
                <a:gd name="connsiteY19" fmla="*/ 85668 h 133350"/>
                <a:gd name="connsiteX20" fmla="*/ 130633 w 123825"/>
                <a:gd name="connsiteY20" fmla="*/ 59827 h 133350"/>
                <a:gd name="connsiteX21" fmla="*/ 132843 w 123825"/>
                <a:gd name="connsiteY21" fmla="*/ 50168 h 133350"/>
                <a:gd name="connsiteX22" fmla="*/ 88418 w 123825"/>
                <a:gd name="connsiteY22" fmla="*/ 75819 h 133350"/>
                <a:gd name="connsiteX23" fmla="*/ 85837 w 123825"/>
                <a:gd name="connsiteY23" fmla="*/ 84001 h 133350"/>
                <a:gd name="connsiteX24" fmla="*/ 89418 w 123825"/>
                <a:gd name="connsiteY24" fmla="*/ 106004 h 133350"/>
                <a:gd name="connsiteX25" fmla="*/ 71264 w 123825"/>
                <a:gd name="connsiteY25" fmla="*/ 95964 h 133350"/>
                <a:gd name="connsiteX26" fmla="*/ 66653 w 123825"/>
                <a:gd name="connsiteY26" fmla="*/ 94774 h 133350"/>
                <a:gd name="connsiteX27" fmla="*/ 62043 w 123825"/>
                <a:gd name="connsiteY27" fmla="*/ 95964 h 133350"/>
                <a:gd name="connsiteX28" fmla="*/ 43889 w 123825"/>
                <a:gd name="connsiteY28" fmla="*/ 106004 h 133350"/>
                <a:gd name="connsiteX29" fmla="*/ 47470 w 123825"/>
                <a:gd name="connsiteY29" fmla="*/ 84001 h 133350"/>
                <a:gd name="connsiteX30" fmla="*/ 44889 w 123825"/>
                <a:gd name="connsiteY30" fmla="*/ 75819 h 133350"/>
                <a:gd name="connsiteX31" fmla="*/ 29258 w 123825"/>
                <a:gd name="connsiteY31" fmla="*/ 59798 h 133350"/>
                <a:gd name="connsiteX32" fmla="*/ 50423 w 123825"/>
                <a:gd name="connsiteY32" fmla="*/ 56559 h 133350"/>
                <a:gd name="connsiteX33" fmla="*/ 57605 w 123825"/>
                <a:gd name="connsiteY33" fmla="*/ 51197 h 133350"/>
                <a:gd name="connsiteX34" fmla="*/ 66663 w 123825"/>
                <a:gd name="connsiteY34" fmla="*/ 31947 h 133350"/>
                <a:gd name="connsiteX35" fmla="*/ 75702 w 123825"/>
                <a:gd name="connsiteY35" fmla="*/ 51197 h 133350"/>
                <a:gd name="connsiteX36" fmla="*/ 82884 w 123825"/>
                <a:gd name="connsiteY36" fmla="*/ 56559 h 133350"/>
                <a:gd name="connsiteX37" fmla="*/ 104049 w 123825"/>
                <a:gd name="connsiteY37" fmla="*/ 59798 h 133350"/>
                <a:gd name="connsiteX38" fmla="*/ 88418 w 123825"/>
                <a:gd name="connsiteY38" fmla="*/ 758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3825" h="133350">
                  <a:moveTo>
                    <a:pt x="132843" y="50168"/>
                  </a:moveTo>
                  <a:cubicBezTo>
                    <a:pt x="131709" y="46787"/>
                    <a:pt x="128775" y="44320"/>
                    <a:pt x="125251" y="43777"/>
                  </a:cubicBezTo>
                  <a:lnTo>
                    <a:pt x="90790" y="38500"/>
                  </a:lnTo>
                  <a:lnTo>
                    <a:pt x="75293" y="5477"/>
                  </a:lnTo>
                  <a:cubicBezTo>
                    <a:pt x="73721" y="2143"/>
                    <a:pt x="70359" y="0"/>
                    <a:pt x="66663" y="0"/>
                  </a:cubicBezTo>
                  <a:cubicBezTo>
                    <a:pt x="62967" y="0"/>
                    <a:pt x="59605" y="2143"/>
                    <a:pt x="58043" y="5477"/>
                  </a:cubicBezTo>
                  <a:lnTo>
                    <a:pt x="42546" y="38500"/>
                  </a:lnTo>
                  <a:lnTo>
                    <a:pt x="8084" y="43777"/>
                  </a:lnTo>
                  <a:cubicBezTo>
                    <a:pt x="4550" y="44320"/>
                    <a:pt x="1626" y="46777"/>
                    <a:pt x="493" y="50168"/>
                  </a:cubicBezTo>
                  <a:cubicBezTo>
                    <a:pt x="-641" y="53559"/>
                    <a:pt x="216" y="57283"/>
                    <a:pt x="2703" y="59846"/>
                  </a:cubicBezTo>
                  <a:lnTo>
                    <a:pt x="27915" y="85687"/>
                  </a:lnTo>
                  <a:lnTo>
                    <a:pt x="21953" y="122301"/>
                  </a:lnTo>
                  <a:cubicBezTo>
                    <a:pt x="21362" y="125901"/>
                    <a:pt x="22886" y="129521"/>
                    <a:pt x="25867" y="131626"/>
                  </a:cubicBezTo>
                  <a:cubicBezTo>
                    <a:pt x="28849" y="133731"/>
                    <a:pt x="32754" y="133950"/>
                    <a:pt x="35964" y="132178"/>
                  </a:cubicBezTo>
                  <a:lnTo>
                    <a:pt x="66663" y="115186"/>
                  </a:lnTo>
                  <a:lnTo>
                    <a:pt x="97372" y="132159"/>
                  </a:lnTo>
                  <a:cubicBezTo>
                    <a:pt x="98810" y="132959"/>
                    <a:pt x="100400" y="133350"/>
                    <a:pt x="101982" y="133350"/>
                  </a:cubicBezTo>
                  <a:cubicBezTo>
                    <a:pt x="103906" y="133350"/>
                    <a:pt x="105830" y="132759"/>
                    <a:pt x="107468" y="131607"/>
                  </a:cubicBezTo>
                  <a:cubicBezTo>
                    <a:pt x="110449" y="129502"/>
                    <a:pt x="111973" y="125882"/>
                    <a:pt x="111383" y="122282"/>
                  </a:cubicBezTo>
                  <a:lnTo>
                    <a:pt x="105420" y="85668"/>
                  </a:lnTo>
                  <a:lnTo>
                    <a:pt x="130633" y="59827"/>
                  </a:lnTo>
                  <a:cubicBezTo>
                    <a:pt x="133128" y="57283"/>
                    <a:pt x="133976" y="53550"/>
                    <a:pt x="132843" y="50168"/>
                  </a:cubicBezTo>
                  <a:close/>
                  <a:moveTo>
                    <a:pt x="88418" y="75819"/>
                  </a:moveTo>
                  <a:cubicBezTo>
                    <a:pt x="86303" y="77981"/>
                    <a:pt x="85351" y="81020"/>
                    <a:pt x="85837" y="84001"/>
                  </a:cubicBezTo>
                  <a:lnTo>
                    <a:pt x="89418" y="106004"/>
                  </a:lnTo>
                  <a:lnTo>
                    <a:pt x="71264" y="95964"/>
                  </a:lnTo>
                  <a:cubicBezTo>
                    <a:pt x="69835" y="95174"/>
                    <a:pt x="68244" y="94774"/>
                    <a:pt x="66653" y="94774"/>
                  </a:cubicBezTo>
                  <a:cubicBezTo>
                    <a:pt x="65063" y="94774"/>
                    <a:pt x="63482" y="95174"/>
                    <a:pt x="62043" y="95964"/>
                  </a:cubicBezTo>
                  <a:lnTo>
                    <a:pt x="43889" y="106004"/>
                  </a:lnTo>
                  <a:lnTo>
                    <a:pt x="47470" y="84001"/>
                  </a:lnTo>
                  <a:cubicBezTo>
                    <a:pt x="47956" y="81020"/>
                    <a:pt x="47003" y="77972"/>
                    <a:pt x="44889" y="75819"/>
                  </a:cubicBezTo>
                  <a:lnTo>
                    <a:pt x="29258" y="59798"/>
                  </a:lnTo>
                  <a:lnTo>
                    <a:pt x="50423" y="56559"/>
                  </a:lnTo>
                  <a:cubicBezTo>
                    <a:pt x="53566" y="56083"/>
                    <a:pt x="56262" y="54064"/>
                    <a:pt x="57605" y="51197"/>
                  </a:cubicBezTo>
                  <a:lnTo>
                    <a:pt x="66663" y="31947"/>
                  </a:lnTo>
                  <a:lnTo>
                    <a:pt x="75702" y="51197"/>
                  </a:lnTo>
                  <a:cubicBezTo>
                    <a:pt x="77055" y="54073"/>
                    <a:pt x="79741" y="56093"/>
                    <a:pt x="82884" y="56559"/>
                  </a:cubicBezTo>
                  <a:lnTo>
                    <a:pt x="104049" y="59798"/>
                  </a:lnTo>
                  <a:lnTo>
                    <a:pt x="88418" y="75819"/>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65" name="Freeform: Shape 164">
              <a:extLst>
                <a:ext uri="{FF2B5EF4-FFF2-40B4-BE49-F238E27FC236}">
                  <a16:creationId xmlns:a16="http://schemas.microsoft.com/office/drawing/2014/main" id="{5C2A9803-8497-5552-104C-23C2C7A2FB52}"/>
                </a:ext>
              </a:extLst>
            </p:cNvPr>
            <p:cNvSpPr/>
            <p:nvPr/>
          </p:nvSpPr>
          <p:spPr>
            <a:xfrm>
              <a:off x="5810250" y="3200400"/>
              <a:ext cx="438150" cy="438150"/>
            </a:xfrm>
            <a:custGeom>
              <a:avLst/>
              <a:gdLst>
                <a:gd name="connsiteX0" fmla="*/ 9525 w 438150"/>
                <a:gd name="connsiteY0" fmla="*/ 257175 h 438150"/>
                <a:gd name="connsiteX1" fmla="*/ 32614 w 438150"/>
                <a:gd name="connsiteY1" fmla="*/ 257175 h 438150"/>
                <a:gd name="connsiteX2" fmla="*/ 38510 w 438150"/>
                <a:gd name="connsiteY2" fmla="*/ 279321 h 438150"/>
                <a:gd name="connsiteX3" fmla="*/ 18545 w 438150"/>
                <a:gd name="connsiteY3" fmla="*/ 290855 h 438150"/>
                <a:gd name="connsiteX4" fmla="*/ 15059 w 438150"/>
                <a:gd name="connsiteY4" fmla="*/ 303867 h 438150"/>
                <a:gd name="connsiteX5" fmla="*/ 43634 w 438150"/>
                <a:gd name="connsiteY5" fmla="*/ 353349 h 438150"/>
                <a:gd name="connsiteX6" fmla="*/ 56645 w 438150"/>
                <a:gd name="connsiteY6" fmla="*/ 356835 h 438150"/>
                <a:gd name="connsiteX7" fmla="*/ 76524 w 438150"/>
                <a:gd name="connsiteY7" fmla="*/ 345357 h 438150"/>
                <a:gd name="connsiteX8" fmla="*/ 92783 w 438150"/>
                <a:gd name="connsiteY8" fmla="*/ 361607 h 438150"/>
                <a:gd name="connsiteX9" fmla="*/ 81296 w 438150"/>
                <a:gd name="connsiteY9" fmla="*/ 381495 h 438150"/>
                <a:gd name="connsiteX10" fmla="*/ 80343 w 438150"/>
                <a:gd name="connsiteY10" fmla="*/ 388725 h 438150"/>
                <a:gd name="connsiteX11" fmla="*/ 84782 w 438150"/>
                <a:gd name="connsiteY11" fmla="*/ 394506 h 438150"/>
                <a:gd name="connsiteX12" fmla="*/ 134274 w 438150"/>
                <a:gd name="connsiteY12" fmla="*/ 423081 h 438150"/>
                <a:gd name="connsiteX13" fmla="*/ 141503 w 438150"/>
                <a:gd name="connsiteY13" fmla="*/ 424034 h 438150"/>
                <a:gd name="connsiteX14" fmla="*/ 147285 w 438150"/>
                <a:gd name="connsiteY14" fmla="*/ 419595 h 438150"/>
                <a:gd name="connsiteX15" fmla="*/ 158810 w 438150"/>
                <a:gd name="connsiteY15" fmla="*/ 399621 h 438150"/>
                <a:gd name="connsiteX16" fmla="*/ 180965 w 438150"/>
                <a:gd name="connsiteY16" fmla="*/ 405517 h 438150"/>
                <a:gd name="connsiteX17" fmla="*/ 180965 w 438150"/>
                <a:gd name="connsiteY17" fmla="*/ 428625 h 438150"/>
                <a:gd name="connsiteX18" fmla="*/ 190490 w 438150"/>
                <a:gd name="connsiteY18" fmla="*/ 438150 h 438150"/>
                <a:gd name="connsiteX19" fmla="*/ 247640 w 438150"/>
                <a:gd name="connsiteY19" fmla="*/ 438150 h 438150"/>
                <a:gd name="connsiteX20" fmla="*/ 257165 w 438150"/>
                <a:gd name="connsiteY20" fmla="*/ 428625 h 438150"/>
                <a:gd name="connsiteX21" fmla="*/ 257165 w 438150"/>
                <a:gd name="connsiteY21" fmla="*/ 405527 h 438150"/>
                <a:gd name="connsiteX22" fmla="*/ 279321 w 438150"/>
                <a:gd name="connsiteY22" fmla="*/ 399631 h 438150"/>
                <a:gd name="connsiteX23" fmla="*/ 290846 w 438150"/>
                <a:gd name="connsiteY23" fmla="*/ 419605 h 438150"/>
                <a:gd name="connsiteX24" fmla="*/ 296628 w 438150"/>
                <a:gd name="connsiteY24" fmla="*/ 424044 h 438150"/>
                <a:gd name="connsiteX25" fmla="*/ 303857 w 438150"/>
                <a:gd name="connsiteY25" fmla="*/ 423091 h 438150"/>
                <a:gd name="connsiteX26" fmla="*/ 353349 w 438150"/>
                <a:gd name="connsiteY26" fmla="*/ 394516 h 438150"/>
                <a:gd name="connsiteX27" fmla="*/ 357788 w 438150"/>
                <a:gd name="connsiteY27" fmla="*/ 388734 h 438150"/>
                <a:gd name="connsiteX28" fmla="*/ 356835 w 438150"/>
                <a:gd name="connsiteY28" fmla="*/ 381505 h 438150"/>
                <a:gd name="connsiteX29" fmla="*/ 345348 w 438150"/>
                <a:gd name="connsiteY29" fmla="*/ 361617 h 438150"/>
                <a:gd name="connsiteX30" fmla="*/ 361607 w 438150"/>
                <a:gd name="connsiteY30" fmla="*/ 345367 h 438150"/>
                <a:gd name="connsiteX31" fmla="*/ 381486 w 438150"/>
                <a:gd name="connsiteY31" fmla="*/ 356845 h 438150"/>
                <a:gd name="connsiteX32" fmla="*/ 394497 w 438150"/>
                <a:gd name="connsiteY32" fmla="*/ 353358 h 438150"/>
                <a:gd name="connsiteX33" fmla="*/ 423072 w 438150"/>
                <a:gd name="connsiteY33" fmla="*/ 303876 h 438150"/>
                <a:gd name="connsiteX34" fmla="*/ 419586 w 438150"/>
                <a:gd name="connsiteY34" fmla="*/ 290865 h 438150"/>
                <a:gd name="connsiteX35" fmla="*/ 399621 w 438150"/>
                <a:gd name="connsiteY35" fmla="*/ 279330 h 438150"/>
                <a:gd name="connsiteX36" fmla="*/ 405517 w 438150"/>
                <a:gd name="connsiteY36" fmla="*/ 257185 h 438150"/>
                <a:gd name="connsiteX37" fmla="*/ 428625 w 438150"/>
                <a:gd name="connsiteY37" fmla="*/ 257185 h 438150"/>
                <a:gd name="connsiteX38" fmla="*/ 438150 w 438150"/>
                <a:gd name="connsiteY38" fmla="*/ 247660 h 438150"/>
                <a:gd name="connsiteX39" fmla="*/ 438150 w 438150"/>
                <a:gd name="connsiteY39" fmla="*/ 190510 h 438150"/>
                <a:gd name="connsiteX40" fmla="*/ 428625 w 438150"/>
                <a:gd name="connsiteY40" fmla="*/ 180985 h 438150"/>
                <a:gd name="connsiteX41" fmla="*/ 405536 w 438150"/>
                <a:gd name="connsiteY41" fmla="*/ 180985 h 438150"/>
                <a:gd name="connsiteX42" fmla="*/ 399640 w 438150"/>
                <a:gd name="connsiteY42" fmla="*/ 158839 h 438150"/>
                <a:gd name="connsiteX43" fmla="*/ 419605 w 438150"/>
                <a:gd name="connsiteY43" fmla="*/ 147304 h 438150"/>
                <a:gd name="connsiteX44" fmla="*/ 423091 w 438150"/>
                <a:gd name="connsiteY44" fmla="*/ 134293 h 438150"/>
                <a:gd name="connsiteX45" fmla="*/ 394516 w 438150"/>
                <a:gd name="connsiteY45" fmla="*/ 84811 h 438150"/>
                <a:gd name="connsiteX46" fmla="*/ 381505 w 438150"/>
                <a:gd name="connsiteY46" fmla="*/ 81324 h 438150"/>
                <a:gd name="connsiteX47" fmla="*/ 361626 w 438150"/>
                <a:gd name="connsiteY47" fmla="*/ 92802 h 438150"/>
                <a:gd name="connsiteX48" fmla="*/ 345367 w 438150"/>
                <a:gd name="connsiteY48" fmla="*/ 76552 h 438150"/>
                <a:gd name="connsiteX49" fmla="*/ 356854 w 438150"/>
                <a:gd name="connsiteY49" fmla="*/ 56664 h 438150"/>
                <a:gd name="connsiteX50" fmla="*/ 357807 w 438150"/>
                <a:gd name="connsiteY50" fmla="*/ 49435 h 438150"/>
                <a:gd name="connsiteX51" fmla="*/ 353368 w 438150"/>
                <a:gd name="connsiteY51" fmla="*/ 43653 h 438150"/>
                <a:gd name="connsiteX52" fmla="*/ 303876 w 438150"/>
                <a:gd name="connsiteY52" fmla="*/ 15078 h 438150"/>
                <a:gd name="connsiteX53" fmla="*/ 296647 w 438150"/>
                <a:gd name="connsiteY53" fmla="*/ 14126 h 438150"/>
                <a:gd name="connsiteX54" fmla="*/ 290865 w 438150"/>
                <a:gd name="connsiteY54" fmla="*/ 18564 h 438150"/>
                <a:gd name="connsiteX55" fmla="*/ 279340 w 438150"/>
                <a:gd name="connsiteY55" fmla="*/ 38538 h 438150"/>
                <a:gd name="connsiteX56" fmla="*/ 257185 w 438150"/>
                <a:gd name="connsiteY56" fmla="*/ 32642 h 438150"/>
                <a:gd name="connsiteX57" fmla="*/ 257185 w 438150"/>
                <a:gd name="connsiteY57" fmla="*/ 9525 h 438150"/>
                <a:gd name="connsiteX58" fmla="*/ 247660 w 438150"/>
                <a:gd name="connsiteY58" fmla="*/ 0 h 438150"/>
                <a:gd name="connsiteX59" fmla="*/ 190510 w 438150"/>
                <a:gd name="connsiteY59" fmla="*/ 0 h 438150"/>
                <a:gd name="connsiteX60" fmla="*/ 180985 w 438150"/>
                <a:gd name="connsiteY60" fmla="*/ 9525 h 438150"/>
                <a:gd name="connsiteX61" fmla="*/ 180985 w 438150"/>
                <a:gd name="connsiteY61" fmla="*/ 32623 h 438150"/>
                <a:gd name="connsiteX62" fmla="*/ 158829 w 438150"/>
                <a:gd name="connsiteY62" fmla="*/ 38519 h 438150"/>
                <a:gd name="connsiteX63" fmla="*/ 147304 w 438150"/>
                <a:gd name="connsiteY63" fmla="*/ 18545 h 438150"/>
                <a:gd name="connsiteX64" fmla="*/ 141522 w 438150"/>
                <a:gd name="connsiteY64" fmla="*/ 14107 h 438150"/>
                <a:gd name="connsiteX65" fmla="*/ 134293 w 438150"/>
                <a:gd name="connsiteY65" fmla="*/ 15059 h 438150"/>
                <a:gd name="connsiteX66" fmla="*/ 84801 w 438150"/>
                <a:gd name="connsiteY66" fmla="*/ 43634 h 438150"/>
                <a:gd name="connsiteX67" fmla="*/ 80362 w 438150"/>
                <a:gd name="connsiteY67" fmla="*/ 49416 h 438150"/>
                <a:gd name="connsiteX68" fmla="*/ 81315 w 438150"/>
                <a:gd name="connsiteY68" fmla="*/ 56645 h 438150"/>
                <a:gd name="connsiteX69" fmla="*/ 92802 w 438150"/>
                <a:gd name="connsiteY69" fmla="*/ 76533 h 438150"/>
                <a:gd name="connsiteX70" fmla="*/ 76543 w 438150"/>
                <a:gd name="connsiteY70" fmla="*/ 92783 h 438150"/>
                <a:gd name="connsiteX71" fmla="*/ 56664 w 438150"/>
                <a:gd name="connsiteY71" fmla="*/ 81305 h 438150"/>
                <a:gd name="connsiteX72" fmla="*/ 43653 w 438150"/>
                <a:gd name="connsiteY72" fmla="*/ 84792 h 438150"/>
                <a:gd name="connsiteX73" fmla="*/ 15078 w 438150"/>
                <a:gd name="connsiteY73" fmla="*/ 134274 h 438150"/>
                <a:gd name="connsiteX74" fmla="*/ 18564 w 438150"/>
                <a:gd name="connsiteY74" fmla="*/ 147285 h 438150"/>
                <a:gd name="connsiteX75" fmla="*/ 38529 w 438150"/>
                <a:gd name="connsiteY75" fmla="*/ 158820 h 438150"/>
                <a:gd name="connsiteX76" fmla="*/ 32614 w 438150"/>
                <a:gd name="connsiteY76" fmla="*/ 180975 h 438150"/>
                <a:gd name="connsiteX77" fmla="*/ 9525 w 438150"/>
                <a:gd name="connsiteY77" fmla="*/ 180975 h 438150"/>
                <a:gd name="connsiteX78" fmla="*/ 0 w 438150"/>
                <a:gd name="connsiteY78" fmla="*/ 190500 h 438150"/>
                <a:gd name="connsiteX79" fmla="*/ 0 w 438150"/>
                <a:gd name="connsiteY79" fmla="*/ 247650 h 438150"/>
                <a:gd name="connsiteX80" fmla="*/ 9525 w 438150"/>
                <a:gd name="connsiteY80" fmla="*/ 257175 h 438150"/>
                <a:gd name="connsiteX81" fmla="*/ 19050 w 438150"/>
                <a:gd name="connsiteY81" fmla="*/ 200025 h 438150"/>
                <a:gd name="connsiteX82" fmla="*/ 40567 w 438150"/>
                <a:gd name="connsiteY82" fmla="*/ 200025 h 438150"/>
                <a:gd name="connsiteX83" fmla="*/ 49968 w 438150"/>
                <a:gd name="connsiteY83" fmla="*/ 191995 h 438150"/>
                <a:gd name="connsiteX84" fmla="*/ 59045 w 438150"/>
                <a:gd name="connsiteY84" fmla="*/ 157953 h 438150"/>
                <a:gd name="connsiteX85" fmla="*/ 54912 w 438150"/>
                <a:gd name="connsiteY85" fmla="*/ 146294 h 438150"/>
                <a:gd name="connsiteX86" fmla="*/ 36319 w 438150"/>
                <a:gd name="connsiteY86" fmla="*/ 135550 h 438150"/>
                <a:gd name="connsiteX87" fmla="*/ 55369 w 438150"/>
                <a:gd name="connsiteY87" fmla="*/ 102565 h 438150"/>
                <a:gd name="connsiteX88" fmla="*/ 73876 w 438150"/>
                <a:gd name="connsiteY88" fmla="*/ 113243 h 438150"/>
                <a:gd name="connsiteX89" fmla="*/ 86030 w 438150"/>
                <a:gd name="connsiteY89" fmla="*/ 111004 h 438150"/>
                <a:gd name="connsiteX90" fmla="*/ 111004 w 438150"/>
                <a:gd name="connsiteY90" fmla="*/ 86030 h 438150"/>
                <a:gd name="connsiteX91" fmla="*/ 113243 w 438150"/>
                <a:gd name="connsiteY91" fmla="*/ 73885 h 438150"/>
                <a:gd name="connsiteX92" fmla="*/ 102556 w 438150"/>
                <a:gd name="connsiteY92" fmla="*/ 55378 h 438150"/>
                <a:gd name="connsiteX93" fmla="*/ 135550 w 438150"/>
                <a:gd name="connsiteY93" fmla="*/ 36328 h 438150"/>
                <a:gd name="connsiteX94" fmla="*/ 146285 w 438150"/>
                <a:gd name="connsiteY94" fmla="*/ 54921 h 438150"/>
                <a:gd name="connsiteX95" fmla="*/ 157934 w 438150"/>
                <a:gd name="connsiteY95" fmla="*/ 59065 h 438150"/>
                <a:gd name="connsiteX96" fmla="*/ 191995 w 438150"/>
                <a:gd name="connsiteY96" fmla="*/ 49987 h 438150"/>
                <a:gd name="connsiteX97" fmla="*/ 200025 w 438150"/>
                <a:gd name="connsiteY97" fmla="*/ 40577 h 438150"/>
                <a:gd name="connsiteX98" fmla="*/ 200025 w 438150"/>
                <a:gd name="connsiteY98" fmla="*/ 19050 h 438150"/>
                <a:gd name="connsiteX99" fmla="*/ 238125 w 438150"/>
                <a:gd name="connsiteY99" fmla="*/ 19050 h 438150"/>
                <a:gd name="connsiteX100" fmla="*/ 238125 w 438150"/>
                <a:gd name="connsiteY100" fmla="*/ 40577 h 438150"/>
                <a:gd name="connsiteX101" fmla="*/ 246155 w 438150"/>
                <a:gd name="connsiteY101" fmla="*/ 49978 h 438150"/>
                <a:gd name="connsiteX102" fmla="*/ 280216 w 438150"/>
                <a:gd name="connsiteY102" fmla="*/ 59055 h 438150"/>
                <a:gd name="connsiteX103" fmla="*/ 291865 w 438150"/>
                <a:gd name="connsiteY103" fmla="*/ 54912 h 438150"/>
                <a:gd name="connsiteX104" fmla="*/ 302600 w 438150"/>
                <a:gd name="connsiteY104" fmla="*/ 36319 h 438150"/>
                <a:gd name="connsiteX105" fmla="*/ 335594 w 438150"/>
                <a:gd name="connsiteY105" fmla="*/ 55369 h 438150"/>
                <a:gd name="connsiteX106" fmla="*/ 324907 w 438150"/>
                <a:gd name="connsiteY106" fmla="*/ 73876 h 438150"/>
                <a:gd name="connsiteX107" fmla="*/ 327146 w 438150"/>
                <a:gd name="connsiteY107" fmla="*/ 86020 h 438150"/>
                <a:gd name="connsiteX108" fmla="*/ 352120 w 438150"/>
                <a:gd name="connsiteY108" fmla="*/ 110995 h 438150"/>
                <a:gd name="connsiteX109" fmla="*/ 364274 w 438150"/>
                <a:gd name="connsiteY109" fmla="*/ 113233 h 438150"/>
                <a:gd name="connsiteX110" fmla="*/ 382781 w 438150"/>
                <a:gd name="connsiteY110" fmla="*/ 102556 h 438150"/>
                <a:gd name="connsiteX111" fmla="*/ 401831 w 438150"/>
                <a:gd name="connsiteY111" fmla="*/ 135541 h 438150"/>
                <a:gd name="connsiteX112" fmla="*/ 383238 w 438150"/>
                <a:gd name="connsiteY112" fmla="*/ 146285 h 438150"/>
                <a:gd name="connsiteX113" fmla="*/ 379105 w 438150"/>
                <a:gd name="connsiteY113" fmla="*/ 157944 h 438150"/>
                <a:gd name="connsiteX114" fmla="*/ 388182 w 438150"/>
                <a:gd name="connsiteY114" fmla="*/ 191986 h 438150"/>
                <a:gd name="connsiteX115" fmla="*/ 397583 w 438150"/>
                <a:gd name="connsiteY115" fmla="*/ 200025 h 438150"/>
                <a:gd name="connsiteX116" fmla="*/ 419100 w 438150"/>
                <a:gd name="connsiteY116" fmla="*/ 200025 h 438150"/>
                <a:gd name="connsiteX117" fmla="*/ 419100 w 438150"/>
                <a:gd name="connsiteY117" fmla="*/ 238125 h 438150"/>
                <a:gd name="connsiteX118" fmla="*/ 397583 w 438150"/>
                <a:gd name="connsiteY118" fmla="*/ 238125 h 438150"/>
                <a:gd name="connsiteX119" fmla="*/ 388182 w 438150"/>
                <a:gd name="connsiteY119" fmla="*/ 246155 h 438150"/>
                <a:gd name="connsiteX120" fmla="*/ 379105 w 438150"/>
                <a:gd name="connsiteY120" fmla="*/ 280197 h 438150"/>
                <a:gd name="connsiteX121" fmla="*/ 383238 w 438150"/>
                <a:gd name="connsiteY121" fmla="*/ 291856 h 438150"/>
                <a:gd name="connsiteX122" fmla="*/ 401831 w 438150"/>
                <a:gd name="connsiteY122" fmla="*/ 302600 h 438150"/>
                <a:gd name="connsiteX123" fmla="*/ 382781 w 438150"/>
                <a:gd name="connsiteY123" fmla="*/ 335585 h 438150"/>
                <a:gd name="connsiteX124" fmla="*/ 364274 w 438150"/>
                <a:gd name="connsiteY124" fmla="*/ 324907 h 438150"/>
                <a:gd name="connsiteX125" fmla="*/ 352120 w 438150"/>
                <a:gd name="connsiteY125" fmla="*/ 327146 h 438150"/>
                <a:gd name="connsiteX126" fmla="*/ 327146 w 438150"/>
                <a:gd name="connsiteY126" fmla="*/ 352120 h 438150"/>
                <a:gd name="connsiteX127" fmla="*/ 324907 w 438150"/>
                <a:gd name="connsiteY127" fmla="*/ 364265 h 438150"/>
                <a:gd name="connsiteX128" fmla="*/ 335594 w 438150"/>
                <a:gd name="connsiteY128" fmla="*/ 382772 h 438150"/>
                <a:gd name="connsiteX129" fmla="*/ 302600 w 438150"/>
                <a:gd name="connsiteY129" fmla="*/ 401822 h 438150"/>
                <a:gd name="connsiteX130" fmla="*/ 291865 w 438150"/>
                <a:gd name="connsiteY130" fmla="*/ 383229 h 438150"/>
                <a:gd name="connsiteX131" fmla="*/ 280216 w 438150"/>
                <a:gd name="connsiteY131" fmla="*/ 379085 h 438150"/>
                <a:gd name="connsiteX132" fmla="*/ 246155 w 438150"/>
                <a:gd name="connsiteY132" fmla="*/ 388163 h 438150"/>
                <a:gd name="connsiteX133" fmla="*/ 238125 w 438150"/>
                <a:gd name="connsiteY133" fmla="*/ 397574 h 438150"/>
                <a:gd name="connsiteX134" fmla="*/ 238125 w 438150"/>
                <a:gd name="connsiteY134" fmla="*/ 419100 h 438150"/>
                <a:gd name="connsiteX135" fmla="*/ 200025 w 438150"/>
                <a:gd name="connsiteY135" fmla="*/ 419100 h 438150"/>
                <a:gd name="connsiteX136" fmla="*/ 200025 w 438150"/>
                <a:gd name="connsiteY136" fmla="*/ 397574 h 438150"/>
                <a:gd name="connsiteX137" fmla="*/ 191995 w 438150"/>
                <a:gd name="connsiteY137" fmla="*/ 388172 h 438150"/>
                <a:gd name="connsiteX138" fmla="*/ 157934 w 438150"/>
                <a:gd name="connsiteY138" fmla="*/ 379095 h 438150"/>
                <a:gd name="connsiteX139" fmla="*/ 146285 w 438150"/>
                <a:gd name="connsiteY139" fmla="*/ 383238 h 438150"/>
                <a:gd name="connsiteX140" fmla="*/ 135550 w 438150"/>
                <a:gd name="connsiteY140" fmla="*/ 401831 h 438150"/>
                <a:gd name="connsiteX141" fmla="*/ 102556 w 438150"/>
                <a:gd name="connsiteY141" fmla="*/ 382781 h 438150"/>
                <a:gd name="connsiteX142" fmla="*/ 113243 w 438150"/>
                <a:gd name="connsiteY142" fmla="*/ 364274 h 438150"/>
                <a:gd name="connsiteX143" fmla="*/ 111004 w 438150"/>
                <a:gd name="connsiteY143" fmla="*/ 352130 h 438150"/>
                <a:gd name="connsiteX144" fmla="*/ 86030 w 438150"/>
                <a:gd name="connsiteY144" fmla="*/ 327155 h 438150"/>
                <a:gd name="connsiteX145" fmla="*/ 73876 w 438150"/>
                <a:gd name="connsiteY145" fmla="*/ 324917 h 438150"/>
                <a:gd name="connsiteX146" fmla="*/ 55369 w 438150"/>
                <a:gd name="connsiteY146" fmla="*/ 335594 h 438150"/>
                <a:gd name="connsiteX147" fmla="*/ 36319 w 438150"/>
                <a:gd name="connsiteY147" fmla="*/ 302609 h 438150"/>
                <a:gd name="connsiteX148" fmla="*/ 54912 w 438150"/>
                <a:gd name="connsiteY148" fmla="*/ 291865 h 438150"/>
                <a:gd name="connsiteX149" fmla="*/ 59045 w 438150"/>
                <a:gd name="connsiteY149" fmla="*/ 280206 h 438150"/>
                <a:gd name="connsiteX150" fmla="*/ 49968 w 438150"/>
                <a:gd name="connsiteY150" fmla="*/ 246164 h 438150"/>
                <a:gd name="connsiteX151" fmla="*/ 40567 w 438150"/>
                <a:gd name="connsiteY151" fmla="*/ 238125 h 438150"/>
                <a:gd name="connsiteX152" fmla="*/ 19050 w 438150"/>
                <a:gd name="connsiteY152" fmla="*/ 238125 h 438150"/>
                <a:gd name="connsiteX153" fmla="*/ 19050 w 438150"/>
                <a:gd name="connsiteY153" fmla="*/ 2000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438150" h="438150">
                  <a:moveTo>
                    <a:pt x="9525" y="257175"/>
                  </a:moveTo>
                  <a:lnTo>
                    <a:pt x="32614" y="257175"/>
                  </a:lnTo>
                  <a:cubicBezTo>
                    <a:pt x="34147" y="264709"/>
                    <a:pt x="36119" y="272110"/>
                    <a:pt x="38510" y="279321"/>
                  </a:cubicBezTo>
                  <a:lnTo>
                    <a:pt x="18545" y="290855"/>
                  </a:lnTo>
                  <a:cubicBezTo>
                    <a:pt x="13983" y="293484"/>
                    <a:pt x="12430" y="299314"/>
                    <a:pt x="15059" y="303867"/>
                  </a:cubicBezTo>
                  <a:lnTo>
                    <a:pt x="43634" y="353349"/>
                  </a:lnTo>
                  <a:cubicBezTo>
                    <a:pt x="46263" y="357911"/>
                    <a:pt x="52073" y="359464"/>
                    <a:pt x="56645" y="356835"/>
                  </a:cubicBezTo>
                  <a:lnTo>
                    <a:pt x="76524" y="345357"/>
                  </a:lnTo>
                  <a:cubicBezTo>
                    <a:pt x="81610" y="351092"/>
                    <a:pt x="87039" y="356530"/>
                    <a:pt x="92783" y="361607"/>
                  </a:cubicBezTo>
                  <a:lnTo>
                    <a:pt x="81296" y="381495"/>
                  </a:lnTo>
                  <a:cubicBezTo>
                    <a:pt x="80039" y="383677"/>
                    <a:pt x="79696" y="386286"/>
                    <a:pt x="80343" y="388725"/>
                  </a:cubicBezTo>
                  <a:cubicBezTo>
                    <a:pt x="80991" y="391163"/>
                    <a:pt x="82591" y="393249"/>
                    <a:pt x="84782" y="394506"/>
                  </a:cubicBezTo>
                  <a:lnTo>
                    <a:pt x="134274" y="423081"/>
                  </a:lnTo>
                  <a:cubicBezTo>
                    <a:pt x="136465" y="424329"/>
                    <a:pt x="139075" y="424663"/>
                    <a:pt x="141503" y="424034"/>
                  </a:cubicBezTo>
                  <a:cubicBezTo>
                    <a:pt x="143942" y="423386"/>
                    <a:pt x="146028" y="421786"/>
                    <a:pt x="147285" y="419595"/>
                  </a:cubicBezTo>
                  <a:lnTo>
                    <a:pt x="158810" y="399621"/>
                  </a:lnTo>
                  <a:cubicBezTo>
                    <a:pt x="166030" y="402022"/>
                    <a:pt x="173441" y="403993"/>
                    <a:pt x="180965" y="405517"/>
                  </a:cubicBezTo>
                  <a:lnTo>
                    <a:pt x="180965" y="428625"/>
                  </a:lnTo>
                  <a:cubicBezTo>
                    <a:pt x="180965" y="433892"/>
                    <a:pt x="185233" y="438150"/>
                    <a:pt x="190490" y="438150"/>
                  </a:cubicBezTo>
                  <a:lnTo>
                    <a:pt x="247640" y="438150"/>
                  </a:lnTo>
                  <a:cubicBezTo>
                    <a:pt x="252898" y="438150"/>
                    <a:pt x="257165" y="433892"/>
                    <a:pt x="257165" y="428625"/>
                  </a:cubicBezTo>
                  <a:lnTo>
                    <a:pt x="257165" y="405527"/>
                  </a:lnTo>
                  <a:cubicBezTo>
                    <a:pt x="264690" y="404003"/>
                    <a:pt x="272091" y="402031"/>
                    <a:pt x="279321" y="399631"/>
                  </a:cubicBezTo>
                  <a:lnTo>
                    <a:pt x="290846" y="419605"/>
                  </a:lnTo>
                  <a:cubicBezTo>
                    <a:pt x="292113" y="421786"/>
                    <a:pt x="294189" y="423386"/>
                    <a:pt x="296628" y="424044"/>
                  </a:cubicBezTo>
                  <a:cubicBezTo>
                    <a:pt x="299056" y="424672"/>
                    <a:pt x="301666" y="424339"/>
                    <a:pt x="303857" y="423091"/>
                  </a:cubicBezTo>
                  <a:lnTo>
                    <a:pt x="353349" y="394516"/>
                  </a:lnTo>
                  <a:cubicBezTo>
                    <a:pt x="355530" y="393249"/>
                    <a:pt x="357130" y="391163"/>
                    <a:pt x="357788" y="388734"/>
                  </a:cubicBezTo>
                  <a:cubicBezTo>
                    <a:pt x="358445" y="386296"/>
                    <a:pt x="358102" y="383696"/>
                    <a:pt x="356835" y="381505"/>
                  </a:cubicBezTo>
                  <a:lnTo>
                    <a:pt x="345348" y="361617"/>
                  </a:lnTo>
                  <a:cubicBezTo>
                    <a:pt x="351092" y="356540"/>
                    <a:pt x="356521" y="351101"/>
                    <a:pt x="361607" y="345367"/>
                  </a:cubicBezTo>
                  <a:lnTo>
                    <a:pt x="381486" y="356845"/>
                  </a:lnTo>
                  <a:cubicBezTo>
                    <a:pt x="386048" y="359464"/>
                    <a:pt x="391868" y="357911"/>
                    <a:pt x="394497" y="353358"/>
                  </a:cubicBezTo>
                  <a:lnTo>
                    <a:pt x="423072" y="303876"/>
                  </a:lnTo>
                  <a:cubicBezTo>
                    <a:pt x="425701" y="299314"/>
                    <a:pt x="424139" y="293494"/>
                    <a:pt x="419586" y="290865"/>
                  </a:cubicBezTo>
                  <a:lnTo>
                    <a:pt x="399621" y="279330"/>
                  </a:lnTo>
                  <a:cubicBezTo>
                    <a:pt x="402012" y="272120"/>
                    <a:pt x="403984" y="264719"/>
                    <a:pt x="405517" y="257185"/>
                  </a:cubicBezTo>
                  <a:lnTo>
                    <a:pt x="428625" y="257185"/>
                  </a:lnTo>
                  <a:cubicBezTo>
                    <a:pt x="433883" y="257185"/>
                    <a:pt x="438150" y="252927"/>
                    <a:pt x="438150" y="247660"/>
                  </a:cubicBezTo>
                  <a:lnTo>
                    <a:pt x="438150" y="190510"/>
                  </a:lnTo>
                  <a:cubicBezTo>
                    <a:pt x="438150" y="185242"/>
                    <a:pt x="433883" y="180985"/>
                    <a:pt x="428625" y="180985"/>
                  </a:cubicBezTo>
                  <a:lnTo>
                    <a:pt x="405536" y="180985"/>
                  </a:lnTo>
                  <a:cubicBezTo>
                    <a:pt x="404003" y="173450"/>
                    <a:pt x="402031" y="166049"/>
                    <a:pt x="399640" y="158839"/>
                  </a:cubicBezTo>
                  <a:lnTo>
                    <a:pt x="419605" y="147304"/>
                  </a:lnTo>
                  <a:cubicBezTo>
                    <a:pt x="424167" y="144675"/>
                    <a:pt x="425720" y="138846"/>
                    <a:pt x="423091" y="134293"/>
                  </a:cubicBezTo>
                  <a:lnTo>
                    <a:pt x="394516" y="84811"/>
                  </a:lnTo>
                  <a:cubicBezTo>
                    <a:pt x="391887" y="80248"/>
                    <a:pt x="386067" y="78686"/>
                    <a:pt x="381505" y="81324"/>
                  </a:cubicBezTo>
                  <a:lnTo>
                    <a:pt x="361626" y="92802"/>
                  </a:lnTo>
                  <a:cubicBezTo>
                    <a:pt x="356540" y="87068"/>
                    <a:pt x="351111" y="81629"/>
                    <a:pt x="345367" y="76552"/>
                  </a:cubicBezTo>
                  <a:lnTo>
                    <a:pt x="356854" y="56664"/>
                  </a:lnTo>
                  <a:cubicBezTo>
                    <a:pt x="358111" y="54483"/>
                    <a:pt x="358454" y="51873"/>
                    <a:pt x="357807" y="49435"/>
                  </a:cubicBezTo>
                  <a:cubicBezTo>
                    <a:pt x="357159" y="46996"/>
                    <a:pt x="355559" y="44910"/>
                    <a:pt x="353368" y="43653"/>
                  </a:cubicBezTo>
                  <a:lnTo>
                    <a:pt x="303876" y="15078"/>
                  </a:lnTo>
                  <a:cubicBezTo>
                    <a:pt x="301685" y="13811"/>
                    <a:pt x="299075" y="13478"/>
                    <a:pt x="296647" y="14126"/>
                  </a:cubicBezTo>
                  <a:cubicBezTo>
                    <a:pt x="294208" y="14773"/>
                    <a:pt x="292122" y="16373"/>
                    <a:pt x="290865" y="18564"/>
                  </a:cubicBezTo>
                  <a:lnTo>
                    <a:pt x="279340" y="38538"/>
                  </a:lnTo>
                  <a:cubicBezTo>
                    <a:pt x="272120" y="36138"/>
                    <a:pt x="264709" y="34166"/>
                    <a:pt x="257185" y="32642"/>
                  </a:cubicBezTo>
                  <a:lnTo>
                    <a:pt x="257185" y="9525"/>
                  </a:lnTo>
                  <a:cubicBezTo>
                    <a:pt x="257185" y="4258"/>
                    <a:pt x="252917" y="0"/>
                    <a:pt x="247660" y="0"/>
                  </a:cubicBezTo>
                  <a:lnTo>
                    <a:pt x="190510" y="0"/>
                  </a:lnTo>
                  <a:cubicBezTo>
                    <a:pt x="185252" y="0"/>
                    <a:pt x="180985" y="4258"/>
                    <a:pt x="180985" y="9525"/>
                  </a:cubicBezTo>
                  <a:lnTo>
                    <a:pt x="180985" y="32623"/>
                  </a:lnTo>
                  <a:cubicBezTo>
                    <a:pt x="173460" y="34147"/>
                    <a:pt x="166059" y="36119"/>
                    <a:pt x="158829" y="38519"/>
                  </a:cubicBezTo>
                  <a:lnTo>
                    <a:pt x="147304" y="18545"/>
                  </a:lnTo>
                  <a:cubicBezTo>
                    <a:pt x="146037" y="16364"/>
                    <a:pt x="143961" y="14764"/>
                    <a:pt x="141522" y="14107"/>
                  </a:cubicBezTo>
                  <a:cubicBezTo>
                    <a:pt x="139094" y="13459"/>
                    <a:pt x="136484" y="13792"/>
                    <a:pt x="134293" y="15059"/>
                  </a:cubicBezTo>
                  <a:lnTo>
                    <a:pt x="84801" y="43634"/>
                  </a:lnTo>
                  <a:cubicBezTo>
                    <a:pt x="82620" y="44901"/>
                    <a:pt x="81020" y="46987"/>
                    <a:pt x="80362" y="49416"/>
                  </a:cubicBezTo>
                  <a:cubicBezTo>
                    <a:pt x="79705" y="51854"/>
                    <a:pt x="80048" y="54454"/>
                    <a:pt x="81315" y="56645"/>
                  </a:cubicBezTo>
                  <a:lnTo>
                    <a:pt x="92802" y="76533"/>
                  </a:lnTo>
                  <a:cubicBezTo>
                    <a:pt x="87059" y="81610"/>
                    <a:pt x="81629" y="87049"/>
                    <a:pt x="76543" y="92783"/>
                  </a:cubicBezTo>
                  <a:lnTo>
                    <a:pt x="56664" y="81305"/>
                  </a:lnTo>
                  <a:cubicBezTo>
                    <a:pt x="52092" y="78677"/>
                    <a:pt x="46282" y="80229"/>
                    <a:pt x="43653" y="84792"/>
                  </a:cubicBezTo>
                  <a:lnTo>
                    <a:pt x="15078" y="134274"/>
                  </a:lnTo>
                  <a:cubicBezTo>
                    <a:pt x="12449" y="138836"/>
                    <a:pt x="14011" y="144656"/>
                    <a:pt x="18564" y="147285"/>
                  </a:cubicBezTo>
                  <a:lnTo>
                    <a:pt x="38529" y="158820"/>
                  </a:lnTo>
                  <a:cubicBezTo>
                    <a:pt x="36119" y="166040"/>
                    <a:pt x="34147" y="173441"/>
                    <a:pt x="32614" y="180975"/>
                  </a:cubicBezTo>
                  <a:lnTo>
                    <a:pt x="9525" y="180975"/>
                  </a:lnTo>
                  <a:cubicBezTo>
                    <a:pt x="4267" y="180975"/>
                    <a:pt x="0" y="185233"/>
                    <a:pt x="0" y="190500"/>
                  </a:cubicBezTo>
                  <a:lnTo>
                    <a:pt x="0" y="247650"/>
                  </a:lnTo>
                  <a:cubicBezTo>
                    <a:pt x="0" y="252917"/>
                    <a:pt x="4267" y="257175"/>
                    <a:pt x="9525" y="257175"/>
                  </a:cubicBezTo>
                  <a:close/>
                  <a:moveTo>
                    <a:pt x="19050" y="200025"/>
                  </a:moveTo>
                  <a:lnTo>
                    <a:pt x="40567" y="200025"/>
                  </a:lnTo>
                  <a:cubicBezTo>
                    <a:pt x="45253" y="200025"/>
                    <a:pt x="49235" y="196625"/>
                    <a:pt x="49968" y="191995"/>
                  </a:cubicBezTo>
                  <a:cubicBezTo>
                    <a:pt x="51835" y="180270"/>
                    <a:pt x="54893" y="168802"/>
                    <a:pt x="59045" y="157953"/>
                  </a:cubicBezTo>
                  <a:cubicBezTo>
                    <a:pt x="60712" y="153581"/>
                    <a:pt x="58969" y="148638"/>
                    <a:pt x="54912" y="146294"/>
                  </a:cubicBezTo>
                  <a:lnTo>
                    <a:pt x="36319" y="135550"/>
                  </a:lnTo>
                  <a:lnTo>
                    <a:pt x="55369" y="102565"/>
                  </a:lnTo>
                  <a:lnTo>
                    <a:pt x="73876" y="113243"/>
                  </a:lnTo>
                  <a:cubicBezTo>
                    <a:pt x="77934" y="115567"/>
                    <a:pt x="83077" y="114633"/>
                    <a:pt x="86030" y="111004"/>
                  </a:cubicBezTo>
                  <a:cubicBezTo>
                    <a:pt x="93459" y="101870"/>
                    <a:pt x="101860" y="93469"/>
                    <a:pt x="111004" y="86030"/>
                  </a:cubicBezTo>
                  <a:cubicBezTo>
                    <a:pt x="114633" y="83077"/>
                    <a:pt x="115586" y="77934"/>
                    <a:pt x="113243" y="73885"/>
                  </a:cubicBezTo>
                  <a:lnTo>
                    <a:pt x="102556" y="55378"/>
                  </a:lnTo>
                  <a:lnTo>
                    <a:pt x="135550" y="36328"/>
                  </a:lnTo>
                  <a:lnTo>
                    <a:pt x="146285" y="54921"/>
                  </a:lnTo>
                  <a:cubicBezTo>
                    <a:pt x="148628" y="58979"/>
                    <a:pt x="153562" y="60712"/>
                    <a:pt x="157934" y="59065"/>
                  </a:cubicBezTo>
                  <a:cubicBezTo>
                    <a:pt x="168840" y="54893"/>
                    <a:pt x="180289" y="51845"/>
                    <a:pt x="191995" y="49987"/>
                  </a:cubicBezTo>
                  <a:cubicBezTo>
                    <a:pt x="196625" y="49244"/>
                    <a:pt x="200025" y="45253"/>
                    <a:pt x="200025" y="40577"/>
                  </a:cubicBezTo>
                  <a:lnTo>
                    <a:pt x="200025" y="19050"/>
                  </a:lnTo>
                  <a:lnTo>
                    <a:pt x="238125" y="19050"/>
                  </a:lnTo>
                  <a:lnTo>
                    <a:pt x="238125" y="40577"/>
                  </a:lnTo>
                  <a:cubicBezTo>
                    <a:pt x="238125" y="45253"/>
                    <a:pt x="241525" y="49244"/>
                    <a:pt x="246155" y="49978"/>
                  </a:cubicBezTo>
                  <a:cubicBezTo>
                    <a:pt x="257861" y="51835"/>
                    <a:pt x="269310" y="54893"/>
                    <a:pt x="280216" y="59055"/>
                  </a:cubicBezTo>
                  <a:cubicBezTo>
                    <a:pt x="284597" y="60712"/>
                    <a:pt x="289531" y="58969"/>
                    <a:pt x="291865" y="54912"/>
                  </a:cubicBezTo>
                  <a:lnTo>
                    <a:pt x="302600" y="36319"/>
                  </a:lnTo>
                  <a:lnTo>
                    <a:pt x="335594" y="55369"/>
                  </a:lnTo>
                  <a:lnTo>
                    <a:pt x="324907" y="73876"/>
                  </a:lnTo>
                  <a:cubicBezTo>
                    <a:pt x="322564" y="77934"/>
                    <a:pt x="323517" y="83077"/>
                    <a:pt x="327146" y="86020"/>
                  </a:cubicBezTo>
                  <a:cubicBezTo>
                    <a:pt x="336290" y="93459"/>
                    <a:pt x="344691" y="101860"/>
                    <a:pt x="352120" y="110995"/>
                  </a:cubicBezTo>
                  <a:cubicBezTo>
                    <a:pt x="355063" y="114633"/>
                    <a:pt x="360216" y="115557"/>
                    <a:pt x="364274" y="113233"/>
                  </a:cubicBezTo>
                  <a:lnTo>
                    <a:pt x="382781" y="102556"/>
                  </a:lnTo>
                  <a:lnTo>
                    <a:pt x="401831" y="135541"/>
                  </a:lnTo>
                  <a:lnTo>
                    <a:pt x="383238" y="146285"/>
                  </a:lnTo>
                  <a:cubicBezTo>
                    <a:pt x="379181" y="148628"/>
                    <a:pt x="377438" y="153572"/>
                    <a:pt x="379105" y="157944"/>
                  </a:cubicBezTo>
                  <a:cubicBezTo>
                    <a:pt x="383257" y="168802"/>
                    <a:pt x="386315" y="180261"/>
                    <a:pt x="388182" y="191986"/>
                  </a:cubicBezTo>
                  <a:cubicBezTo>
                    <a:pt x="388915" y="196625"/>
                    <a:pt x="392897" y="200025"/>
                    <a:pt x="397583" y="200025"/>
                  </a:cubicBezTo>
                  <a:lnTo>
                    <a:pt x="419100" y="200025"/>
                  </a:lnTo>
                  <a:lnTo>
                    <a:pt x="419100" y="238125"/>
                  </a:lnTo>
                  <a:lnTo>
                    <a:pt x="397583" y="238125"/>
                  </a:lnTo>
                  <a:cubicBezTo>
                    <a:pt x="392897" y="238125"/>
                    <a:pt x="388915" y="241525"/>
                    <a:pt x="388182" y="246155"/>
                  </a:cubicBezTo>
                  <a:cubicBezTo>
                    <a:pt x="386315" y="257880"/>
                    <a:pt x="383257" y="269348"/>
                    <a:pt x="379105" y="280197"/>
                  </a:cubicBezTo>
                  <a:cubicBezTo>
                    <a:pt x="377438" y="284569"/>
                    <a:pt x="379181" y="289512"/>
                    <a:pt x="383238" y="291856"/>
                  </a:cubicBezTo>
                  <a:lnTo>
                    <a:pt x="401831" y="302600"/>
                  </a:lnTo>
                  <a:lnTo>
                    <a:pt x="382781" y="335585"/>
                  </a:lnTo>
                  <a:lnTo>
                    <a:pt x="364274" y="324907"/>
                  </a:lnTo>
                  <a:cubicBezTo>
                    <a:pt x="360216" y="322574"/>
                    <a:pt x="355073" y="323517"/>
                    <a:pt x="352120" y="327146"/>
                  </a:cubicBezTo>
                  <a:cubicBezTo>
                    <a:pt x="344691" y="336280"/>
                    <a:pt x="336290" y="344681"/>
                    <a:pt x="327146" y="352120"/>
                  </a:cubicBezTo>
                  <a:cubicBezTo>
                    <a:pt x="323517" y="355073"/>
                    <a:pt x="322564" y="360216"/>
                    <a:pt x="324907" y="364265"/>
                  </a:cubicBezTo>
                  <a:lnTo>
                    <a:pt x="335594" y="382772"/>
                  </a:lnTo>
                  <a:lnTo>
                    <a:pt x="302600" y="401822"/>
                  </a:lnTo>
                  <a:lnTo>
                    <a:pt x="291865" y="383229"/>
                  </a:lnTo>
                  <a:cubicBezTo>
                    <a:pt x="289531" y="379181"/>
                    <a:pt x="284597" y="377457"/>
                    <a:pt x="280216" y="379085"/>
                  </a:cubicBezTo>
                  <a:cubicBezTo>
                    <a:pt x="269310" y="383257"/>
                    <a:pt x="257861" y="386305"/>
                    <a:pt x="246155" y="388163"/>
                  </a:cubicBezTo>
                  <a:cubicBezTo>
                    <a:pt x="241525" y="388906"/>
                    <a:pt x="238125" y="392897"/>
                    <a:pt x="238125" y="397574"/>
                  </a:cubicBezTo>
                  <a:lnTo>
                    <a:pt x="238125" y="419100"/>
                  </a:lnTo>
                  <a:lnTo>
                    <a:pt x="200025" y="419100"/>
                  </a:lnTo>
                  <a:lnTo>
                    <a:pt x="200025" y="397574"/>
                  </a:lnTo>
                  <a:cubicBezTo>
                    <a:pt x="200025" y="392897"/>
                    <a:pt x="196625" y="388906"/>
                    <a:pt x="191995" y="388172"/>
                  </a:cubicBezTo>
                  <a:cubicBezTo>
                    <a:pt x="180289" y="386315"/>
                    <a:pt x="168840" y="383257"/>
                    <a:pt x="157934" y="379095"/>
                  </a:cubicBezTo>
                  <a:cubicBezTo>
                    <a:pt x="153572" y="377457"/>
                    <a:pt x="148628" y="379190"/>
                    <a:pt x="146285" y="383238"/>
                  </a:cubicBezTo>
                  <a:lnTo>
                    <a:pt x="135550" y="401831"/>
                  </a:lnTo>
                  <a:lnTo>
                    <a:pt x="102556" y="382781"/>
                  </a:lnTo>
                  <a:lnTo>
                    <a:pt x="113243" y="364274"/>
                  </a:lnTo>
                  <a:cubicBezTo>
                    <a:pt x="115586" y="360216"/>
                    <a:pt x="114633" y="355073"/>
                    <a:pt x="111004" y="352130"/>
                  </a:cubicBezTo>
                  <a:cubicBezTo>
                    <a:pt x="101860" y="344691"/>
                    <a:pt x="93459" y="336290"/>
                    <a:pt x="86030" y="327155"/>
                  </a:cubicBezTo>
                  <a:cubicBezTo>
                    <a:pt x="83077" y="323517"/>
                    <a:pt x="77934" y="322583"/>
                    <a:pt x="73876" y="324917"/>
                  </a:cubicBezTo>
                  <a:lnTo>
                    <a:pt x="55369" y="335594"/>
                  </a:lnTo>
                  <a:lnTo>
                    <a:pt x="36319" y="302609"/>
                  </a:lnTo>
                  <a:lnTo>
                    <a:pt x="54912" y="291865"/>
                  </a:lnTo>
                  <a:cubicBezTo>
                    <a:pt x="58969" y="289522"/>
                    <a:pt x="60712" y="284578"/>
                    <a:pt x="59045" y="280206"/>
                  </a:cubicBezTo>
                  <a:cubicBezTo>
                    <a:pt x="54893" y="269348"/>
                    <a:pt x="51835" y="257889"/>
                    <a:pt x="49968" y="246164"/>
                  </a:cubicBezTo>
                  <a:cubicBezTo>
                    <a:pt x="49235" y="241525"/>
                    <a:pt x="45253" y="238125"/>
                    <a:pt x="40567" y="238125"/>
                  </a:cubicBezTo>
                  <a:lnTo>
                    <a:pt x="19050" y="238125"/>
                  </a:lnTo>
                  <a:lnTo>
                    <a:pt x="19050" y="200025"/>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66" name="Freeform: Shape 165">
              <a:extLst>
                <a:ext uri="{FF2B5EF4-FFF2-40B4-BE49-F238E27FC236}">
                  <a16:creationId xmlns:a16="http://schemas.microsoft.com/office/drawing/2014/main" id="{5E70304A-1234-9AF4-C0E5-E28DE30D6C68}"/>
                </a:ext>
              </a:extLst>
            </p:cNvPr>
            <p:cNvSpPr/>
            <p:nvPr/>
          </p:nvSpPr>
          <p:spPr>
            <a:xfrm>
              <a:off x="5886450" y="3276600"/>
              <a:ext cx="285750" cy="285750"/>
            </a:xfrm>
            <a:custGeom>
              <a:avLst/>
              <a:gdLst>
                <a:gd name="connsiteX0" fmla="*/ 142875 w 285750"/>
                <a:gd name="connsiteY0" fmla="*/ 285750 h 285750"/>
                <a:gd name="connsiteX1" fmla="*/ 285750 w 285750"/>
                <a:gd name="connsiteY1" fmla="*/ 142875 h 285750"/>
                <a:gd name="connsiteX2" fmla="*/ 142875 w 285750"/>
                <a:gd name="connsiteY2" fmla="*/ 0 h 285750"/>
                <a:gd name="connsiteX3" fmla="*/ 0 w 285750"/>
                <a:gd name="connsiteY3" fmla="*/ 142875 h 285750"/>
                <a:gd name="connsiteX4" fmla="*/ 142875 w 285750"/>
                <a:gd name="connsiteY4" fmla="*/ 285750 h 285750"/>
                <a:gd name="connsiteX5" fmla="*/ 142875 w 285750"/>
                <a:gd name="connsiteY5" fmla="*/ 19050 h 285750"/>
                <a:gd name="connsiteX6" fmla="*/ 266700 w 285750"/>
                <a:gd name="connsiteY6" fmla="*/ 142875 h 285750"/>
                <a:gd name="connsiteX7" fmla="*/ 142875 w 285750"/>
                <a:gd name="connsiteY7" fmla="*/ 266700 h 285750"/>
                <a:gd name="connsiteX8" fmla="*/ 19050 w 285750"/>
                <a:gd name="connsiteY8" fmla="*/ 142875 h 285750"/>
                <a:gd name="connsiteX9" fmla="*/ 142875 w 285750"/>
                <a:gd name="connsiteY9" fmla="*/ 190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0" h="285750">
                  <a:moveTo>
                    <a:pt x="142875" y="285750"/>
                  </a:moveTo>
                  <a:cubicBezTo>
                    <a:pt x="221656" y="285750"/>
                    <a:pt x="285750" y="221656"/>
                    <a:pt x="285750" y="142875"/>
                  </a:cubicBezTo>
                  <a:cubicBezTo>
                    <a:pt x="285750" y="64094"/>
                    <a:pt x="221656" y="0"/>
                    <a:pt x="142875" y="0"/>
                  </a:cubicBezTo>
                  <a:cubicBezTo>
                    <a:pt x="64094" y="0"/>
                    <a:pt x="0" y="64094"/>
                    <a:pt x="0" y="142875"/>
                  </a:cubicBezTo>
                  <a:cubicBezTo>
                    <a:pt x="0" y="221656"/>
                    <a:pt x="64094" y="285750"/>
                    <a:pt x="142875" y="285750"/>
                  </a:cubicBezTo>
                  <a:close/>
                  <a:moveTo>
                    <a:pt x="142875" y="19050"/>
                  </a:moveTo>
                  <a:cubicBezTo>
                    <a:pt x="211150" y="19050"/>
                    <a:pt x="266700" y="74600"/>
                    <a:pt x="266700" y="142875"/>
                  </a:cubicBezTo>
                  <a:cubicBezTo>
                    <a:pt x="266700" y="211150"/>
                    <a:pt x="211150" y="266700"/>
                    <a:pt x="142875" y="266700"/>
                  </a:cubicBezTo>
                  <a:cubicBezTo>
                    <a:pt x="74600" y="266700"/>
                    <a:pt x="19050" y="211150"/>
                    <a:pt x="19050" y="142875"/>
                  </a:cubicBezTo>
                  <a:cubicBezTo>
                    <a:pt x="19050" y="74600"/>
                    <a:pt x="74600" y="19050"/>
                    <a:pt x="142875" y="19050"/>
                  </a:cubicBez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67" name="Freeform: Shape 166">
              <a:extLst>
                <a:ext uri="{FF2B5EF4-FFF2-40B4-BE49-F238E27FC236}">
                  <a16:creationId xmlns:a16="http://schemas.microsoft.com/office/drawing/2014/main" id="{AEF05DF9-950B-AE96-237D-8C5FCAC42BA6}"/>
                </a:ext>
              </a:extLst>
            </p:cNvPr>
            <p:cNvSpPr/>
            <p:nvPr/>
          </p:nvSpPr>
          <p:spPr>
            <a:xfrm>
              <a:off x="5936866" y="3355591"/>
              <a:ext cx="66675" cy="66675"/>
            </a:xfrm>
            <a:custGeom>
              <a:avLst/>
              <a:gdLst>
                <a:gd name="connsiteX0" fmla="*/ 13468 w 66675"/>
                <a:gd name="connsiteY0" fmla="*/ 67351 h 66675"/>
                <a:gd name="connsiteX1" fmla="*/ 33671 w 66675"/>
                <a:gd name="connsiteY1" fmla="*/ 47149 h 66675"/>
                <a:gd name="connsiteX2" fmla="*/ 53883 w 66675"/>
                <a:gd name="connsiteY2" fmla="*/ 67351 h 66675"/>
                <a:gd name="connsiteX3" fmla="*/ 67351 w 66675"/>
                <a:gd name="connsiteY3" fmla="*/ 53883 h 66675"/>
                <a:gd name="connsiteX4" fmla="*/ 47139 w 66675"/>
                <a:gd name="connsiteY4" fmla="*/ 33680 h 66675"/>
                <a:gd name="connsiteX5" fmla="*/ 67351 w 66675"/>
                <a:gd name="connsiteY5" fmla="*/ 13468 h 66675"/>
                <a:gd name="connsiteX6" fmla="*/ 53883 w 66675"/>
                <a:gd name="connsiteY6" fmla="*/ 0 h 66675"/>
                <a:gd name="connsiteX7" fmla="*/ 33671 w 66675"/>
                <a:gd name="connsiteY7" fmla="*/ 20203 h 66675"/>
                <a:gd name="connsiteX8" fmla="*/ 13468 w 66675"/>
                <a:gd name="connsiteY8" fmla="*/ 0 h 66675"/>
                <a:gd name="connsiteX9" fmla="*/ 0 w 66675"/>
                <a:gd name="connsiteY9" fmla="*/ 13468 h 66675"/>
                <a:gd name="connsiteX10" fmla="*/ 20203 w 66675"/>
                <a:gd name="connsiteY10" fmla="*/ 33680 h 66675"/>
                <a:gd name="connsiteX11" fmla="*/ 0 w 66675"/>
                <a:gd name="connsiteY11" fmla="*/ 538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675">
                  <a:moveTo>
                    <a:pt x="13468" y="67351"/>
                  </a:moveTo>
                  <a:lnTo>
                    <a:pt x="33671" y="47149"/>
                  </a:lnTo>
                  <a:lnTo>
                    <a:pt x="53883" y="67351"/>
                  </a:lnTo>
                  <a:lnTo>
                    <a:pt x="67351" y="53883"/>
                  </a:lnTo>
                  <a:lnTo>
                    <a:pt x="47139" y="33680"/>
                  </a:lnTo>
                  <a:lnTo>
                    <a:pt x="67351" y="13468"/>
                  </a:lnTo>
                  <a:lnTo>
                    <a:pt x="53883" y="0"/>
                  </a:lnTo>
                  <a:lnTo>
                    <a:pt x="33671" y="20203"/>
                  </a:lnTo>
                  <a:lnTo>
                    <a:pt x="13468" y="0"/>
                  </a:lnTo>
                  <a:lnTo>
                    <a:pt x="0" y="13468"/>
                  </a:lnTo>
                  <a:lnTo>
                    <a:pt x="20203" y="33680"/>
                  </a:lnTo>
                  <a:lnTo>
                    <a:pt x="0" y="53883"/>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68" name="Freeform: Shape 167">
              <a:extLst>
                <a:ext uri="{FF2B5EF4-FFF2-40B4-BE49-F238E27FC236}">
                  <a16:creationId xmlns:a16="http://schemas.microsoft.com/office/drawing/2014/main" id="{21312B4C-AB5D-CB9C-C8D5-56B929416148}"/>
                </a:ext>
              </a:extLst>
            </p:cNvPr>
            <p:cNvSpPr/>
            <p:nvPr/>
          </p:nvSpPr>
          <p:spPr>
            <a:xfrm>
              <a:off x="6035383" y="3441316"/>
              <a:ext cx="66675" cy="66675"/>
            </a:xfrm>
            <a:custGeom>
              <a:avLst/>
              <a:gdLst>
                <a:gd name="connsiteX0" fmla="*/ 53883 w 66675"/>
                <a:gd name="connsiteY0" fmla="*/ 0 h 66675"/>
                <a:gd name="connsiteX1" fmla="*/ 33680 w 66675"/>
                <a:gd name="connsiteY1" fmla="*/ 20203 h 66675"/>
                <a:gd name="connsiteX2" fmla="*/ 13468 w 66675"/>
                <a:gd name="connsiteY2" fmla="*/ 0 h 66675"/>
                <a:gd name="connsiteX3" fmla="*/ 0 w 66675"/>
                <a:gd name="connsiteY3" fmla="*/ 13468 h 66675"/>
                <a:gd name="connsiteX4" fmla="*/ 20212 w 66675"/>
                <a:gd name="connsiteY4" fmla="*/ 33680 h 66675"/>
                <a:gd name="connsiteX5" fmla="*/ 0 w 66675"/>
                <a:gd name="connsiteY5" fmla="*/ 53883 h 66675"/>
                <a:gd name="connsiteX6" fmla="*/ 13468 w 66675"/>
                <a:gd name="connsiteY6" fmla="*/ 67351 h 66675"/>
                <a:gd name="connsiteX7" fmla="*/ 33680 w 66675"/>
                <a:gd name="connsiteY7" fmla="*/ 47149 h 66675"/>
                <a:gd name="connsiteX8" fmla="*/ 53883 w 66675"/>
                <a:gd name="connsiteY8" fmla="*/ 67351 h 66675"/>
                <a:gd name="connsiteX9" fmla="*/ 67351 w 66675"/>
                <a:gd name="connsiteY9" fmla="*/ 53883 h 66675"/>
                <a:gd name="connsiteX10" fmla="*/ 47149 w 66675"/>
                <a:gd name="connsiteY10" fmla="*/ 33680 h 66675"/>
                <a:gd name="connsiteX11" fmla="*/ 67351 w 66675"/>
                <a:gd name="connsiteY11" fmla="*/ 1346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675">
                  <a:moveTo>
                    <a:pt x="53883" y="0"/>
                  </a:moveTo>
                  <a:lnTo>
                    <a:pt x="33680" y="20203"/>
                  </a:lnTo>
                  <a:lnTo>
                    <a:pt x="13468" y="0"/>
                  </a:lnTo>
                  <a:lnTo>
                    <a:pt x="0" y="13468"/>
                  </a:lnTo>
                  <a:lnTo>
                    <a:pt x="20212" y="33680"/>
                  </a:lnTo>
                  <a:lnTo>
                    <a:pt x="0" y="53883"/>
                  </a:lnTo>
                  <a:lnTo>
                    <a:pt x="13468" y="67351"/>
                  </a:lnTo>
                  <a:lnTo>
                    <a:pt x="33680" y="47149"/>
                  </a:lnTo>
                  <a:lnTo>
                    <a:pt x="53883" y="67351"/>
                  </a:lnTo>
                  <a:lnTo>
                    <a:pt x="67351" y="53883"/>
                  </a:lnTo>
                  <a:lnTo>
                    <a:pt x="47149" y="33680"/>
                  </a:lnTo>
                  <a:lnTo>
                    <a:pt x="67351" y="13468"/>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69" name="Freeform: Shape 168">
              <a:extLst>
                <a:ext uri="{FF2B5EF4-FFF2-40B4-BE49-F238E27FC236}">
                  <a16:creationId xmlns:a16="http://schemas.microsoft.com/office/drawing/2014/main" id="{3CA424E4-D0EB-93D4-6D9C-AF31ECE536D9}"/>
                </a:ext>
              </a:extLst>
            </p:cNvPr>
            <p:cNvSpPr/>
            <p:nvPr/>
          </p:nvSpPr>
          <p:spPr>
            <a:xfrm>
              <a:off x="6038850" y="3333750"/>
              <a:ext cx="76200" cy="76200"/>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12" y="76200"/>
                    <a:pt x="76200" y="59112"/>
                    <a:pt x="76200" y="38100"/>
                  </a:cubicBezTo>
                  <a:cubicBezTo>
                    <a:pt x="76200" y="17088"/>
                    <a:pt x="59112" y="0"/>
                    <a:pt x="38100" y="0"/>
                  </a:cubicBezTo>
                  <a:cubicBezTo>
                    <a:pt x="17088" y="0"/>
                    <a:pt x="0" y="17088"/>
                    <a:pt x="0" y="38100"/>
                  </a:cubicBezTo>
                  <a:cubicBezTo>
                    <a:pt x="0" y="59112"/>
                    <a:pt x="17088" y="76200"/>
                    <a:pt x="38100" y="76200"/>
                  </a:cubicBezTo>
                  <a:close/>
                  <a:moveTo>
                    <a:pt x="38100" y="19050"/>
                  </a:moveTo>
                  <a:cubicBezTo>
                    <a:pt x="48606" y="19050"/>
                    <a:pt x="57150" y="27594"/>
                    <a:pt x="57150" y="38100"/>
                  </a:cubicBezTo>
                  <a:cubicBezTo>
                    <a:pt x="57150" y="48606"/>
                    <a:pt x="48606" y="57150"/>
                    <a:pt x="38100" y="57150"/>
                  </a:cubicBezTo>
                  <a:cubicBezTo>
                    <a:pt x="27594" y="57150"/>
                    <a:pt x="19050" y="48606"/>
                    <a:pt x="19050" y="38100"/>
                  </a:cubicBezTo>
                  <a:cubicBezTo>
                    <a:pt x="19050" y="27594"/>
                    <a:pt x="27594" y="19050"/>
                    <a:pt x="38100" y="19050"/>
                  </a:cubicBez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0" name="Freeform: Shape 169">
              <a:extLst>
                <a:ext uri="{FF2B5EF4-FFF2-40B4-BE49-F238E27FC236}">
                  <a16:creationId xmlns:a16="http://schemas.microsoft.com/office/drawing/2014/main" id="{924AB60B-FBAE-B594-46F1-D17492FDA1C0}"/>
                </a:ext>
              </a:extLst>
            </p:cNvPr>
            <p:cNvSpPr/>
            <p:nvPr/>
          </p:nvSpPr>
          <p:spPr>
            <a:xfrm>
              <a:off x="5949582" y="3403997"/>
              <a:ext cx="95250" cy="76200"/>
            </a:xfrm>
            <a:custGeom>
              <a:avLst/>
              <a:gdLst>
                <a:gd name="connsiteX0" fmla="*/ 7077 w 95250"/>
                <a:gd name="connsiteY0" fmla="*/ 81477 h 76200"/>
                <a:gd name="connsiteX1" fmla="*/ 90649 w 95250"/>
                <a:gd name="connsiteY1" fmla="*/ 19479 h 76200"/>
                <a:gd name="connsiteX2" fmla="*/ 96707 w 95250"/>
                <a:gd name="connsiteY2" fmla="*/ 11906 h 76200"/>
                <a:gd name="connsiteX3" fmla="*/ 81829 w 95250"/>
                <a:gd name="connsiteY3" fmla="*/ 0 h 76200"/>
                <a:gd name="connsiteX4" fmla="*/ 75771 w 95250"/>
                <a:gd name="connsiteY4" fmla="*/ 7572 h 76200"/>
                <a:gd name="connsiteX5" fmla="*/ 0 w 95250"/>
                <a:gd name="connsiteY5" fmla="*/ 63779 h 76200"/>
                <a:gd name="connsiteX6" fmla="*/ 7077 w 95250"/>
                <a:gd name="connsiteY6" fmla="*/ 8147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76200">
                  <a:moveTo>
                    <a:pt x="7077" y="81477"/>
                  </a:moveTo>
                  <a:cubicBezTo>
                    <a:pt x="39757" y="68409"/>
                    <a:pt x="68647" y="46968"/>
                    <a:pt x="90649" y="19479"/>
                  </a:cubicBezTo>
                  <a:lnTo>
                    <a:pt x="96707" y="11906"/>
                  </a:lnTo>
                  <a:lnTo>
                    <a:pt x="81829" y="0"/>
                  </a:lnTo>
                  <a:lnTo>
                    <a:pt x="75771" y="7572"/>
                  </a:lnTo>
                  <a:cubicBezTo>
                    <a:pt x="55826" y="32499"/>
                    <a:pt x="29623" y="51940"/>
                    <a:pt x="0" y="63779"/>
                  </a:cubicBezTo>
                  <a:lnTo>
                    <a:pt x="7077" y="81477"/>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1" name="Freeform: Shape 170">
              <a:extLst>
                <a:ext uri="{FF2B5EF4-FFF2-40B4-BE49-F238E27FC236}">
                  <a16:creationId xmlns:a16="http://schemas.microsoft.com/office/drawing/2014/main" id="{9390EB94-5045-0566-101E-EC2502534CD5}"/>
                </a:ext>
              </a:extLst>
            </p:cNvPr>
            <p:cNvSpPr/>
            <p:nvPr/>
          </p:nvSpPr>
          <p:spPr>
            <a:xfrm>
              <a:off x="6267450" y="34099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2" name="Freeform: Shape 171">
              <a:extLst>
                <a:ext uri="{FF2B5EF4-FFF2-40B4-BE49-F238E27FC236}">
                  <a16:creationId xmlns:a16="http://schemas.microsoft.com/office/drawing/2014/main" id="{FAF6C12F-C167-383C-D077-23282EC053DE}"/>
                </a:ext>
              </a:extLst>
            </p:cNvPr>
            <p:cNvSpPr/>
            <p:nvPr/>
          </p:nvSpPr>
          <p:spPr>
            <a:xfrm>
              <a:off x="6305550" y="34099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3" name="Freeform: Shape 172">
              <a:extLst>
                <a:ext uri="{FF2B5EF4-FFF2-40B4-BE49-F238E27FC236}">
                  <a16:creationId xmlns:a16="http://schemas.microsoft.com/office/drawing/2014/main" id="{9E9DB2B9-F1C1-1D0B-2E2B-B5595EC0AAF3}"/>
                </a:ext>
              </a:extLst>
            </p:cNvPr>
            <p:cNvSpPr/>
            <p:nvPr/>
          </p:nvSpPr>
          <p:spPr>
            <a:xfrm>
              <a:off x="6305550" y="33718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4" name="Freeform: Shape 173">
              <a:extLst>
                <a:ext uri="{FF2B5EF4-FFF2-40B4-BE49-F238E27FC236}">
                  <a16:creationId xmlns:a16="http://schemas.microsoft.com/office/drawing/2014/main" id="{91FA3848-B7B7-C566-66BA-1CEF499E8B50}"/>
                </a:ext>
              </a:extLst>
            </p:cNvPr>
            <p:cNvSpPr/>
            <p:nvPr/>
          </p:nvSpPr>
          <p:spPr>
            <a:xfrm>
              <a:off x="6305550" y="33337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5" name="Freeform: Shape 174">
              <a:extLst>
                <a:ext uri="{FF2B5EF4-FFF2-40B4-BE49-F238E27FC236}">
                  <a16:creationId xmlns:a16="http://schemas.microsoft.com/office/drawing/2014/main" id="{F1CC0879-9163-60D9-F2E2-CE05B3C639B3}"/>
                </a:ext>
              </a:extLst>
            </p:cNvPr>
            <p:cNvSpPr/>
            <p:nvPr/>
          </p:nvSpPr>
          <p:spPr>
            <a:xfrm>
              <a:off x="6305550" y="32956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6" name="Freeform: Shape 175">
              <a:extLst>
                <a:ext uri="{FF2B5EF4-FFF2-40B4-BE49-F238E27FC236}">
                  <a16:creationId xmlns:a16="http://schemas.microsoft.com/office/drawing/2014/main" id="{5944F31E-5A59-381C-E78C-B281822C4254}"/>
                </a:ext>
              </a:extLst>
            </p:cNvPr>
            <p:cNvSpPr/>
            <p:nvPr/>
          </p:nvSpPr>
          <p:spPr>
            <a:xfrm>
              <a:off x="6305550" y="32575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sp>
          <p:nvSpPr>
            <p:cNvPr id="177" name="Freeform: Shape 176">
              <a:extLst>
                <a:ext uri="{FF2B5EF4-FFF2-40B4-BE49-F238E27FC236}">
                  <a16:creationId xmlns:a16="http://schemas.microsoft.com/office/drawing/2014/main" id="{0DCE03C5-5B3B-6409-7AF0-B93E6B7C689A}"/>
                </a:ext>
              </a:extLst>
            </p:cNvPr>
            <p:cNvSpPr/>
            <p:nvPr/>
          </p:nvSpPr>
          <p:spPr>
            <a:xfrm>
              <a:off x="6305550" y="3219450"/>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Arial" pitchFamily="34" charset="0"/>
                <a:ea typeface="ＭＳ Ｐゴシック" pitchFamily="34" charset="-128"/>
              </a:endParaRPr>
            </a:p>
          </p:txBody>
        </p:sp>
      </p:grpSp>
      <p:sp>
        <p:nvSpPr>
          <p:cNvPr id="163" name="TextBox 162">
            <a:extLst>
              <a:ext uri="{FF2B5EF4-FFF2-40B4-BE49-F238E27FC236}">
                <a16:creationId xmlns:a16="http://schemas.microsoft.com/office/drawing/2014/main" id="{D047BE7D-F389-FF00-ADB2-E1517CFF3848}"/>
              </a:ext>
            </a:extLst>
          </p:cNvPr>
          <p:cNvSpPr txBox="1"/>
          <p:nvPr/>
        </p:nvSpPr>
        <p:spPr>
          <a:xfrm>
            <a:off x="1898429" y="1957497"/>
            <a:ext cx="2813914" cy="313932"/>
          </a:xfrm>
          <a:prstGeom prst="rect">
            <a:avLst/>
          </a:prstGeom>
          <a:noFill/>
        </p:spPr>
        <p:txBody>
          <a:bodyPr wrap="square" rtlCol="0" anchor="ctr">
            <a:spAutoFit/>
          </a:bodyPr>
          <a:lstStyle/>
          <a:p>
            <a:pPr marL="0" marR="0" lvl="0" indent="0" defTabSz="914342" eaLnBrk="1" fontAlgn="base" latinLnBrk="0" hangingPunct="1">
              <a:lnSpc>
                <a:spcPct val="80000"/>
              </a:lnSpc>
              <a:spcBef>
                <a:spcPct val="0"/>
              </a:spcBef>
              <a:spcAft>
                <a:spcPct val="0"/>
              </a:spcAft>
              <a:buClrTx/>
              <a:buSzTx/>
              <a:buFontTx/>
              <a:buNone/>
              <a:tabLst/>
              <a:defRPr/>
            </a:pPr>
            <a:r>
              <a:rPr kumimoji="0" lang="da-DK"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ＭＳ Ｐゴシック" pitchFamily="34" charset="-128"/>
                <a:cs typeface="Segoe UI Semibold" panose="020B0702040204020203" pitchFamily="34" charset="0"/>
              </a:rPr>
              <a:t>Plan A – With Tameh</a:t>
            </a:r>
          </a:p>
        </p:txBody>
      </p:sp>
      <p:sp>
        <p:nvSpPr>
          <p:cNvPr id="187" name="TextBox 186">
            <a:extLst>
              <a:ext uri="{FF2B5EF4-FFF2-40B4-BE49-F238E27FC236}">
                <a16:creationId xmlns:a16="http://schemas.microsoft.com/office/drawing/2014/main" id="{9FC4F47C-80BA-BC30-C15E-815D400929CB}"/>
              </a:ext>
            </a:extLst>
          </p:cNvPr>
          <p:cNvSpPr txBox="1"/>
          <p:nvPr/>
        </p:nvSpPr>
        <p:spPr>
          <a:xfrm>
            <a:off x="7320135" y="1957497"/>
            <a:ext cx="3949557" cy="313932"/>
          </a:xfrm>
          <a:prstGeom prst="rect">
            <a:avLst/>
          </a:prstGeom>
          <a:noFill/>
        </p:spPr>
        <p:txBody>
          <a:bodyPr wrap="square" rtlCol="0" anchor="ctr">
            <a:spAutoFit/>
          </a:bodyPr>
          <a:lstStyle/>
          <a:p>
            <a:pPr marL="0" marR="0" lvl="0" indent="0" defTabSz="914342" eaLnBrk="1" fontAlgn="base" latinLnBrk="0" hangingPunct="1">
              <a:lnSpc>
                <a:spcPct val="80000"/>
              </a:lnSpc>
              <a:spcBef>
                <a:spcPct val="0"/>
              </a:spcBef>
              <a:spcAft>
                <a:spcPct val="0"/>
              </a:spcAft>
              <a:buClrTx/>
              <a:buSzTx/>
              <a:buFontTx/>
              <a:buNone/>
              <a:tabLst/>
              <a:defRPr/>
            </a:pPr>
            <a:r>
              <a:rPr kumimoji="0" lang="en-GB"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ＭＳ Ｐゴシック" pitchFamily="34" charset="-128"/>
                <a:cs typeface="Segoe UI Semibold" panose="020B0702040204020203" pitchFamily="34" charset="0"/>
              </a:rPr>
              <a:t>Plan B –New Energy Complex</a:t>
            </a:r>
          </a:p>
        </p:txBody>
      </p:sp>
      <p:sp>
        <p:nvSpPr>
          <p:cNvPr id="188" name="Rectangle 187">
            <a:extLst>
              <a:ext uri="{FF2B5EF4-FFF2-40B4-BE49-F238E27FC236}">
                <a16:creationId xmlns:a16="http://schemas.microsoft.com/office/drawing/2014/main" id="{74ECFB5E-71A9-59FC-4A65-2BAFE50864EB}"/>
              </a:ext>
            </a:extLst>
          </p:cNvPr>
          <p:cNvSpPr/>
          <p:nvPr/>
        </p:nvSpPr>
        <p:spPr>
          <a:xfrm>
            <a:off x="6811980" y="2771911"/>
            <a:ext cx="5415868" cy="2292935"/>
          </a:xfrm>
          <a:prstGeom prst="rect">
            <a:avLst/>
          </a:prstGeom>
        </p:spPr>
        <p:txBody>
          <a:bodyPr wrap="square">
            <a:spAutoFit/>
          </a:bodyPr>
          <a:lstStyle/>
          <a:p>
            <a:pPr>
              <a:spcBef>
                <a:spcPts val="600"/>
              </a:spcBef>
              <a:spcAft>
                <a:spcPts val="600"/>
              </a:spcAft>
            </a:pPr>
            <a:r>
              <a:rPr lang="en-US" b="1" dirty="0"/>
              <a:t>New Energy Complex:</a:t>
            </a:r>
          </a:p>
          <a:p>
            <a:pPr marL="285750" indent="-285750">
              <a:spcBef>
                <a:spcPts val="400"/>
              </a:spcBef>
              <a:spcAft>
                <a:spcPts val="400"/>
              </a:spcAft>
              <a:buFont typeface="Arial" panose="020B0604020202020204" pitchFamily="34" charset="0"/>
              <a:buChar char="•"/>
            </a:pPr>
            <a:r>
              <a:rPr lang="en-US" dirty="0"/>
              <a:t>Package Boilers</a:t>
            </a:r>
          </a:p>
          <a:p>
            <a:pPr marL="285750" indent="-285750">
              <a:spcBef>
                <a:spcPts val="400"/>
              </a:spcBef>
              <a:spcAft>
                <a:spcPts val="400"/>
              </a:spcAft>
              <a:buFont typeface="Arial" panose="020B0604020202020204" pitchFamily="34" charset="0"/>
              <a:buChar char="•"/>
            </a:pPr>
            <a:r>
              <a:rPr lang="en-US" dirty="0"/>
              <a:t>Smaller Air Compressors </a:t>
            </a:r>
          </a:p>
          <a:p>
            <a:pPr marL="285750" indent="-285750">
              <a:spcBef>
                <a:spcPts val="400"/>
              </a:spcBef>
              <a:spcAft>
                <a:spcPts val="400"/>
              </a:spcAft>
              <a:buFont typeface="Arial" panose="020B0604020202020204" pitchFamily="34" charset="0"/>
              <a:buChar char="•"/>
            </a:pPr>
            <a:r>
              <a:rPr lang="en-US" dirty="0"/>
              <a:t>Electric Blowers</a:t>
            </a:r>
          </a:p>
          <a:p>
            <a:pPr marL="285750" indent="-285750">
              <a:spcBef>
                <a:spcPts val="400"/>
              </a:spcBef>
              <a:spcAft>
                <a:spcPts val="400"/>
              </a:spcAft>
              <a:buFont typeface="Arial" panose="020B0604020202020204" pitchFamily="34" charset="0"/>
              <a:buChar char="•"/>
            </a:pPr>
            <a:r>
              <a:rPr lang="en-US" dirty="0"/>
              <a:t>Heating from Veolia</a:t>
            </a:r>
          </a:p>
          <a:p>
            <a:pPr marL="285750" indent="-285750">
              <a:spcBef>
                <a:spcPts val="400"/>
              </a:spcBef>
              <a:spcAft>
                <a:spcPts val="400"/>
              </a:spcAft>
              <a:buFont typeface="Arial" panose="020B0604020202020204" pitchFamily="34" charset="0"/>
              <a:buChar char="•"/>
            </a:pPr>
            <a:r>
              <a:rPr lang="en-US" dirty="0"/>
              <a:t>All electricity from the national grid</a:t>
            </a:r>
          </a:p>
        </p:txBody>
      </p:sp>
      <p:sp>
        <p:nvSpPr>
          <p:cNvPr id="189" name="Freeform 20">
            <a:extLst>
              <a:ext uri="{FF2B5EF4-FFF2-40B4-BE49-F238E27FC236}">
                <a16:creationId xmlns:a16="http://schemas.microsoft.com/office/drawing/2014/main" id="{5172D763-E712-2702-491F-6C7767B0F4D6}"/>
              </a:ext>
            </a:extLst>
          </p:cNvPr>
          <p:cNvSpPr>
            <a:spLocks noEditPoints="1"/>
          </p:cNvSpPr>
          <p:nvPr/>
        </p:nvSpPr>
        <p:spPr bwMode="auto">
          <a:xfrm>
            <a:off x="5886158" y="1808480"/>
            <a:ext cx="589986" cy="755744"/>
          </a:xfrm>
          <a:custGeom>
            <a:avLst/>
            <a:gdLst>
              <a:gd name="T0" fmla="*/ 524 w 2544"/>
              <a:gd name="T1" fmla="*/ 1894 h 3098"/>
              <a:gd name="T2" fmla="*/ 1846 w 2544"/>
              <a:gd name="T3" fmla="*/ 423 h 3098"/>
              <a:gd name="T4" fmla="*/ 1745 w 2544"/>
              <a:gd name="T5" fmla="*/ 357 h 3098"/>
              <a:gd name="T6" fmla="*/ 1405 w 2544"/>
              <a:gd name="T7" fmla="*/ 228 h 3098"/>
              <a:gd name="T8" fmla="*/ 585 w 2544"/>
              <a:gd name="T9" fmla="*/ 261 h 3098"/>
              <a:gd name="T10" fmla="*/ 421 w 2544"/>
              <a:gd name="T11" fmla="*/ 501 h 3098"/>
              <a:gd name="T12" fmla="*/ 380 w 2544"/>
              <a:gd name="T13" fmla="*/ 599 h 3098"/>
              <a:gd name="T14" fmla="*/ 203 w 2544"/>
              <a:gd name="T15" fmla="*/ 948 h 3098"/>
              <a:gd name="T16" fmla="*/ 308 w 2544"/>
              <a:gd name="T17" fmla="*/ 1237 h 3098"/>
              <a:gd name="T18" fmla="*/ 334 w 2544"/>
              <a:gd name="T19" fmla="*/ 1415 h 3098"/>
              <a:gd name="T20" fmla="*/ 389 w 2544"/>
              <a:gd name="T21" fmla="*/ 1611 h 3098"/>
              <a:gd name="T22" fmla="*/ 229 w 2544"/>
              <a:gd name="T23" fmla="*/ 1707 h 3098"/>
              <a:gd name="T24" fmla="*/ 272 w 2544"/>
              <a:gd name="T25" fmla="*/ 1778 h 3098"/>
              <a:gd name="T26" fmla="*/ 737 w 2544"/>
              <a:gd name="T27" fmla="*/ 1781 h 3098"/>
              <a:gd name="T28" fmla="*/ 93 w 2544"/>
              <a:gd name="T29" fmla="*/ 1349 h 3098"/>
              <a:gd name="T30" fmla="*/ 1147 w 2544"/>
              <a:gd name="T31" fmla="*/ 979 h 3098"/>
              <a:gd name="T32" fmla="*/ 835 w 2544"/>
              <a:gd name="T33" fmla="*/ 1349 h 3098"/>
              <a:gd name="T34" fmla="*/ 481 w 2544"/>
              <a:gd name="T35" fmla="*/ 1485 h 3098"/>
              <a:gd name="T36" fmla="*/ 571 w 2544"/>
              <a:gd name="T37" fmla="*/ 1270 h 3098"/>
              <a:gd name="T38" fmla="*/ 1307 w 2544"/>
              <a:gd name="T39" fmla="*/ 1476 h 3098"/>
              <a:gd name="T40" fmla="*/ 1011 w 2544"/>
              <a:gd name="T41" fmla="*/ 1635 h 3098"/>
              <a:gd name="T42" fmla="*/ 695 w 2544"/>
              <a:gd name="T43" fmla="*/ 1652 h 3098"/>
              <a:gd name="T44" fmla="*/ 786 w 2544"/>
              <a:gd name="T45" fmla="*/ 1749 h 3098"/>
              <a:gd name="T46" fmla="*/ 848 w 2544"/>
              <a:gd name="T47" fmla="*/ 1758 h 3098"/>
              <a:gd name="T48" fmla="*/ 1625 w 2544"/>
              <a:gd name="T49" fmla="*/ 640 h 3098"/>
              <a:gd name="T50" fmla="*/ 1295 w 2544"/>
              <a:gd name="T51" fmla="*/ 663 h 3098"/>
              <a:gd name="T52" fmla="*/ 990 w 2544"/>
              <a:gd name="T53" fmla="*/ 803 h 3098"/>
              <a:gd name="T54" fmla="*/ 1352 w 2544"/>
              <a:gd name="T55" fmla="*/ 1240 h 3098"/>
              <a:gd name="T56" fmla="*/ 722 w 2544"/>
              <a:gd name="T57" fmla="*/ 1340 h 3098"/>
              <a:gd name="T58" fmla="*/ 489 w 2544"/>
              <a:gd name="T59" fmla="*/ 1261 h 3098"/>
              <a:gd name="T60" fmla="*/ 352 w 2544"/>
              <a:gd name="T61" fmla="*/ 1178 h 3098"/>
              <a:gd name="T62" fmla="*/ 767 w 2544"/>
              <a:gd name="T63" fmla="*/ 1244 h 3098"/>
              <a:gd name="T64" fmla="*/ 638 w 2544"/>
              <a:gd name="T65" fmla="*/ 1169 h 3098"/>
              <a:gd name="T66" fmla="*/ 870 w 2544"/>
              <a:gd name="T67" fmla="*/ 1061 h 3098"/>
              <a:gd name="T68" fmla="*/ 545 w 2544"/>
              <a:gd name="T69" fmla="*/ 1430 h 3098"/>
              <a:gd name="T70" fmla="*/ 845 w 2544"/>
              <a:gd name="T71" fmla="*/ 952 h 3098"/>
              <a:gd name="T72" fmla="*/ 863 w 2544"/>
              <a:gd name="T73" fmla="*/ 951 h 3098"/>
              <a:gd name="T74" fmla="*/ 863 w 2544"/>
              <a:gd name="T75" fmla="*/ 954 h 3098"/>
              <a:gd name="T76" fmla="*/ 483 w 2544"/>
              <a:gd name="T77" fmla="*/ 945 h 3098"/>
              <a:gd name="T78" fmla="*/ 865 w 2544"/>
              <a:gd name="T79" fmla="*/ 943 h 3098"/>
              <a:gd name="T80" fmla="*/ 866 w 2544"/>
              <a:gd name="T81" fmla="*/ 940 h 3098"/>
              <a:gd name="T82" fmla="*/ 867 w 2544"/>
              <a:gd name="T83" fmla="*/ 936 h 3098"/>
              <a:gd name="T84" fmla="*/ 868 w 2544"/>
              <a:gd name="T85" fmla="*/ 932 h 3098"/>
              <a:gd name="T86" fmla="*/ 846 w 2544"/>
              <a:gd name="T87" fmla="*/ 945 h 3098"/>
              <a:gd name="T88" fmla="*/ 827 w 2544"/>
              <a:gd name="T89" fmla="*/ 800 h 3098"/>
              <a:gd name="T90" fmla="*/ 547 w 2544"/>
              <a:gd name="T91" fmla="*/ 708 h 3098"/>
              <a:gd name="T92" fmla="*/ 1125 w 2544"/>
              <a:gd name="T93" fmla="*/ 664 h 3098"/>
              <a:gd name="T94" fmla="*/ 845 w 2544"/>
              <a:gd name="T95" fmla="*/ 940 h 3098"/>
              <a:gd name="T96" fmla="*/ 362 w 2544"/>
              <a:gd name="T97" fmla="*/ 843 h 3098"/>
              <a:gd name="T98" fmla="*/ 543 w 2544"/>
              <a:gd name="T99" fmla="*/ 716 h 3098"/>
              <a:gd name="T100" fmla="*/ 1408 w 2544"/>
              <a:gd name="T101" fmla="*/ 296 h 3098"/>
              <a:gd name="T102" fmla="*/ 842 w 2544"/>
              <a:gd name="T103" fmla="*/ 470 h 3098"/>
              <a:gd name="T104" fmla="*/ 990 w 2544"/>
              <a:gd name="T105" fmla="*/ 537 h 3098"/>
              <a:gd name="T106" fmla="*/ 1578 w 2544"/>
              <a:gd name="T107" fmla="*/ 561 h 3098"/>
              <a:gd name="T108" fmla="*/ 1020 w 2544"/>
              <a:gd name="T109" fmla="*/ 246 h 3098"/>
              <a:gd name="T110" fmla="*/ 840 w 2544"/>
              <a:gd name="T111" fmla="*/ 549 h 3098"/>
              <a:gd name="T112" fmla="*/ 710 w 2544"/>
              <a:gd name="T113" fmla="*/ 459 h 3098"/>
              <a:gd name="T114" fmla="*/ 785 w 2544"/>
              <a:gd name="T115" fmla="*/ 1644 h 3098"/>
              <a:gd name="T116" fmla="*/ 1126 w 2544"/>
              <a:gd name="T117" fmla="*/ 1222 h 3098"/>
              <a:gd name="T118" fmla="*/ 860 w 2544"/>
              <a:gd name="T119" fmla="*/ 966 h 3098"/>
              <a:gd name="T120" fmla="*/ 1019 w 2544"/>
              <a:gd name="T121" fmla="*/ 1650 h 3098"/>
              <a:gd name="T122" fmla="*/ 1014 w 2544"/>
              <a:gd name="T123" fmla="*/ 531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4" h="3098">
                <a:moveTo>
                  <a:pt x="2148" y="1044"/>
                </a:moveTo>
                <a:cubicBezTo>
                  <a:pt x="2190" y="965"/>
                  <a:pt x="2202" y="899"/>
                  <a:pt x="2201" y="845"/>
                </a:cubicBezTo>
                <a:cubicBezTo>
                  <a:pt x="2200" y="737"/>
                  <a:pt x="2139" y="593"/>
                  <a:pt x="2087" y="501"/>
                </a:cubicBezTo>
                <a:cubicBezTo>
                  <a:pt x="1854" y="93"/>
                  <a:pt x="1224" y="0"/>
                  <a:pt x="809" y="113"/>
                </a:cubicBezTo>
                <a:cubicBezTo>
                  <a:pt x="0" y="334"/>
                  <a:pt x="53" y="1213"/>
                  <a:pt x="117" y="1497"/>
                </a:cubicBezTo>
                <a:cubicBezTo>
                  <a:pt x="189" y="1862"/>
                  <a:pt x="420" y="2189"/>
                  <a:pt x="529" y="2269"/>
                </a:cubicBezTo>
                <a:cubicBezTo>
                  <a:pt x="484" y="2471"/>
                  <a:pt x="439" y="2672"/>
                  <a:pt x="393" y="2873"/>
                </a:cubicBezTo>
                <a:cubicBezTo>
                  <a:pt x="622" y="2956"/>
                  <a:pt x="925" y="3098"/>
                  <a:pt x="1497" y="2995"/>
                </a:cubicBezTo>
                <a:cubicBezTo>
                  <a:pt x="1542" y="2844"/>
                  <a:pt x="1586" y="2678"/>
                  <a:pt x="1789" y="2438"/>
                </a:cubicBezTo>
                <a:cubicBezTo>
                  <a:pt x="1964" y="2424"/>
                  <a:pt x="2139" y="2409"/>
                  <a:pt x="2313" y="2395"/>
                </a:cubicBezTo>
                <a:cubicBezTo>
                  <a:pt x="2519" y="2328"/>
                  <a:pt x="2416" y="2100"/>
                  <a:pt x="2421" y="2068"/>
                </a:cubicBezTo>
                <a:cubicBezTo>
                  <a:pt x="2544" y="1913"/>
                  <a:pt x="2413" y="1867"/>
                  <a:pt x="2410" y="1860"/>
                </a:cubicBezTo>
                <a:cubicBezTo>
                  <a:pt x="2459" y="1790"/>
                  <a:pt x="2517" y="1746"/>
                  <a:pt x="2377" y="1606"/>
                </a:cubicBezTo>
                <a:cubicBezTo>
                  <a:pt x="2406" y="1572"/>
                  <a:pt x="2457" y="1530"/>
                  <a:pt x="2481" y="1480"/>
                </a:cubicBezTo>
                <a:cubicBezTo>
                  <a:pt x="2502" y="1438"/>
                  <a:pt x="2502" y="1419"/>
                  <a:pt x="2471" y="1385"/>
                </a:cubicBezTo>
                <a:cubicBezTo>
                  <a:pt x="2409" y="1319"/>
                  <a:pt x="2246" y="1199"/>
                  <a:pt x="2168" y="1118"/>
                </a:cubicBezTo>
                <a:cubicBezTo>
                  <a:pt x="2136" y="1084"/>
                  <a:pt x="2129" y="1080"/>
                  <a:pt x="2148" y="1044"/>
                </a:cubicBezTo>
                <a:close/>
                <a:moveTo>
                  <a:pt x="298" y="1970"/>
                </a:moveTo>
                <a:lnTo>
                  <a:pt x="365" y="1905"/>
                </a:lnTo>
                <a:lnTo>
                  <a:pt x="365" y="1905"/>
                </a:lnTo>
                <a:lnTo>
                  <a:pt x="376" y="1894"/>
                </a:lnTo>
                <a:lnTo>
                  <a:pt x="524" y="1894"/>
                </a:lnTo>
                <a:cubicBezTo>
                  <a:pt x="526" y="1897"/>
                  <a:pt x="527" y="1900"/>
                  <a:pt x="529" y="1903"/>
                </a:cubicBezTo>
                <a:lnTo>
                  <a:pt x="379" y="1903"/>
                </a:lnTo>
                <a:lnTo>
                  <a:pt x="370" y="1912"/>
                </a:lnTo>
                <a:lnTo>
                  <a:pt x="370" y="1912"/>
                </a:lnTo>
                <a:lnTo>
                  <a:pt x="368" y="1909"/>
                </a:lnTo>
                <a:lnTo>
                  <a:pt x="370" y="1912"/>
                </a:lnTo>
                <a:lnTo>
                  <a:pt x="302" y="1978"/>
                </a:lnTo>
                <a:cubicBezTo>
                  <a:pt x="301" y="1975"/>
                  <a:pt x="299" y="1973"/>
                  <a:pt x="298" y="1970"/>
                </a:cubicBezTo>
                <a:close/>
                <a:moveTo>
                  <a:pt x="1939" y="322"/>
                </a:moveTo>
                <a:cubicBezTo>
                  <a:pt x="1936" y="319"/>
                  <a:pt x="1933" y="317"/>
                  <a:pt x="1930" y="314"/>
                </a:cubicBezTo>
                <a:lnTo>
                  <a:pt x="1930" y="391"/>
                </a:lnTo>
                <a:lnTo>
                  <a:pt x="1930" y="391"/>
                </a:lnTo>
                <a:lnTo>
                  <a:pt x="1930" y="444"/>
                </a:lnTo>
                <a:lnTo>
                  <a:pt x="1904" y="471"/>
                </a:lnTo>
                <a:lnTo>
                  <a:pt x="1906" y="473"/>
                </a:lnTo>
                <a:lnTo>
                  <a:pt x="1904" y="471"/>
                </a:lnTo>
                <a:lnTo>
                  <a:pt x="1832" y="547"/>
                </a:lnTo>
                <a:cubicBezTo>
                  <a:pt x="1819" y="529"/>
                  <a:pt x="1806" y="512"/>
                  <a:pt x="1793" y="495"/>
                </a:cubicBezTo>
                <a:lnTo>
                  <a:pt x="1846" y="443"/>
                </a:lnTo>
                <a:lnTo>
                  <a:pt x="1846" y="423"/>
                </a:lnTo>
                <a:lnTo>
                  <a:pt x="1843" y="420"/>
                </a:lnTo>
                <a:lnTo>
                  <a:pt x="1846" y="423"/>
                </a:lnTo>
                <a:lnTo>
                  <a:pt x="1846" y="423"/>
                </a:lnTo>
                <a:lnTo>
                  <a:pt x="1846" y="328"/>
                </a:lnTo>
                <a:cubicBezTo>
                  <a:pt x="1843" y="326"/>
                  <a:pt x="1841" y="324"/>
                  <a:pt x="1838" y="322"/>
                </a:cubicBezTo>
                <a:lnTo>
                  <a:pt x="1838" y="416"/>
                </a:lnTo>
                <a:lnTo>
                  <a:pt x="1839" y="417"/>
                </a:lnTo>
                <a:lnTo>
                  <a:pt x="1838" y="416"/>
                </a:lnTo>
                <a:lnTo>
                  <a:pt x="1838" y="439"/>
                </a:lnTo>
                <a:lnTo>
                  <a:pt x="1787" y="488"/>
                </a:lnTo>
                <a:cubicBezTo>
                  <a:pt x="1772" y="470"/>
                  <a:pt x="1756" y="453"/>
                  <a:pt x="1739" y="436"/>
                </a:cubicBezTo>
                <a:lnTo>
                  <a:pt x="1754" y="419"/>
                </a:lnTo>
                <a:lnTo>
                  <a:pt x="1754" y="362"/>
                </a:lnTo>
                <a:lnTo>
                  <a:pt x="1754" y="362"/>
                </a:lnTo>
                <a:lnTo>
                  <a:pt x="1754" y="274"/>
                </a:lnTo>
                <a:lnTo>
                  <a:pt x="1754" y="274"/>
                </a:lnTo>
                <a:lnTo>
                  <a:pt x="1754" y="274"/>
                </a:lnTo>
                <a:lnTo>
                  <a:pt x="1754" y="274"/>
                </a:lnTo>
                <a:lnTo>
                  <a:pt x="1754" y="199"/>
                </a:lnTo>
                <a:cubicBezTo>
                  <a:pt x="1751" y="198"/>
                  <a:pt x="1748" y="196"/>
                  <a:pt x="1745" y="195"/>
                </a:cubicBezTo>
                <a:lnTo>
                  <a:pt x="1745" y="270"/>
                </a:lnTo>
                <a:lnTo>
                  <a:pt x="1747" y="271"/>
                </a:lnTo>
                <a:lnTo>
                  <a:pt x="1745" y="270"/>
                </a:lnTo>
                <a:lnTo>
                  <a:pt x="1745" y="357"/>
                </a:lnTo>
                <a:lnTo>
                  <a:pt x="1745" y="357"/>
                </a:lnTo>
                <a:lnTo>
                  <a:pt x="1745" y="416"/>
                </a:lnTo>
                <a:lnTo>
                  <a:pt x="1733" y="430"/>
                </a:lnTo>
                <a:cubicBezTo>
                  <a:pt x="1717" y="414"/>
                  <a:pt x="1701" y="400"/>
                  <a:pt x="1685" y="386"/>
                </a:cubicBezTo>
                <a:lnTo>
                  <a:pt x="1688" y="382"/>
                </a:lnTo>
                <a:lnTo>
                  <a:pt x="1688" y="328"/>
                </a:lnTo>
                <a:lnTo>
                  <a:pt x="1688" y="328"/>
                </a:lnTo>
                <a:lnTo>
                  <a:pt x="1688" y="244"/>
                </a:lnTo>
                <a:lnTo>
                  <a:pt x="1688" y="244"/>
                </a:lnTo>
                <a:lnTo>
                  <a:pt x="1688" y="244"/>
                </a:lnTo>
                <a:lnTo>
                  <a:pt x="1688" y="169"/>
                </a:lnTo>
                <a:cubicBezTo>
                  <a:pt x="1685" y="168"/>
                  <a:pt x="1682" y="166"/>
                  <a:pt x="1679" y="165"/>
                </a:cubicBezTo>
                <a:lnTo>
                  <a:pt x="1679" y="241"/>
                </a:lnTo>
                <a:cubicBezTo>
                  <a:pt x="1682" y="242"/>
                  <a:pt x="1684" y="243"/>
                  <a:pt x="1686" y="243"/>
                </a:cubicBezTo>
                <a:cubicBezTo>
                  <a:pt x="1684" y="243"/>
                  <a:pt x="1682" y="242"/>
                  <a:pt x="1679" y="241"/>
                </a:cubicBezTo>
                <a:lnTo>
                  <a:pt x="1679" y="325"/>
                </a:lnTo>
                <a:lnTo>
                  <a:pt x="1679" y="325"/>
                </a:lnTo>
                <a:lnTo>
                  <a:pt x="1679" y="379"/>
                </a:lnTo>
                <a:lnTo>
                  <a:pt x="1678" y="380"/>
                </a:lnTo>
                <a:cubicBezTo>
                  <a:pt x="1600" y="315"/>
                  <a:pt x="1510" y="264"/>
                  <a:pt x="1411" y="230"/>
                </a:cubicBezTo>
                <a:lnTo>
                  <a:pt x="1411" y="230"/>
                </a:lnTo>
                <a:cubicBezTo>
                  <a:pt x="1409" y="229"/>
                  <a:pt x="1407" y="229"/>
                  <a:pt x="1405" y="228"/>
                </a:cubicBezTo>
                <a:lnTo>
                  <a:pt x="1403" y="227"/>
                </a:lnTo>
                <a:cubicBezTo>
                  <a:pt x="1319" y="200"/>
                  <a:pt x="1230" y="185"/>
                  <a:pt x="1137" y="185"/>
                </a:cubicBezTo>
                <a:cubicBezTo>
                  <a:pt x="1097" y="185"/>
                  <a:pt x="1058" y="187"/>
                  <a:pt x="1020" y="193"/>
                </a:cubicBezTo>
                <a:lnTo>
                  <a:pt x="1020" y="75"/>
                </a:lnTo>
                <a:cubicBezTo>
                  <a:pt x="1017" y="76"/>
                  <a:pt x="1014" y="76"/>
                  <a:pt x="1011" y="76"/>
                </a:cubicBezTo>
                <a:lnTo>
                  <a:pt x="1011" y="194"/>
                </a:lnTo>
                <a:cubicBezTo>
                  <a:pt x="916" y="208"/>
                  <a:pt x="826" y="238"/>
                  <a:pt x="743" y="281"/>
                </a:cubicBezTo>
                <a:lnTo>
                  <a:pt x="743" y="133"/>
                </a:lnTo>
                <a:cubicBezTo>
                  <a:pt x="740" y="134"/>
                  <a:pt x="737" y="135"/>
                  <a:pt x="735" y="136"/>
                </a:cubicBezTo>
                <a:lnTo>
                  <a:pt x="735" y="286"/>
                </a:lnTo>
                <a:cubicBezTo>
                  <a:pt x="715" y="296"/>
                  <a:pt x="696" y="308"/>
                  <a:pt x="677" y="320"/>
                </a:cubicBezTo>
                <a:lnTo>
                  <a:pt x="677" y="177"/>
                </a:lnTo>
                <a:lnTo>
                  <a:pt x="676" y="178"/>
                </a:lnTo>
                <a:lnTo>
                  <a:pt x="677" y="177"/>
                </a:lnTo>
                <a:lnTo>
                  <a:pt x="677" y="158"/>
                </a:lnTo>
                <a:cubicBezTo>
                  <a:pt x="675" y="159"/>
                  <a:pt x="672" y="160"/>
                  <a:pt x="669" y="161"/>
                </a:cubicBezTo>
                <a:lnTo>
                  <a:pt x="669" y="184"/>
                </a:lnTo>
                <a:lnTo>
                  <a:pt x="669" y="184"/>
                </a:lnTo>
                <a:lnTo>
                  <a:pt x="669" y="325"/>
                </a:lnTo>
                <a:cubicBezTo>
                  <a:pt x="640" y="345"/>
                  <a:pt x="612" y="366"/>
                  <a:pt x="585" y="388"/>
                </a:cubicBezTo>
                <a:lnTo>
                  <a:pt x="585" y="261"/>
                </a:lnTo>
                <a:lnTo>
                  <a:pt x="585" y="261"/>
                </a:lnTo>
                <a:lnTo>
                  <a:pt x="585" y="201"/>
                </a:lnTo>
                <a:cubicBezTo>
                  <a:pt x="582" y="203"/>
                  <a:pt x="579" y="204"/>
                  <a:pt x="576" y="206"/>
                </a:cubicBezTo>
                <a:lnTo>
                  <a:pt x="576" y="270"/>
                </a:lnTo>
                <a:lnTo>
                  <a:pt x="576" y="270"/>
                </a:lnTo>
                <a:cubicBezTo>
                  <a:pt x="579" y="268"/>
                  <a:pt x="582" y="265"/>
                  <a:pt x="584" y="262"/>
                </a:cubicBezTo>
                <a:lnTo>
                  <a:pt x="576" y="270"/>
                </a:lnTo>
                <a:lnTo>
                  <a:pt x="576" y="396"/>
                </a:lnTo>
                <a:cubicBezTo>
                  <a:pt x="563" y="408"/>
                  <a:pt x="550" y="420"/>
                  <a:pt x="537" y="433"/>
                </a:cubicBezTo>
                <a:cubicBezTo>
                  <a:pt x="528" y="442"/>
                  <a:pt x="519" y="451"/>
                  <a:pt x="511" y="460"/>
                </a:cubicBezTo>
                <a:lnTo>
                  <a:pt x="493" y="441"/>
                </a:lnTo>
                <a:lnTo>
                  <a:pt x="493" y="376"/>
                </a:lnTo>
                <a:lnTo>
                  <a:pt x="493" y="376"/>
                </a:lnTo>
                <a:lnTo>
                  <a:pt x="493" y="258"/>
                </a:lnTo>
                <a:cubicBezTo>
                  <a:pt x="490" y="260"/>
                  <a:pt x="487" y="262"/>
                  <a:pt x="484" y="264"/>
                </a:cubicBezTo>
                <a:lnTo>
                  <a:pt x="484" y="389"/>
                </a:lnTo>
                <a:lnTo>
                  <a:pt x="484" y="389"/>
                </a:lnTo>
                <a:cubicBezTo>
                  <a:pt x="487" y="385"/>
                  <a:pt x="489" y="381"/>
                  <a:pt x="491" y="378"/>
                </a:cubicBezTo>
                <a:lnTo>
                  <a:pt x="484" y="389"/>
                </a:lnTo>
                <a:lnTo>
                  <a:pt x="484" y="445"/>
                </a:lnTo>
                <a:lnTo>
                  <a:pt x="505" y="467"/>
                </a:lnTo>
                <a:cubicBezTo>
                  <a:pt x="486" y="488"/>
                  <a:pt x="468" y="510"/>
                  <a:pt x="452" y="532"/>
                </a:cubicBezTo>
                <a:lnTo>
                  <a:pt x="421" y="501"/>
                </a:lnTo>
                <a:lnTo>
                  <a:pt x="421" y="501"/>
                </a:lnTo>
                <a:lnTo>
                  <a:pt x="387" y="466"/>
                </a:lnTo>
                <a:lnTo>
                  <a:pt x="387" y="345"/>
                </a:lnTo>
                <a:cubicBezTo>
                  <a:pt x="384" y="348"/>
                  <a:pt x="382" y="351"/>
                  <a:pt x="379" y="353"/>
                </a:cubicBezTo>
                <a:lnTo>
                  <a:pt x="379" y="470"/>
                </a:lnTo>
                <a:lnTo>
                  <a:pt x="417" y="509"/>
                </a:lnTo>
                <a:lnTo>
                  <a:pt x="417" y="509"/>
                </a:lnTo>
                <a:lnTo>
                  <a:pt x="419" y="505"/>
                </a:lnTo>
                <a:cubicBezTo>
                  <a:pt x="418" y="506"/>
                  <a:pt x="418" y="508"/>
                  <a:pt x="417" y="509"/>
                </a:cubicBezTo>
                <a:lnTo>
                  <a:pt x="447" y="540"/>
                </a:lnTo>
                <a:cubicBezTo>
                  <a:pt x="430" y="562"/>
                  <a:pt x="415" y="586"/>
                  <a:pt x="401" y="610"/>
                </a:cubicBezTo>
                <a:lnTo>
                  <a:pt x="383" y="590"/>
                </a:lnTo>
                <a:lnTo>
                  <a:pt x="383" y="591"/>
                </a:lnTo>
                <a:lnTo>
                  <a:pt x="383" y="590"/>
                </a:lnTo>
                <a:lnTo>
                  <a:pt x="308" y="503"/>
                </a:lnTo>
                <a:lnTo>
                  <a:pt x="308" y="433"/>
                </a:lnTo>
                <a:cubicBezTo>
                  <a:pt x="305" y="436"/>
                  <a:pt x="302" y="440"/>
                  <a:pt x="300" y="444"/>
                </a:cubicBezTo>
                <a:lnTo>
                  <a:pt x="300" y="506"/>
                </a:lnTo>
                <a:lnTo>
                  <a:pt x="380" y="599"/>
                </a:lnTo>
                <a:lnTo>
                  <a:pt x="380" y="599"/>
                </a:lnTo>
                <a:lnTo>
                  <a:pt x="381" y="596"/>
                </a:lnTo>
                <a:lnTo>
                  <a:pt x="380" y="599"/>
                </a:lnTo>
                <a:lnTo>
                  <a:pt x="396" y="618"/>
                </a:lnTo>
                <a:cubicBezTo>
                  <a:pt x="382" y="643"/>
                  <a:pt x="370" y="669"/>
                  <a:pt x="358" y="696"/>
                </a:cubicBezTo>
                <a:lnTo>
                  <a:pt x="351" y="689"/>
                </a:lnTo>
                <a:cubicBezTo>
                  <a:pt x="350" y="692"/>
                  <a:pt x="350" y="694"/>
                  <a:pt x="349" y="697"/>
                </a:cubicBezTo>
                <a:cubicBezTo>
                  <a:pt x="350" y="694"/>
                  <a:pt x="350" y="692"/>
                  <a:pt x="351" y="689"/>
                </a:cubicBezTo>
                <a:lnTo>
                  <a:pt x="224" y="561"/>
                </a:lnTo>
                <a:cubicBezTo>
                  <a:pt x="223" y="564"/>
                  <a:pt x="221" y="566"/>
                  <a:pt x="220" y="569"/>
                </a:cubicBezTo>
                <a:lnTo>
                  <a:pt x="348" y="699"/>
                </a:lnTo>
                <a:lnTo>
                  <a:pt x="348" y="699"/>
                </a:lnTo>
                <a:lnTo>
                  <a:pt x="354" y="705"/>
                </a:lnTo>
                <a:cubicBezTo>
                  <a:pt x="350" y="714"/>
                  <a:pt x="346" y="724"/>
                  <a:pt x="343" y="733"/>
                </a:cubicBezTo>
                <a:cubicBezTo>
                  <a:pt x="342" y="736"/>
                  <a:pt x="341" y="739"/>
                  <a:pt x="339" y="742"/>
                </a:cubicBezTo>
                <a:cubicBezTo>
                  <a:pt x="318" y="801"/>
                  <a:pt x="303" y="862"/>
                  <a:pt x="295" y="926"/>
                </a:cubicBezTo>
                <a:lnTo>
                  <a:pt x="282" y="914"/>
                </a:lnTo>
                <a:lnTo>
                  <a:pt x="282" y="857"/>
                </a:lnTo>
                <a:lnTo>
                  <a:pt x="151" y="731"/>
                </a:lnTo>
                <a:cubicBezTo>
                  <a:pt x="150" y="734"/>
                  <a:pt x="149" y="737"/>
                  <a:pt x="148" y="740"/>
                </a:cubicBezTo>
                <a:lnTo>
                  <a:pt x="273" y="861"/>
                </a:lnTo>
                <a:lnTo>
                  <a:pt x="273" y="918"/>
                </a:lnTo>
                <a:lnTo>
                  <a:pt x="294" y="936"/>
                </a:lnTo>
                <a:cubicBezTo>
                  <a:pt x="291" y="966"/>
                  <a:pt x="289" y="997"/>
                  <a:pt x="289" y="1028"/>
                </a:cubicBezTo>
                <a:lnTo>
                  <a:pt x="203" y="948"/>
                </a:lnTo>
                <a:lnTo>
                  <a:pt x="203" y="886"/>
                </a:lnTo>
                <a:lnTo>
                  <a:pt x="127" y="812"/>
                </a:lnTo>
                <a:cubicBezTo>
                  <a:pt x="127" y="815"/>
                  <a:pt x="126" y="819"/>
                  <a:pt x="125" y="822"/>
                </a:cubicBezTo>
                <a:lnTo>
                  <a:pt x="194" y="889"/>
                </a:lnTo>
                <a:lnTo>
                  <a:pt x="194" y="951"/>
                </a:lnTo>
                <a:lnTo>
                  <a:pt x="289" y="1040"/>
                </a:lnTo>
                <a:cubicBezTo>
                  <a:pt x="289" y="1084"/>
                  <a:pt x="293" y="1127"/>
                  <a:pt x="299" y="1169"/>
                </a:cubicBezTo>
                <a:lnTo>
                  <a:pt x="274" y="1169"/>
                </a:lnTo>
                <a:lnTo>
                  <a:pt x="96" y="982"/>
                </a:lnTo>
                <a:cubicBezTo>
                  <a:pt x="95" y="986"/>
                  <a:pt x="95" y="990"/>
                  <a:pt x="94" y="994"/>
                </a:cubicBezTo>
                <a:lnTo>
                  <a:pt x="270" y="1178"/>
                </a:lnTo>
                <a:lnTo>
                  <a:pt x="301" y="1178"/>
                </a:lnTo>
                <a:cubicBezTo>
                  <a:pt x="304" y="1197"/>
                  <a:pt x="308" y="1216"/>
                  <a:pt x="313" y="1235"/>
                </a:cubicBezTo>
                <a:lnTo>
                  <a:pt x="307" y="1235"/>
                </a:lnTo>
                <a:lnTo>
                  <a:pt x="307" y="1235"/>
                </a:lnTo>
                <a:lnTo>
                  <a:pt x="274" y="1235"/>
                </a:lnTo>
                <a:lnTo>
                  <a:pt x="90" y="1039"/>
                </a:lnTo>
                <a:cubicBezTo>
                  <a:pt x="90" y="1043"/>
                  <a:pt x="89" y="1047"/>
                  <a:pt x="89" y="1050"/>
                </a:cubicBezTo>
                <a:lnTo>
                  <a:pt x="270" y="1244"/>
                </a:lnTo>
                <a:lnTo>
                  <a:pt x="308" y="1244"/>
                </a:lnTo>
                <a:lnTo>
                  <a:pt x="308" y="1244"/>
                </a:lnTo>
                <a:cubicBezTo>
                  <a:pt x="308" y="1242"/>
                  <a:pt x="308" y="1240"/>
                  <a:pt x="308" y="1237"/>
                </a:cubicBezTo>
                <a:lnTo>
                  <a:pt x="308" y="1244"/>
                </a:lnTo>
                <a:lnTo>
                  <a:pt x="315" y="1244"/>
                </a:lnTo>
                <a:cubicBezTo>
                  <a:pt x="323" y="1277"/>
                  <a:pt x="334" y="1309"/>
                  <a:pt x="346" y="1340"/>
                </a:cubicBezTo>
                <a:lnTo>
                  <a:pt x="321" y="1340"/>
                </a:lnTo>
                <a:lnTo>
                  <a:pt x="321" y="1340"/>
                </a:lnTo>
                <a:lnTo>
                  <a:pt x="92" y="1340"/>
                </a:lnTo>
                <a:cubicBezTo>
                  <a:pt x="93" y="1343"/>
                  <a:pt x="94" y="1346"/>
                  <a:pt x="94" y="1349"/>
                </a:cubicBezTo>
                <a:lnTo>
                  <a:pt x="322" y="1349"/>
                </a:lnTo>
                <a:lnTo>
                  <a:pt x="322" y="1349"/>
                </a:lnTo>
                <a:lnTo>
                  <a:pt x="322" y="1349"/>
                </a:lnTo>
                <a:lnTo>
                  <a:pt x="349" y="1349"/>
                </a:lnTo>
                <a:cubicBezTo>
                  <a:pt x="357" y="1368"/>
                  <a:pt x="366" y="1388"/>
                  <a:pt x="375" y="1406"/>
                </a:cubicBezTo>
                <a:lnTo>
                  <a:pt x="332" y="1406"/>
                </a:lnTo>
                <a:lnTo>
                  <a:pt x="332" y="1406"/>
                </a:lnTo>
                <a:lnTo>
                  <a:pt x="108" y="1406"/>
                </a:lnTo>
                <a:lnTo>
                  <a:pt x="108" y="1406"/>
                </a:lnTo>
                <a:lnTo>
                  <a:pt x="100" y="1406"/>
                </a:lnTo>
                <a:cubicBezTo>
                  <a:pt x="101" y="1409"/>
                  <a:pt x="101" y="1412"/>
                  <a:pt x="102" y="1415"/>
                </a:cubicBezTo>
                <a:lnTo>
                  <a:pt x="110" y="1415"/>
                </a:lnTo>
                <a:lnTo>
                  <a:pt x="110" y="1412"/>
                </a:lnTo>
                <a:cubicBezTo>
                  <a:pt x="110" y="1413"/>
                  <a:pt x="110" y="1414"/>
                  <a:pt x="110" y="1415"/>
                </a:cubicBezTo>
                <a:lnTo>
                  <a:pt x="334" y="1415"/>
                </a:lnTo>
                <a:lnTo>
                  <a:pt x="334" y="1415"/>
                </a:lnTo>
                <a:lnTo>
                  <a:pt x="334" y="1413"/>
                </a:lnTo>
                <a:lnTo>
                  <a:pt x="334" y="1415"/>
                </a:lnTo>
                <a:lnTo>
                  <a:pt x="379" y="1415"/>
                </a:lnTo>
                <a:cubicBezTo>
                  <a:pt x="392" y="1439"/>
                  <a:pt x="405" y="1463"/>
                  <a:pt x="419" y="1485"/>
                </a:cubicBezTo>
                <a:lnTo>
                  <a:pt x="351" y="1485"/>
                </a:lnTo>
                <a:lnTo>
                  <a:pt x="351" y="1485"/>
                </a:lnTo>
                <a:lnTo>
                  <a:pt x="167" y="1485"/>
                </a:lnTo>
                <a:lnTo>
                  <a:pt x="143" y="1517"/>
                </a:lnTo>
                <a:lnTo>
                  <a:pt x="143" y="1518"/>
                </a:lnTo>
                <a:lnTo>
                  <a:pt x="143" y="1517"/>
                </a:lnTo>
                <a:lnTo>
                  <a:pt x="126" y="1538"/>
                </a:lnTo>
                <a:cubicBezTo>
                  <a:pt x="126" y="1542"/>
                  <a:pt x="127" y="1546"/>
                  <a:pt x="128" y="1549"/>
                </a:cubicBezTo>
                <a:lnTo>
                  <a:pt x="146" y="1526"/>
                </a:lnTo>
                <a:lnTo>
                  <a:pt x="146" y="1526"/>
                </a:lnTo>
                <a:lnTo>
                  <a:pt x="171" y="1494"/>
                </a:lnTo>
                <a:lnTo>
                  <a:pt x="353" y="1494"/>
                </a:lnTo>
                <a:lnTo>
                  <a:pt x="353" y="1494"/>
                </a:lnTo>
                <a:lnTo>
                  <a:pt x="425" y="1494"/>
                </a:lnTo>
                <a:cubicBezTo>
                  <a:pt x="450" y="1533"/>
                  <a:pt x="479" y="1570"/>
                  <a:pt x="510" y="1604"/>
                </a:cubicBezTo>
                <a:lnTo>
                  <a:pt x="387" y="1604"/>
                </a:lnTo>
                <a:cubicBezTo>
                  <a:pt x="387" y="1606"/>
                  <a:pt x="388" y="1608"/>
                  <a:pt x="389" y="1611"/>
                </a:cubicBezTo>
                <a:lnTo>
                  <a:pt x="387" y="1604"/>
                </a:lnTo>
                <a:lnTo>
                  <a:pt x="195" y="1604"/>
                </a:lnTo>
                <a:lnTo>
                  <a:pt x="183" y="1615"/>
                </a:lnTo>
                <a:lnTo>
                  <a:pt x="183" y="1615"/>
                </a:lnTo>
                <a:lnTo>
                  <a:pt x="154" y="1641"/>
                </a:lnTo>
                <a:cubicBezTo>
                  <a:pt x="155" y="1644"/>
                  <a:pt x="156" y="1647"/>
                  <a:pt x="157" y="1650"/>
                </a:cubicBezTo>
                <a:lnTo>
                  <a:pt x="187" y="1623"/>
                </a:lnTo>
                <a:lnTo>
                  <a:pt x="187" y="1623"/>
                </a:lnTo>
                <a:lnTo>
                  <a:pt x="199" y="1613"/>
                </a:lnTo>
                <a:lnTo>
                  <a:pt x="390" y="1613"/>
                </a:lnTo>
                <a:lnTo>
                  <a:pt x="390" y="1613"/>
                </a:lnTo>
                <a:lnTo>
                  <a:pt x="514" y="1613"/>
                </a:lnTo>
                <a:lnTo>
                  <a:pt x="514" y="1613"/>
                </a:lnTo>
                <a:lnTo>
                  <a:pt x="516" y="1611"/>
                </a:lnTo>
                <a:cubicBezTo>
                  <a:pt x="523" y="1618"/>
                  <a:pt x="530" y="1625"/>
                  <a:pt x="537" y="1632"/>
                </a:cubicBezTo>
                <a:cubicBezTo>
                  <a:pt x="546" y="1642"/>
                  <a:pt x="556" y="1651"/>
                  <a:pt x="566" y="1660"/>
                </a:cubicBezTo>
                <a:lnTo>
                  <a:pt x="556" y="1670"/>
                </a:lnTo>
                <a:lnTo>
                  <a:pt x="411" y="1670"/>
                </a:lnTo>
                <a:lnTo>
                  <a:pt x="411" y="1670"/>
                </a:lnTo>
                <a:lnTo>
                  <a:pt x="266" y="1670"/>
                </a:lnTo>
                <a:lnTo>
                  <a:pt x="229" y="1707"/>
                </a:lnTo>
                <a:lnTo>
                  <a:pt x="229" y="1707"/>
                </a:lnTo>
                <a:lnTo>
                  <a:pt x="191" y="1746"/>
                </a:lnTo>
                <a:cubicBezTo>
                  <a:pt x="192" y="1749"/>
                  <a:pt x="193" y="1752"/>
                  <a:pt x="194" y="1755"/>
                </a:cubicBezTo>
                <a:lnTo>
                  <a:pt x="234" y="1715"/>
                </a:lnTo>
                <a:lnTo>
                  <a:pt x="232" y="1712"/>
                </a:lnTo>
                <a:lnTo>
                  <a:pt x="234" y="1715"/>
                </a:lnTo>
                <a:lnTo>
                  <a:pt x="234" y="1715"/>
                </a:lnTo>
                <a:lnTo>
                  <a:pt x="270" y="1679"/>
                </a:lnTo>
                <a:lnTo>
                  <a:pt x="415" y="1679"/>
                </a:lnTo>
                <a:lnTo>
                  <a:pt x="415" y="1679"/>
                </a:lnTo>
                <a:lnTo>
                  <a:pt x="560" y="1679"/>
                </a:lnTo>
                <a:lnTo>
                  <a:pt x="560" y="1679"/>
                </a:lnTo>
                <a:lnTo>
                  <a:pt x="572" y="1666"/>
                </a:lnTo>
                <a:cubicBezTo>
                  <a:pt x="588" y="1680"/>
                  <a:pt x="605" y="1694"/>
                  <a:pt x="622" y="1707"/>
                </a:cubicBezTo>
                <a:lnTo>
                  <a:pt x="590" y="1736"/>
                </a:lnTo>
                <a:lnTo>
                  <a:pt x="440" y="1736"/>
                </a:lnTo>
                <a:lnTo>
                  <a:pt x="440" y="1736"/>
                </a:lnTo>
                <a:lnTo>
                  <a:pt x="301" y="1736"/>
                </a:lnTo>
                <a:lnTo>
                  <a:pt x="267" y="1771"/>
                </a:lnTo>
                <a:lnTo>
                  <a:pt x="267" y="1771"/>
                </a:lnTo>
                <a:lnTo>
                  <a:pt x="221" y="1819"/>
                </a:lnTo>
                <a:cubicBezTo>
                  <a:pt x="222" y="1822"/>
                  <a:pt x="224" y="1824"/>
                  <a:pt x="225" y="1827"/>
                </a:cubicBezTo>
                <a:lnTo>
                  <a:pt x="272" y="1778"/>
                </a:lnTo>
                <a:lnTo>
                  <a:pt x="271" y="1776"/>
                </a:lnTo>
                <a:lnTo>
                  <a:pt x="272" y="1778"/>
                </a:lnTo>
                <a:lnTo>
                  <a:pt x="272" y="1778"/>
                </a:lnTo>
                <a:lnTo>
                  <a:pt x="304" y="1745"/>
                </a:lnTo>
                <a:lnTo>
                  <a:pt x="444" y="1745"/>
                </a:lnTo>
                <a:lnTo>
                  <a:pt x="441" y="1740"/>
                </a:lnTo>
                <a:cubicBezTo>
                  <a:pt x="442" y="1741"/>
                  <a:pt x="443" y="1743"/>
                  <a:pt x="444" y="1745"/>
                </a:cubicBezTo>
                <a:lnTo>
                  <a:pt x="593" y="1745"/>
                </a:lnTo>
                <a:lnTo>
                  <a:pt x="629" y="1712"/>
                </a:lnTo>
                <a:cubicBezTo>
                  <a:pt x="651" y="1728"/>
                  <a:pt x="673" y="1744"/>
                  <a:pt x="696" y="1758"/>
                </a:cubicBezTo>
                <a:lnTo>
                  <a:pt x="617" y="1841"/>
                </a:lnTo>
                <a:lnTo>
                  <a:pt x="493" y="1841"/>
                </a:lnTo>
                <a:cubicBezTo>
                  <a:pt x="495" y="1844"/>
                  <a:pt x="496" y="1847"/>
                  <a:pt x="498" y="1850"/>
                </a:cubicBezTo>
                <a:lnTo>
                  <a:pt x="620" y="1850"/>
                </a:lnTo>
                <a:lnTo>
                  <a:pt x="704" y="1762"/>
                </a:lnTo>
                <a:cubicBezTo>
                  <a:pt x="712" y="1767"/>
                  <a:pt x="720" y="1772"/>
                  <a:pt x="729" y="1777"/>
                </a:cubicBezTo>
                <a:lnTo>
                  <a:pt x="632" y="1894"/>
                </a:lnTo>
                <a:lnTo>
                  <a:pt x="524" y="1894"/>
                </a:lnTo>
                <a:cubicBezTo>
                  <a:pt x="526" y="1897"/>
                  <a:pt x="527" y="1900"/>
                  <a:pt x="529" y="1903"/>
                </a:cubicBezTo>
                <a:lnTo>
                  <a:pt x="636" y="1903"/>
                </a:lnTo>
                <a:lnTo>
                  <a:pt x="636" y="1903"/>
                </a:lnTo>
                <a:lnTo>
                  <a:pt x="737" y="1781"/>
                </a:lnTo>
                <a:cubicBezTo>
                  <a:pt x="856" y="1845"/>
                  <a:pt x="992" y="1881"/>
                  <a:pt x="1137" y="1881"/>
                </a:cubicBezTo>
                <a:cubicBezTo>
                  <a:pt x="1371" y="1881"/>
                  <a:pt x="1583" y="1786"/>
                  <a:pt x="1736" y="1632"/>
                </a:cubicBezTo>
                <a:cubicBezTo>
                  <a:pt x="1890" y="1479"/>
                  <a:pt x="1985" y="1267"/>
                  <a:pt x="1985" y="1033"/>
                </a:cubicBezTo>
                <a:cubicBezTo>
                  <a:pt x="1985" y="855"/>
                  <a:pt x="1930" y="690"/>
                  <a:pt x="1837" y="554"/>
                </a:cubicBezTo>
                <a:lnTo>
                  <a:pt x="1939" y="448"/>
                </a:lnTo>
                <a:lnTo>
                  <a:pt x="1939" y="442"/>
                </a:lnTo>
                <a:lnTo>
                  <a:pt x="1908" y="475"/>
                </a:lnTo>
                <a:cubicBezTo>
                  <a:pt x="1908" y="474"/>
                  <a:pt x="1908" y="474"/>
                  <a:pt x="1907" y="474"/>
                </a:cubicBezTo>
                <a:lnTo>
                  <a:pt x="1908" y="475"/>
                </a:lnTo>
                <a:lnTo>
                  <a:pt x="1908" y="475"/>
                </a:lnTo>
                <a:lnTo>
                  <a:pt x="1939" y="442"/>
                </a:lnTo>
                <a:lnTo>
                  <a:pt x="1939" y="398"/>
                </a:lnTo>
                <a:lnTo>
                  <a:pt x="1939" y="398"/>
                </a:lnTo>
                <a:lnTo>
                  <a:pt x="1939" y="322"/>
                </a:lnTo>
                <a:close/>
                <a:moveTo>
                  <a:pt x="1846" y="252"/>
                </a:moveTo>
                <a:cubicBezTo>
                  <a:pt x="1844" y="250"/>
                  <a:pt x="1841" y="248"/>
                  <a:pt x="1838" y="246"/>
                </a:cubicBezTo>
                <a:lnTo>
                  <a:pt x="1838" y="322"/>
                </a:lnTo>
                <a:cubicBezTo>
                  <a:pt x="1841" y="324"/>
                  <a:pt x="1844" y="326"/>
                  <a:pt x="1846" y="328"/>
                </a:cubicBezTo>
                <a:lnTo>
                  <a:pt x="1846" y="328"/>
                </a:lnTo>
                <a:lnTo>
                  <a:pt x="1846" y="252"/>
                </a:lnTo>
                <a:close/>
                <a:moveTo>
                  <a:pt x="92" y="1340"/>
                </a:moveTo>
                <a:cubicBezTo>
                  <a:pt x="93" y="1343"/>
                  <a:pt x="93" y="1346"/>
                  <a:pt x="93" y="1349"/>
                </a:cubicBezTo>
                <a:lnTo>
                  <a:pt x="94" y="1349"/>
                </a:lnTo>
                <a:cubicBezTo>
                  <a:pt x="94" y="1346"/>
                  <a:pt x="93" y="1343"/>
                  <a:pt x="92" y="1340"/>
                </a:cubicBezTo>
                <a:close/>
                <a:moveTo>
                  <a:pt x="270" y="1919"/>
                </a:moveTo>
                <a:cubicBezTo>
                  <a:pt x="271" y="1922"/>
                  <a:pt x="273" y="1924"/>
                  <a:pt x="274" y="1927"/>
                </a:cubicBezTo>
                <a:lnTo>
                  <a:pt x="336" y="1869"/>
                </a:lnTo>
                <a:lnTo>
                  <a:pt x="336" y="1869"/>
                </a:lnTo>
                <a:lnTo>
                  <a:pt x="336" y="1869"/>
                </a:lnTo>
                <a:lnTo>
                  <a:pt x="356" y="1850"/>
                </a:lnTo>
                <a:lnTo>
                  <a:pt x="498" y="1850"/>
                </a:lnTo>
                <a:cubicBezTo>
                  <a:pt x="496" y="1847"/>
                  <a:pt x="495" y="1844"/>
                  <a:pt x="493" y="1841"/>
                </a:cubicBezTo>
                <a:lnTo>
                  <a:pt x="353" y="1841"/>
                </a:lnTo>
                <a:lnTo>
                  <a:pt x="331" y="1862"/>
                </a:lnTo>
                <a:lnTo>
                  <a:pt x="332" y="1864"/>
                </a:lnTo>
                <a:lnTo>
                  <a:pt x="331" y="1862"/>
                </a:lnTo>
                <a:lnTo>
                  <a:pt x="270" y="1919"/>
                </a:lnTo>
                <a:close/>
                <a:moveTo>
                  <a:pt x="1051" y="947"/>
                </a:moveTo>
                <a:cubicBezTo>
                  <a:pt x="1067" y="931"/>
                  <a:pt x="1088" y="919"/>
                  <a:pt x="1111" y="914"/>
                </a:cubicBezTo>
                <a:lnTo>
                  <a:pt x="1131" y="934"/>
                </a:lnTo>
                <a:lnTo>
                  <a:pt x="1131" y="934"/>
                </a:lnTo>
                <a:lnTo>
                  <a:pt x="1131" y="934"/>
                </a:lnTo>
                <a:cubicBezTo>
                  <a:pt x="1125" y="939"/>
                  <a:pt x="1121" y="946"/>
                  <a:pt x="1121" y="954"/>
                </a:cubicBezTo>
                <a:cubicBezTo>
                  <a:pt x="1121" y="968"/>
                  <a:pt x="1133" y="979"/>
                  <a:pt x="1147" y="979"/>
                </a:cubicBezTo>
                <a:lnTo>
                  <a:pt x="1147" y="979"/>
                </a:lnTo>
                <a:cubicBezTo>
                  <a:pt x="1161" y="979"/>
                  <a:pt x="1172" y="968"/>
                  <a:pt x="1172" y="954"/>
                </a:cubicBezTo>
                <a:cubicBezTo>
                  <a:pt x="1172" y="940"/>
                  <a:pt x="1161" y="929"/>
                  <a:pt x="1147" y="929"/>
                </a:cubicBezTo>
                <a:cubicBezTo>
                  <a:pt x="1144" y="929"/>
                  <a:pt x="1142" y="929"/>
                  <a:pt x="1139" y="930"/>
                </a:cubicBezTo>
                <a:lnTo>
                  <a:pt x="1139" y="930"/>
                </a:lnTo>
                <a:cubicBezTo>
                  <a:pt x="1136" y="931"/>
                  <a:pt x="1134" y="932"/>
                  <a:pt x="1132" y="934"/>
                </a:cubicBezTo>
                <a:cubicBezTo>
                  <a:pt x="1134" y="932"/>
                  <a:pt x="1136" y="931"/>
                  <a:pt x="1139" y="930"/>
                </a:cubicBezTo>
                <a:lnTo>
                  <a:pt x="1121" y="912"/>
                </a:lnTo>
                <a:cubicBezTo>
                  <a:pt x="1126" y="912"/>
                  <a:pt x="1131" y="911"/>
                  <a:pt x="1137" y="911"/>
                </a:cubicBezTo>
                <a:cubicBezTo>
                  <a:pt x="1170" y="911"/>
                  <a:pt x="1200" y="925"/>
                  <a:pt x="1222" y="947"/>
                </a:cubicBezTo>
                <a:cubicBezTo>
                  <a:pt x="1244" y="969"/>
                  <a:pt x="1258" y="999"/>
                  <a:pt x="1258" y="1033"/>
                </a:cubicBezTo>
                <a:cubicBezTo>
                  <a:pt x="1258" y="1066"/>
                  <a:pt x="1244" y="1097"/>
                  <a:pt x="1222" y="1118"/>
                </a:cubicBezTo>
                <a:cubicBezTo>
                  <a:pt x="1200" y="1140"/>
                  <a:pt x="1170" y="1154"/>
                  <a:pt x="1137" y="1154"/>
                </a:cubicBezTo>
                <a:cubicBezTo>
                  <a:pt x="1103" y="1154"/>
                  <a:pt x="1073" y="1140"/>
                  <a:pt x="1051" y="1118"/>
                </a:cubicBezTo>
                <a:cubicBezTo>
                  <a:pt x="1045" y="1113"/>
                  <a:pt x="1040" y="1107"/>
                  <a:pt x="1036" y="1100"/>
                </a:cubicBezTo>
                <a:cubicBezTo>
                  <a:pt x="1039" y="1096"/>
                  <a:pt x="1040" y="1091"/>
                  <a:pt x="1040" y="1086"/>
                </a:cubicBezTo>
                <a:cubicBezTo>
                  <a:pt x="1040" y="1073"/>
                  <a:pt x="1031" y="1063"/>
                  <a:pt x="1019" y="1061"/>
                </a:cubicBezTo>
                <a:cubicBezTo>
                  <a:pt x="1017" y="1052"/>
                  <a:pt x="1015" y="1042"/>
                  <a:pt x="1015" y="1033"/>
                </a:cubicBezTo>
                <a:cubicBezTo>
                  <a:pt x="1015" y="999"/>
                  <a:pt x="1029" y="969"/>
                  <a:pt x="1051" y="947"/>
                </a:cubicBezTo>
                <a:close/>
                <a:moveTo>
                  <a:pt x="845" y="1349"/>
                </a:moveTo>
                <a:lnTo>
                  <a:pt x="845" y="1349"/>
                </a:lnTo>
                <a:lnTo>
                  <a:pt x="835" y="1349"/>
                </a:lnTo>
                <a:lnTo>
                  <a:pt x="832" y="1345"/>
                </a:lnTo>
                <a:cubicBezTo>
                  <a:pt x="833" y="1347"/>
                  <a:pt x="834" y="1348"/>
                  <a:pt x="834" y="1349"/>
                </a:cubicBezTo>
                <a:lnTo>
                  <a:pt x="834" y="1349"/>
                </a:lnTo>
                <a:lnTo>
                  <a:pt x="728" y="1349"/>
                </a:lnTo>
                <a:cubicBezTo>
                  <a:pt x="744" y="1370"/>
                  <a:pt x="762" y="1389"/>
                  <a:pt x="780" y="1406"/>
                </a:cubicBezTo>
                <a:lnTo>
                  <a:pt x="836" y="1406"/>
                </a:lnTo>
                <a:cubicBezTo>
                  <a:pt x="832" y="1403"/>
                  <a:pt x="829" y="1400"/>
                  <a:pt x="825" y="1397"/>
                </a:cubicBezTo>
                <a:lnTo>
                  <a:pt x="852" y="1367"/>
                </a:lnTo>
                <a:cubicBezTo>
                  <a:pt x="847" y="1362"/>
                  <a:pt x="845" y="1356"/>
                  <a:pt x="845" y="1350"/>
                </a:cubicBezTo>
                <a:cubicBezTo>
                  <a:pt x="845" y="1349"/>
                  <a:pt x="845" y="1349"/>
                  <a:pt x="845" y="1349"/>
                </a:cubicBezTo>
                <a:close/>
                <a:moveTo>
                  <a:pt x="666" y="1349"/>
                </a:moveTo>
                <a:lnTo>
                  <a:pt x="595" y="1349"/>
                </a:lnTo>
                <a:lnTo>
                  <a:pt x="595" y="1349"/>
                </a:lnTo>
                <a:lnTo>
                  <a:pt x="595" y="1349"/>
                </a:lnTo>
                <a:lnTo>
                  <a:pt x="513" y="1349"/>
                </a:lnTo>
                <a:cubicBezTo>
                  <a:pt x="512" y="1348"/>
                  <a:pt x="512" y="1346"/>
                  <a:pt x="511" y="1344"/>
                </a:cubicBezTo>
                <a:cubicBezTo>
                  <a:pt x="512" y="1346"/>
                  <a:pt x="512" y="1347"/>
                  <a:pt x="513" y="1349"/>
                </a:cubicBezTo>
                <a:lnTo>
                  <a:pt x="500" y="1349"/>
                </a:lnTo>
                <a:lnTo>
                  <a:pt x="444" y="1415"/>
                </a:lnTo>
                <a:lnTo>
                  <a:pt x="437" y="1415"/>
                </a:lnTo>
                <a:cubicBezTo>
                  <a:pt x="450" y="1439"/>
                  <a:pt x="465" y="1463"/>
                  <a:pt x="480" y="1485"/>
                </a:cubicBezTo>
                <a:lnTo>
                  <a:pt x="481" y="1485"/>
                </a:lnTo>
                <a:lnTo>
                  <a:pt x="541" y="1422"/>
                </a:lnTo>
                <a:lnTo>
                  <a:pt x="541" y="1422"/>
                </a:lnTo>
                <a:lnTo>
                  <a:pt x="541" y="1422"/>
                </a:lnTo>
                <a:lnTo>
                  <a:pt x="555" y="1406"/>
                </a:lnTo>
                <a:lnTo>
                  <a:pt x="619" y="1406"/>
                </a:lnTo>
                <a:lnTo>
                  <a:pt x="619" y="1406"/>
                </a:lnTo>
                <a:lnTo>
                  <a:pt x="710" y="1406"/>
                </a:lnTo>
                <a:cubicBezTo>
                  <a:pt x="694" y="1388"/>
                  <a:pt x="679" y="1369"/>
                  <a:pt x="666" y="1349"/>
                </a:cubicBezTo>
                <a:close/>
                <a:moveTo>
                  <a:pt x="432" y="1406"/>
                </a:moveTo>
                <a:lnTo>
                  <a:pt x="440" y="1406"/>
                </a:lnTo>
                <a:lnTo>
                  <a:pt x="496" y="1340"/>
                </a:lnTo>
                <a:lnTo>
                  <a:pt x="510" y="1340"/>
                </a:lnTo>
                <a:lnTo>
                  <a:pt x="510" y="1340"/>
                </a:lnTo>
                <a:lnTo>
                  <a:pt x="592" y="1340"/>
                </a:lnTo>
                <a:cubicBezTo>
                  <a:pt x="593" y="1343"/>
                  <a:pt x="594" y="1345"/>
                  <a:pt x="595" y="1348"/>
                </a:cubicBezTo>
                <a:lnTo>
                  <a:pt x="592" y="1340"/>
                </a:lnTo>
                <a:lnTo>
                  <a:pt x="660" y="1340"/>
                </a:lnTo>
                <a:cubicBezTo>
                  <a:pt x="655" y="1333"/>
                  <a:pt x="650" y="1325"/>
                  <a:pt x="645" y="1316"/>
                </a:cubicBezTo>
                <a:cubicBezTo>
                  <a:pt x="636" y="1301"/>
                  <a:pt x="628" y="1286"/>
                  <a:pt x="621" y="1270"/>
                </a:cubicBezTo>
                <a:lnTo>
                  <a:pt x="571" y="1270"/>
                </a:lnTo>
                <a:lnTo>
                  <a:pt x="570" y="1268"/>
                </a:lnTo>
                <a:lnTo>
                  <a:pt x="571" y="1270"/>
                </a:lnTo>
                <a:lnTo>
                  <a:pt x="571" y="1270"/>
                </a:lnTo>
                <a:lnTo>
                  <a:pt x="491" y="1270"/>
                </a:lnTo>
                <a:lnTo>
                  <a:pt x="491" y="1270"/>
                </a:lnTo>
                <a:lnTo>
                  <a:pt x="464" y="1270"/>
                </a:lnTo>
                <a:lnTo>
                  <a:pt x="410" y="1349"/>
                </a:lnTo>
                <a:lnTo>
                  <a:pt x="405" y="1349"/>
                </a:lnTo>
                <a:cubicBezTo>
                  <a:pt x="413" y="1369"/>
                  <a:pt x="422" y="1388"/>
                  <a:pt x="432" y="1406"/>
                </a:cubicBezTo>
                <a:close/>
                <a:moveTo>
                  <a:pt x="722" y="1340"/>
                </a:moveTo>
                <a:lnTo>
                  <a:pt x="830" y="1340"/>
                </a:lnTo>
                <a:lnTo>
                  <a:pt x="830" y="1340"/>
                </a:lnTo>
                <a:lnTo>
                  <a:pt x="846" y="1340"/>
                </a:lnTo>
                <a:lnTo>
                  <a:pt x="846" y="1340"/>
                </a:lnTo>
                <a:cubicBezTo>
                  <a:pt x="850" y="1331"/>
                  <a:pt x="859" y="1324"/>
                  <a:pt x="870" y="1324"/>
                </a:cubicBezTo>
                <a:cubicBezTo>
                  <a:pt x="884" y="1324"/>
                  <a:pt x="895" y="1336"/>
                  <a:pt x="895" y="1350"/>
                </a:cubicBezTo>
                <a:cubicBezTo>
                  <a:pt x="895" y="1361"/>
                  <a:pt x="887" y="1371"/>
                  <a:pt x="877" y="1374"/>
                </a:cubicBezTo>
                <a:cubicBezTo>
                  <a:pt x="892" y="1386"/>
                  <a:pt x="908" y="1397"/>
                  <a:pt x="924" y="1406"/>
                </a:cubicBezTo>
                <a:lnTo>
                  <a:pt x="981" y="1406"/>
                </a:lnTo>
                <a:lnTo>
                  <a:pt x="981" y="1406"/>
                </a:lnTo>
                <a:lnTo>
                  <a:pt x="1072" y="1406"/>
                </a:lnTo>
                <a:lnTo>
                  <a:pt x="1124" y="1461"/>
                </a:lnTo>
                <a:cubicBezTo>
                  <a:pt x="1179" y="1462"/>
                  <a:pt x="1235" y="1451"/>
                  <a:pt x="1287" y="1429"/>
                </a:cubicBezTo>
                <a:lnTo>
                  <a:pt x="1307" y="1476"/>
                </a:lnTo>
                <a:cubicBezTo>
                  <a:pt x="1262" y="1495"/>
                  <a:pt x="1214" y="1506"/>
                  <a:pt x="1167" y="1510"/>
                </a:cubicBezTo>
                <a:cubicBezTo>
                  <a:pt x="1162" y="1516"/>
                  <a:pt x="1155" y="1520"/>
                  <a:pt x="1147" y="1520"/>
                </a:cubicBezTo>
                <a:lnTo>
                  <a:pt x="1147" y="1520"/>
                </a:lnTo>
                <a:cubicBezTo>
                  <a:pt x="1140" y="1520"/>
                  <a:pt x="1133" y="1517"/>
                  <a:pt x="1128" y="1512"/>
                </a:cubicBezTo>
                <a:cubicBezTo>
                  <a:pt x="1104" y="1512"/>
                  <a:pt x="1079" y="1510"/>
                  <a:pt x="1055" y="1506"/>
                </a:cubicBezTo>
                <a:cubicBezTo>
                  <a:pt x="980" y="1494"/>
                  <a:pt x="908" y="1463"/>
                  <a:pt x="847" y="1415"/>
                </a:cubicBezTo>
                <a:lnTo>
                  <a:pt x="789" y="1415"/>
                </a:lnTo>
                <a:cubicBezTo>
                  <a:pt x="812" y="1436"/>
                  <a:pt x="837" y="1454"/>
                  <a:pt x="863" y="1470"/>
                </a:cubicBezTo>
                <a:cubicBezTo>
                  <a:pt x="865" y="1470"/>
                  <a:pt x="867" y="1469"/>
                  <a:pt x="870" y="1469"/>
                </a:cubicBezTo>
                <a:cubicBezTo>
                  <a:pt x="882" y="1469"/>
                  <a:pt x="892" y="1478"/>
                  <a:pt x="895" y="1489"/>
                </a:cubicBezTo>
                <a:cubicBezTo>
                  <a:pt x="899" y="1491"/>
                  <a:pt x="903" y="1493"/>
                  <a:pt x="907" y="1495"/>
                </a:cubicBezTo>
                <a:cubicBezTo>
                  <a:pt x="998" y="1540"/>
                  <a:pt x="1101" y="1558"/>
                  <a:pt x="1202" y="1546"/>
                </a:cubicBezTo>
                <a:lnTo>
                  <a:pt x="1208" y="1596"/>
                </a:lnTo>
                <a:cubicBezTo>
                  <a:pt x="1097" y="1610"/>
                  <a:pt x="984" y="1590"/>
                  <a:pt x="884" y="1540"/>
                </a:cubicBezTo>
                <a:cubicBezTo>
                  <a:pt x="858" y="1527"/>
                  <a:pt x="832" y="1512"/>
                  <a:pt x="807" y="1494"/>
                </a:cubicBezTo>
                <a:lnTo>
                  <a:pt x="606" y="1494"/>
                </a:lnTo>
                <a:lnTo>
                  <a:pt x="547" y="1570"/>
                </a:lnTo>
                <a:cubicBezTo>
                  <a:pt x="556" y="1579"/>
                  <a:pt x="564" y="1588"/>
                  <a:pt x="573" y="1597"/>
                </a:cubicBezTo>
                <a:cubicBezTo>
                  <a:pt x="582" y="1606"/>
                  <a:pt x="592" y="1615"/>
                  <a:pt x="602" y="1624"/>
                </a:cubicBezTo>
                <a:lnTo>
                  <a:pt x="634" y="1591"/>
                </a:lnTo>
                <a:lnTo>
                  <a:pt x="951" y="1591"/>
                </a:lnTo>
                <a:lnTo>
                  <a:pt x="1011" y="1635"/>
                </a:lnTo>
                <a:cubicBezTo>
                  <a:pt x="1015" y="1630"/>
                  <a:pt x="1021" y="1627"/>
                  <a:pt x="1028" y="1627"/>
                </a:cubicBezTo>
                <a:cubicBezTo>
                  <a:pt x="1042" y="1627"/>
                  <a:pt x="1053" y="1639"/>
                  <a:pt x="1053" y="1653"/>
                </a:cubicBezTo>
                <a:cubicBezTo>
                  <a:pt x="1053" y="1667"/>
                  <a:pt x="1042" y="1678"/>
                  <a:pt x="1028" y="1678"/>
                </a:cubicBezTo>
                <a:lnTo>
                  <a:pt x="1028" y="1678"/>
                </a:lnTo>
                <a:cubicBezTo>
                  <a:pt x="1014" y="1678"/>
                  <a:pt x="1003" y="1667"/>
                  <a:pt x="1003" y="1653"/>
                </a:cubicBezTo>
                <a:cubicBezTo>
                  <a:pt x="1003" y="1649"/>
                  <a:pt x="1004" y="1645"/>
                  <a:pt x="1005" y="1642"/>
                </a:cubicBezTo>
                <a:lnTo>
                  <a:pt x="1005" y="1642"/>
                </a:lnTo>
                <a:cubicBezTo>
                  <a:pt x="1006" y="1641"/>
                  <a:pt x="1006" y="1640"/>
                  <a:pt x="1007" y="1639"/>
                </a:cubicBezTo>
                <a:cubicBezTo>
                  <a:pt x="1006" y="1640"/>
                  <a:pt x="1006" y="1641"/>
                  <a:pt x="1005" y="1642"/>
                </a:cubicBezTo>
                <a:lnTo>
                  <a:pt x="948" y="1600"/>
                </a:lnTo>
                <a:lnTo>
                  <a:pt x="638" y="1600"/>
                </a:lnTo>
                <a:lnTo>
                  <a:pt x="608" y="1630"/>
                </a:lnTo>
                <a:cubicBezTo>
                  <a:pt x="625" y="1645"/>
                  <a:pt x="642" y="1659"/>
                  <a:pt x="660" y="1672"/>
                </a:cubicBezTo>
                <a:lnTo>
                  <a:pt x="692" y="1644"/>
                </a:lnTo>
                <a:lnTo>
                  <a:pt x="774" y="1644"/>
                </a:lnTo>
                <a:lnTo>
                  <a:pt x="774" y="1644"/>
                </a:lnTo>
                <a:lnTo>
                  <a:pt x="785" y="1644"/>
                </a:lnTo>
                <a:cubicBezTo>
                  <a:pt x="788" y="1647"/>
                  <a:pt x="791" y="1649"/>
                  <a:pt x="794" y="1652"/>
                </a:cubicBezTo>
                <a:lnTo>
                  <a:pt x="794" y="1652"/>
                </a:lnTo>
                <a:lnTo>
                  <a:pt x="765" y="1652"/>
                </a:lnTo>
                <a:lnTo>
                  <a:pt x="765" y="1652"/>
                </a:lnTo>
                <a:lnTo>
                  <a:pt x="695" y="1652"/>
                </a:lnTo>
                <a:lnTo>
                  <a:pt x="667" y="1677"/>
                </a:lnTo>
                <a:cubicBezTo>
                  <a:pt x="688" y="1693"/>
                  <a:pt x="710" y="1707"/>
                  <a:pt x="732" y="1720"/>
                </a:cubicBezTo>
                <a:lnTo>
                  <a:pt x="742" y="1710"/>
                </a:lnTo>
                <a:lnTo>
                  <a:pt x="742" y="1710"/>
                </a:lnTo>
                <a:lnTo>
                  <a:pt x="755" y="1696"/>
                </a:lnTo>
                <a:lnTo>
                  <a:pt x="843" y="1696"/>
                </a:lnTo>
                <a:lnTo>
                  <a:pt x="843" y="1696"/>
                </a:lnTo>
                <a:lnTo>
                  <a:pt x="936" y="1696"/>
                </a:lnTo>
                <a:lnTo>
                  <a:pt x="999" y="1752"/>
                </a:lnTo>
                <a:cubicBezTo>
                  <a:pt x="996" y="1754"/>
                  <a:pt x="995" y="1756"/>
                  <a:pt x="993" y="1759"/>
                </a:cubicBezTo>
                <a:lnTo>
                  <a:pt x="993" y="1759"/>
                </a:lnTo>
                <a:lnTo>
                  <a:pt x="933" y="1705"/>
                </a:lnTo>
                <a:lnTo>
                  <a:pt x="854" y="1705"/>
                </a:lnTo>
                <a:cubicBezTo>
                  <a:pt x="852" y="1704"/>
                  <a:pt x="850" y="1702"/>
                  <a:pt x="848" y="1700"/>
                </a:cubicBezTo>
                <a:cubicBezTo>
                  <a:pt x="850" y="1702"/>
                  <a:pt x="852" y="1704"/>
                  <a:pt x="854" y="1705"/>
                </a:cubicBezTo>
                <a:lnTo>
                  <a:pt x="759" y="1705"/>
                </a:lnTo>
                <a:lnTo>
                  <a:pt x="748" y="1716"/>
                </a:lnTo>
                <a:lnTo>
                  <a:pt x="748" y="1716"/>
                </a:lnTo>
                <a:lnTo>
                  <a:pt x="747" y="1715"/>
                </a:lnTo>
                <a:lnTo>
                  <a:pt x="748" y="1716"/>
                </a:lnTo>
                <a:lnTo>
                  <a:pt x="740" y="1724"/>
                </a:lnTo>
                <a:cubicBezTo>
                  <a:pt x="755" y="1733"/>
                  <a:pt x="770" y="1741"/>
                  <a:pt x="786" y="1749"/>
                </a:cubicBezTo>
                <a:lnTo>
                  <a:pt x="845" y="1749"/>
                </a:lnTo>
                <a:cubicBezTo>
                  <a:pt x="845" y="1748"/>
                  <a:pt x="845" y="1746"/>
                  <a:pt x="845" y="1745"/>
                </a:cubicBezTo>
                <a:cubicBezTo>
                  <a:pt x="845" y="1731"/>
                  <a:pt x="856" y="1720"/>
                  <a:pt x="870" y="1720"/>
                </a:cubicBezTo>
                <a:cubicBezTo>
                  <a:pt x="871" y="1720"/>
                  <a:pt x="873" y="1720"/>
                  <a:pt x="874" y="1720"/>
                </a:cubicBezTo>
                <a:cubicBezTo>
                  <a:pt x="876" y="1721"/>
                  <a:pt x="877" y="1723"/>
                  <a:pt x="879" y="1724"/>
                </a:cubicBezTo>
                <a:cubicBezTo>
                  <a:pt x="877" y="1723"/>
                  <a:pt x="876" y="1721"/>
                  <a:pt x="874" y="1720"/>
                </a:cubicBezTo>
                <a:cubicBezTo>
                  <a:pt x="882" y="1721"/>
                  <a:pt x="889" y="1726"/>
                  <a:pt x="892" y="1733"/>
                </a:cubicBezTo>
                <a:lnTo>
                  <a:pt x="892" y="1733"/>
                </a:lnTo>
                <a:lnTo>
                  <a:pt x="890" y="1732"/>
                </a:lnTo>
                <a:lnTo>
                  <a:pt x="892" y="1733"/>
                </a:lnTo>
                <a:cubicBezTo>
                  <a:pt x="894" y="1737"/>
                  <a:pt x="895" y="1741"/>
                  <a:pt x="895" y="1745"/>
                </a:cubicBezTo>
                <a:cubicBezTo>
                  <a:pt x="895" y="1759"/>
                  <a:pt x="884" y="1770"/>
                  <a:pt x="870" y="1770"/>
                </a:cubicBezTo>
                <a:lnTo>
                  <a:pt x="870" y="1770"/>
                </a:lnTo>
                <a:cubicBezTo>
                  <a:pt x="861" y="1770"/>
                  <a:pt x="852" y="1765"/>
                  <a:pt x="848" y="1758"/>
                </a:cubicBezTo>
                <a:lnTo>
                  <a:pt x="877" y="1758"/>
                </a:lnTo>
                <a:lnTo>
                  <a:pt x="877" y="1749"/>
                </a:lnTo>
                <a:lnTo>
                  <a:pt x="877" y="1749"/>
                </a:lnTo>
                <a:lnTo>
                  <a:pt x="877" y="1758"/>
                </a:lnTo>
                <a:lnTo>
                  <a:pt x="877" y="1758"/>
                </a:lnTo>
                <a:lnTo>
                  <a:pt x="848" y="1758"/>
                </a:lnTo>
                <a:lnTo>
                  <a:pt x="848" y="1758"/>
                </a:lnTo>
                <a:lnTo>
                  <a:pt x="848" y="1758"/>
                </a:lnTo>
                <a:lnTo>
                  <a:pt x="804" y="1758"/>
                </a:lnTo>
                <a:cubicBezTo>
                  <a:pt x="906" y="1804"/>
                  <a:pt x="1018" y="1830"/>
                  <a:pt x="1137" y="1830"/>
                </a:cubicBezTo>
                <a:cubicBezTo>
                  <a:pt x="1357" y="1830"/>
                  <a:pt x="1556" y="1741"/>
                  <a:pt x="1700" y="1597"/>
                </a:cubicBezTo>
                <a:cubicBezTo>
                  <a:pt x="1845" y="1452"/>
                  <a:pt x="1934" y="1253"/>
                  <a:pt x="1934" y="1033"/>
                </a:cubicBezTo>
                <a:cubicBezTo>
                  <a:pt x="1934" y="869"/>
                  <a:pt x="1885" y="718"/>
                  <a:pt x="1801" y="591"/>
                </a:cubicBezTo>
                <a:lnTo>
                  <a:pt x="1716" y="679"/>
                </a:lnTo>
                <a:lnTo>
                  <a:pt x="1578" y="679"/>
                </a:lnTo>
                <a:lnTo>
                  <a:pt x="1578" y="680"/>
                </a:lnTo>
                <a:cubicBezTo>
                  <a:pt x="1578" y="694"/>
                  <a:pt x="1567" y="705"/>
                  <a:pt x="1553" y="705"/>
                </a:cubicBezTo>
                <a:lnTo>
                  <a:pt x="1553" y="705"/>
                </a:lnTo>
                <a:cubicBezTo>
                  <a:pt x="1539" y="705"/>
                  <a:pt x="1528" y="694"/>
                  <a:pt x="1528" y="680"/>
                </a:cubicBezTo>
                <a:cubicBezTo>
                  <a:pt x="1528" y="666"/>
                  <a:pt x="1539" y="655"/>
                  <a:pt x="1553" y="655"/>
                </a:cubicBezTo>
                <a:cubicBezTo>
                  <a:pt x="1564" y="655"/>
                  <a:pt x="1573" y="661"/>
                  <a:pt x="1576" y="671"/>
                </a:cubicBezTo>
                <a:lnTo>
                  <a:pt x="1712" y="671"/>
                </a:lnTo>
                <a:lnTo>
                  <a:pt x="1796" y="584"/>
                </a:lnTo>
                <a:cubicBezTo>
                  <a:pt x="1783" y="566"/>
                  <a:pt x="1770" y="548"/>
                  <a:pt x="1756" y="531"/>
                </a:cubicBezTo>
                <a:lnTo>
                  <a:pt x="1699" y="586"/>
                </a:lnTo>
                <a:lnTo>
                  <a:pt x="1698" y="585"/>
                </a:lnTo>
                <a:lnTo>
                  <a:pt x="1699" y="586"/>
                </a:lnTo>
                <a:lnTo>
                  <a:pt x="1644" y="640"/>
                </a:lnTo>
                <a:lnTo>
                  <a:pt x="1644" y="640"/>
                </a:lnTo>
                <a:lnTo>
                  <a:pt x="1625" y="640"/>
                </a:lnTo>
                <a:cubicBezTo>
                  <a:pt x="1622" y="638"/>
                  <a:pt x="1619" y="636"/>
                  <a:pt x="1616" y="634"/>
                </a:cubicBezTo>
                <a:cubicBezTo>
                  <a:pt x="1619" y="636"/>
                  <a:pt x="1622" y="638"/>
                  <a:pt x="1625" y="640"/>
                </a:cubicBezTo>
                <a:lnTo>
                  <a:pt x="1400" y="640"/>
                </a:lnTo>
                <a:cubicBezTo>
                  <a:pt x="1427" y="657"/>
                  <a:pt x="1451" y="677"/>
                  <a:pt x="1473" y="699"/>
                </a:cubicBezTo>
                <a:cubicBezTo>
                  <a:pt x="1556" y="782"/>
                  <a:pt x="1607" y="897"/>
                  <a:pt x="1607" y="1023"/>
                </a:cubicBezTo>
                <a:cubicBezTo>
                  <a:pt x="1607" y="1067"/>
                  <a:pt x="1601" y="1111"/>
                  <a:pt x="1589" y="1152"/>
                </a:cubicBezTo>
                <a:cubicBezTo>
                  <a:pt x="1576" y="1194"/>
                  <a:pt x="1558" y="1234"/>
                  <a:pt x="1535" y="1270"/>
                </a:cubicBezTo>
                <a:lnTo>
                  <a:pt x="1492" y="1243"/>
                </a:lnTo>
                <a:cubicBezTo>
                  <a:pt x="1513" y="1210"/>
                  <a:pt x="1529" y="1175"/>
                  <a:pt x="1540" y="1138"/>
                </a:cubicBezTo>
                <a:cubicBezTo>
                  <a:pt x="1551" y="1101"/>
                  <a:pt x="1556" y="1063"/>
                  <a:pt x="1556" y="1023"/>
                </a:cubicBezTo>
                <a:cubicBezTo>
                  <a:pt x="1556" y="911"/>
                  <a:pt x="1511" y="809"/>
                  <a:pt x="1437" y="735"/>
                </a:cubicBezTo>
                <a:cubicBezTo>
                  <a:pt x="1404" y="702"/>
                  <a:pt x="1365" y="674"/>
                  <a:pt x="1321" y="654"/>
                </a:cubicBezTo>
                <a:lnTo>
                  <a:pt x="1300" y="671"/>
                </a:lnTo>
                <a:cubicBezTo>
                  <a:pt x="1299" y="668"/>
                  <a:pt x="1298" y="666"/>
                  <a:pt x="1296" y="664"/>
                </a:cubicBezTo>
                <a:cubicBezTo>
                  <a:pt x="1298" y="666"/>
                  <a:pt x="1299" y="668"/>
                  <a:pt x="1300" y="671"/>
                </a:cubicBezTo>
                <a:cubicBezTo>
                  <a:pt x="1301" y="674"/>
                  <a:pt x="1301" y="677"/>
                  <a:pt x="1301" y="680"/>
                </a:cubicBezTo>
                <a:cubicBezTo>
                  <a:pt x="1301" y="694"/>
                  <a:pt x="1290" y="705"/>
                  <a:pt x="1276" y="705"/>
                </a:cubicBezTo>
                <a:lnTo>
                  <a:pt x="1276" y="705"/>
                </a:lnTo>
                <a:cubicBezTo>
                  <a:pt x="1262" y="705"/>
                  <a:pt x="1251" y="694"/>
                  <a:pt x="1251" y="680"/>
                </a:cubicBezTo>
                <a:cubicBezTo>
                  <a:pt x="1251" y="666"/>
                  <a:pt x="1262" y="655"/>
                  <a:pt x="1276" y="655"/>
                </a:cubicBezTo>
                <a:cubicBezTo>
                  <a:pt x="1284" y="655"/>
                  <a:pt x="1290" y="658"/>
                  <a:pt x="1295" y="663"/>
                </a:cubicBezTo>
                <a:lnTo>
                  <a:pt x="1295" y="663"/>
                </a:lnTo>
                <a:lnTo>
                  <a:pt x="1312" y="650"/>
                </a:lnTo>
                <a:cubicBezTo>
                  <a:pt x="1263" y="628"/>
                  <a:pt x="1207" y="616"/>
                  <a:pt x="1150" y="616"/>
                </a:cubicBezTo>
                <a:cubicBezTo>
                  <a:pt x="1126" y="616"/>
                  <a:pt x="1103" y="618"/>
                  <a:pt x="1081" y="622"/>
                </a:cubicBezTo>
                <a:cubicBezTo>
                  <a:pt x="1070" y="624"/>
                  <a:pt x="1060" y="626"/>
                  <a:pt x="1050" y="628"/>
                </a:cubicBezTo>
                <a:lnTo>
                  <a:pt x="1086" y="628"/>
                </a:lnTo>
                <a:lnTo>
                  <a:pt x="1128" y="661"/>
                </a:lnTo>
                <a:cubicBezTo>
                  <a:pt x="1132" y="655"/>
                  <a:pt x="1139" y="652"/>
                  <a:pt x="1147" y="652"/>
                </a:cubicBezTo>
                <a:cubicBezTo>
                  <a:pt x="1159" y="652"/>
                  <a:pt x="1169" y="660"/>
                  <a:pt x="1171" y="672"/>
                </a:cubicBezTo>
                <a:cubicBezTo>
                  <a:pt x="1175" y="672"/>
                  <a:pt x="1178" y="672"/>
                  <a:pt x="1182" y="673"/>
                </a:cubicBezTo>
                <a:cubicBezTo>
                  <a:pt x="1197" y="675"/>
                  <a:pt x="1212" y="677"/>
                  <a:pt x="1226" y="681"/>
                </a:cubicBezTo>
                <a:lnTo>
                  <a:pt x="1214" y="730"/>
                </a:lnTo>
                <a:cubicBezTo>
                  <a:pt x="1201" y="727"/>
                  <a:pt x="1188" y="725"/>
                  <a:pt x="1176" y="723"/>
                </a:cubicBezTo>
                <a:cubicBezTo>
                  <a:pt x="1164" y="721"/>
                  <a:pt x="1151" y="721"/>
                  <a:pt x="1137" y="721"/>
                </a:cubicBezTo>
                <a:cubicBezTo>
                  <a:pt x="1076" y="721"/>
                  <a:pt x="1019" y="739"/>
                  <a:pt x="972" y="769"/>
                </a:cubicBezTo>
                <a:lnTo>
                  <a:pt x="994" y="794"/>
                </a:lnTo>
                <a:cubicBezTo>
                  <a:pt x="999" y="788"/>
                  <a:pt x="1006" y="784"/>
                  <a:pt x="1015" y="784"/>
                </a:cubicBezTo>
                <a:cubicBezTo>
                  <a:pt x="1029" y="784"/>
                  <a:pt x="1040" y="795"/>
                  <a:pt x="1040" y="809"/>
                </a:cubicBezTo>
                <a:cubicBezTo>
                  <a:pt x="1040" y="823"/>
                  <a:pt x="1029" y="834"/>
                  <a:pt x="1015" y="834"/>
                </a:cubicBezTo>
                <a:lnTo>
                  <a:pt x="1015" y="834"/>
                </a:lnTo>
                <a:cubicBezTo>
                  <a:pt x="1001" y="834"/>
                  <a:pt x="990" y="823"/>
                  <a:pt x="990" y="809"/>
                </a:cubicBezTo>
                <a:cubicBezTo>
                  <a:pt x="990" y="807"/>
                  <a:pt x="990" y="805"/>
                  <a:pt x="990" y="803"/>
                </a:cubicBezTo>
                <a:lnTo>
                  <a:pt x="990" y="803"/>
                </a:lnTo>
                <a:cubicBezTo>
                  <a:pt x="991" y="802"/>
                  <a:pt x="991" y="802"/>
                  <a:pt x="991" y="801"/>
                </a:cubicBezTo>
                <a:cubicBezTo>
                  <a:pt x="991" y="802"/>
                  <a:pt x="991" y="802"/>
                  <a:pt x="990" y="803"/>
                </a:cubicBezTo>
                <a:lnTo>
                  <a:pt x="964" y="774"/>
                </a:lnTo>
                <a:cubicBezTo>
                  <a:pt x="961" y="777"/>
                  <a:pt x="958" y="779"/>
                  <a:pt x="954" y="781"/>
                </a:cubicBezTo>
                <a:cubicBezTo>
                  <a:pt x="920" y="807"/>
                  <a:pt x="891" y="841"/>
                  <a:pt x="870" y="879"/>
                </a:cubicBezTo>
                <a:lnTo>
                  <a:pt x="886" y="879"/>
                </a:lnTo>
                <a:lnTo>
                  <a:pt x="886" y="879"/>
                </a:lnTo>
                <a:lnTo>
                  <a:pt x="1059" y="879"/>
                </a:lnTo>
                <a:cubicBezTo>
                  <a:pt x="1083" y="867"/>
                  <a:pt x="1109" y="861"/>
                  <a:pt x="1137" y="861"/>
                </a:cubicBezTo>
                <a:cubicBezTo>
                  <a:pt x="1184" y="861"/>
                  <a:pt x="1227" y="880"/>
                  <a:pt x="1258" y="911"/>
                </a:cubicBezTo>
                <a:cubicBezTo>
                  <a:pt x="1289" y="942"/>
                  <a:pt x="1309" y="985"/>
                  <a:pt x="1309" y="1033"/>
                </a:cubicBezTo>
                <a:cubicBezTo>
                  <a:pt x="1309" y="1080"/>
                  <a:pt x="1289" y="1123"/>
                  <a:pt x="1258" y="1154"/>
                </a:cubicBezTo>
                <a:cubicBezTo>
                  <a:pt x="1227" y="1185"/>
                  <a:pt x="1184" y="1205"/>
                  <a:pt x="1137" y="1205"/>
                </a:cubicBezTo>
                <a:cubicBezTo>
                  <a:pt x="1132" y="1205"/>
                  <a:pt x="1127" y="1205"/>
                  <a:pt x="1122" y="1204"/>
                </a:cubicBezTo>
                <a:lnTo>
                  <a:pt x="1129" y="1212"/>
                </a:lnTo>
                <a:cubicBezTo>
                  <a:pt x="1127" y="1215"/>
                  <a:pt x="1126" y="1217"/>
                  <a:pt x="1124" y="1220"/>
                </a:cubicBezTo>
                <a:lnTo>
                  <a:pt x="1108" y="1202"/>
                </a:lnTo>
                <a:cubicBezTo>
                  <a:pt x="1085" y="1199"/>
                  <a:pt x="1063" y="1190"/>
                  <a:pt x="1044" y="1178"/>
                </a:cubicBezTo>
                <a:lnTo>
                  <a:pt x="874" y="1178"/>
                </a:lnTo>
                <a:cubicBezTo>
                  <a:pt x="892" y="1209"/>
                  <a:pt x="915" y="1236"/>
                  <a:pt x="943" y="1259"/>
                </a:cubicBezTo>
                <a:cubicBezTo>
                  <a:pt x="995" y="1303"/>
                  <a:pt x="1063" y="1329"/>
                  <a:pt x="1137" y="1329"/>
                </a:cubicBezTo>
                <a:cubicBezTo>
                  <a:pt x="1221" y="1329"/>
                  <a:pt x="1297" y="1295"/>
                  <a:pt x="1352" y="1240"/>
                </a:cubicBezTo>
                <a:cubicBezTo>
                  <a:pt x="1407" y="1185"/>
                  <a:pt x="1441" y="1109"/>
                  <a:pt x="1441" y="1025"/>
                </a:cubicBezTo>
                <a:cubicBezTo>
                  <a:pt x="1441" y="1005"/>
                  <a:pt x="1439" y="986"/>
                  <a:pt x="1436" y="968"/>
                </a:cubicBezTo>
                <a:cubicBezTo>
                  <a:pt x="1432" y="949"/>
                  <a:pt x="1427" y="931"/>
                  <a:pt x="1420" y="913"/>
                </a:cubicBezTo>
                <a:lnTo>
                  <a:pt x="1467" y="895"/>
                </a:lnTo>
                <a:cubicBezTo>
                  <a:pt x="1475" y="915"/>
                  <a:pt x="1482" y="936"/>
                  <a:pt x="1486" y="958"/>
                </a:cubicBezTo>
                <a:cubicBezTo>
                  <a:pt x="1490" y="980"/>
                  <a:pt x="1492" y="1002"/>
                  <a:pt x="1492" y="1025"/>
                </a:cubicBezTo>
                <a:cubicBezTo>
                  <a:pt x="1492" y="1123"/>
                  <a:pt x="1452" y="1212"/>
                  <a:pt x="1388" y="1276"/>
                </a:cubicBezTo>
                <a:cubicBezTo>
                  <a:pt x="1324" y="1340"/>
                  <a:pt x="1235" y="1380"/>
                  <a:pt x="1137" y="1380"/>
                </a:cubicBezTo>
                <a:cubicBezTo>
                  <a:pt x="1105" y="1380"/>
                  <a:pt x="1075" y="1376"/>
                  <a:pt x="1046" y="1368"/>
                </a:cubicBezTo>
                <a:cubicBezTo>
                  <a:pt x="1041" y="1372"/>
                  <a:pt x="1035" y="1375"/>
                  <a:pt x="1028" y="1375"/>
                </a:cubicBezTo>
                <a:lnTo>
                  <a:pt x="1028" y="1375"/>
                </a:lnTo>
                <a:cubicBezTo>
                  <a:pt x="1016" y="1375"/>
                  <a:pt x="1005" y="1366"/>
                  <a:pt x="1003" y="1354"/>
                </a:cubicBezTo>
                <a:cubicBezTo>
                  <a:pt x="969" y="1340"/>
                  <a:pt x="938" y="1321"/>
                  <a:pt x="910" y="1298"/>
                </a:cubicBezTo>
                <a:cubicBezTo>
                  <a:pt x="900" y="1289"/>
                  <a:pt x="890" y="1280"/>
                  <a:pt x="880" y="1270"/>
                </a:cubicBezTo>
                <a:lnTo>
                  <a:pt x="799" y="1270"/>
                </a:lnTo>
                <a:lnTo>
                  <a:pt x="799" y="1270"/>
                </a:lnTo>
                <a:lnTo>
                  <a:pt x="765" y="1270"/>
                </a:lnTo>
                <a:lnTo>
                  <a:pt x="737" y="1289"/>
                </a:lnTo>
                <a:cubicBezTo>
                  <a:pt x="732" y="1283"/>
                  <a:pt x="728" y="1276"/>
                  <a:pt x="724" y="1270"/>
                </a:cubicBezTo>
                <a:lnTo>
                  <a:pt x="677" y="1270"/>
                </a:lnTo>
                <a:cubicBezTo>
                  <a:pt x="681" y="1277"/>
                  <a:pt x="685" y="1284"/>
                  <a:pt x="689" y="1291"/>
                </a:cubicBezTo>
                <a:cubicBezTo>
                  <a:pt x="699" y="1308"/>
                  <a:pt x="710" y="1325"/>
                  <a:pt x="722" y="1340"/>
                </a:cubicBezTo>
                <a:close/>
                <a:moveTo>
                  <a:pt x="864" y="1340"/>
                </a:moveTo>
                <a:lnTo>
                  <a:pt x="864" y="1349"/>
                </a:lnTo>
                <a:lnTo>
                  <a:pt x="864" y="1349"/>
                </a:lnTo>
                <a:lnTo>
                  <a:pt x="864" y="1340"/>
                </a:lnTo>
                <a:close/>
                <a:moveTo>
                  <a:pt x="845" y="1349"/>
                </a:moveTo>
                <a:lnTo>
                  <a:pt x="864" y="1349"/>
                </a:lnTo>
                <a:moveTo>
                  <a:pt x="846" y="1235"/>
                </a:moveTo>
                <a:lnTo>
                  <a:pt x="846" y="1235"/>
                </a:lnTo>
                <a:lnTo>
                  <a:pt x="846" y="1235"/>
                </a:lnTo>
                <a:cubicBezTo>
                  <a:pt x="847" y="1234"/>
                  <a:pt x="847" y="1232"/>
                  <a:pt x="848" y="1231"/>
                </a:cubicBezTo>
                <a:cubicBezTo>
                  <a:pt x="836" y="1214"/>
                  <a:pt x="826" y="1196"/>
                  <a:pt x="817" y="1178"/>
                </a:cubicBezTo>
                <a:lnTo>
                  <a:pt x="774" y="1178"/>
                </a:lnTo>
                <a:lnTo>
                  <a:pt x="774" y="1178"/>
                </a:lnTo>
                <a:lnTo>
                  <a:pt x="735" y="1178"/>
                </a:lnTo>
                <a:cubicBezTo>
                  <a:pt x="742" y="1197"/>
                  <a:pt x="752" y="1216"/>
                  <a:pt x="762" y="1235"/>
                </a:cubicBezTo>
                <a:lnTo>
                  <a:pt x="787" y="1235"/>
                </a:lnTo>
                <a:lnTo>
                  <a:pt x="787" y="1235"/>
                </a:lnTo>
                <a:lnTo>
                  <a:pt x="846" y="1235"/>
                </a:lnTo>
                <a:close/>
                <a:moveTo>
                  <a:pt x="401" y="1340"/>
                </a:moveTo>
                <a:lnTo>
                  <a:pt x="405" y="1340"/>
                </a:lnTo>
                <a:lnTo>
                  <a:pt x="459" y="1261"/>
                </a:lnTo>
                <a:lnTo>
                  <a:pt x="489" y="1261"/>
                </a:lnTo>
                <a:lnTo>
                  <a:pt x="489" y="1261"/>
                </a:lnTo>
                <a:lnTo>
                  <a:pt x="568" y="1261"/>
                </a:lnTo>
                <a:lnTo>
                  <a:pt x="568" y="1262"/>
                </a:lnTo>
                <a:lnTo>
                  <a:pt x="568" y="1261"/>
                </a:lnTo>
                <a:lnTo>
                  <a:pt x="617" y="1261"/>
                </a:lnTo>
                <a:cubicBezTo>
                  <a:pt x="614" y="1255"/>
                  <a:pt x="612" y="1249"/>
                  <a:pt x="610" y="1244"/>
                </a:cubicBezTo>
                <a:lnTo>
                  <a:pt x="564" y="1244"/>
                </a:lnTo>
                <a:lnTo>
                  <a:pt x="564" y="1244"/>
                </a:lnTo>
                <a:lnTo>
                  <a:pt x="485" y="1244"/>
                </a:lnTo>
                <a:cubicBezTo>
                  <a:pt x="484" y="1241"/>
                  <a:pt x="484" y="1238"/>
                  <a:pt x="483" y="1235"/>
                </a:cubicBezTo>
                <a:lnTo>
                  <a:pt x="562" y="1235"/>
                </a:lnTo>
                <a:lnTo>
                  <a:pt x="562" y="1235"/>
                </a:lnTo>
                <a:lnTo>
                  <a:pt x="606" y="1235"/>
                </a:lnTo>
                <a:cubicBezTo>
                  <a:pt x="599" y="1216"/>
                  <a:pt x="593" y="1197"/>
                  <a:pt x="588" y="1178"/>
                </a:cubicBezTo>
                <a:lnTo>
                  <a:pt x="553" y="1178"/>
                </a:lnTo>
                <a:cubicBezTo>
                  <a:pt x="552" y="1175"/>
                  <a:pt x="552" y="1172"/>
                  <a:pt x="551" y="1170"/>
                </a:cubicBezTo>
                <a:cubicBezTo>
                  <a:pt x="552" y="1172"/>
                  <a:pt x="552" y="1175"/>
                  <a:pt x="553" y="1178"/>
                </a:cubicBezTo>
                <a:lnTo>
                  <a:pt x="553" y="1178"/>
                </a:lnTo>
                <a:lnTo>
                  <a:pt x="474" y="1178"/>
                </a:lnTo>
                <a:lnTo>
                  <a:pt x="474" y="1178"/>
                </a:lnTo>
                <a:lnTo>
                  <a:pt x="474" y="1178"/>
                </a:lnTo>
                <a:lnTo>
                  <a:pt x="352" y="1178"/>
                </a:lnTo>
                <a:cubicBezTo>
                  <a:pt x="356" y="1197"/>
                  <a:pt x="360" y="1216"/>
                  <a:pt x="365" y="1235"/>
                </a:cubicBezTo>
                <a:lnTo>
                  <a:pt x="483" y="1235"/>
                </a:lnTo>
                <a:cubicBezTo>
                  <a:pt x="484" y="1238"/>
                  <a:pt x="484" y="1241"/>
                  <a:pt x="485" y="1244"/>
                </a:cubicBezTo>
                <a:lnTo>
                  <a:pt x="485" y="1244"/>
                </a:lnTo>
                <a:lnTo>
                  <a:pt x="368" y="1244"/>
                </a:lnTo>
                <a:cubicBezTo>
                  <a:pt x="377" y="1277"/>
                  <a:pt x="388" y="1309"/>
                  <a:pt x="401" y="1340"/>
                </a:cubicBezTo>
                <a:close/>
                <a:moveTo>
                  <a:pt x="673" y="1261"/>
                </a:moveTo>
                <a:lnTo>
                  <a:pt x="719" y="1261"/>
                </a:lnTo>
                <a:cubicBezTo>
                  <a:pt x="716" y="1255"/>
                  <a:pt x="712" y="1250"/>
                  <a:pt x="709" y="1244"/>
                </a:cubicBezTo>
                <a:lnTo>
                  <a:pt x="665" y="1244"/>
                </a:lnTo>
                <a:cubicBezTo>
                  <a:pt x="667" y="1249"/>
                  <a:pt x="670" y="1255"/>
                  <a:pt x="673" y="1261"/>
                </a:cubicBezTo>
                <a:close/>
                <a:moveTo>
                  <a:pt x="778" y="1261"/>
                </a:moveTo>
                <a:lnTo>
                  <a:pt x="796" y="1261"/>
                </a:lnTo>
                <a:cubicBezTo>
                  <a:pt x="796" y="1263"/>
                  <a:pt x="797" y="1265"/>
                  <a:pt x="798" y="1266"/>
                </a:cubicBezTo>
                <a:lnTo>
                  <a:pt x="796" y="1261"/>
                </a:lnTo>
                <a:lnTo>
                  <a:pt x="851" y="1261"/>
                </a:lnTo>
                <a:cubicBezTo>
                  <a:pt x="847" y="1257"/>
                  <a:pt x="845" y="1251"/>
                  <a:pt x="845" y="1244"/>
                </a:cubicBezTo>
                <a:cubicBezTo>
                  <a:pt x="845" y="1244"/>
                  <a:pt x="845" y="1244"/>
                  <a:pt x="845" y="1244"/>
                </a:cubicBezTo>
                <a:lnTo>
                  <a:pt x="790" y="1244"/>
                </a:lnTo>
                <a:lnTo>
                  <a:pt x="789" y="1241"/>
                </a:lnTo>
                <a:lnTo>
                  <a:pt x="790" y="1244"/>
                </a:lnTo>
                <a:lnTo>
                  <a:pt x="767" y="1244"/>
                </a:lnTo>
                <a:cubicBezTo>
                  <a:pt x="771" y="1249"/>
                  <a:pt x="775" y="1255"/>
                  <a:pt x="779" y="1261"/>
                </a:cubicBezTo>
                <a:lnTo>
                  <a:pt x="778" y="1261"/>
                </a:lnTo>
                <a:close/>
                <a:moveTo>
                  <a:pt x="661" y="1235"/>
                </a:moveTo>
                <a:lnTo>
                  <a:pt x="705" y="1235"/>
                </a:lnTo>
                <a:cubicBezTo>
                  <a:pt x="695" y="1216"/>
                  <a:pt x="687" y="1197"/>
                  <a:pt x="681" y="1178"/>
                </a:cubicBezTo>
                <a:lnTo>
                  <a:pt x="640" y="1178"/>
                </a:lnTo>
                <a:cubicBezTo>
                  <a:pt x="646" y="1197"/>
                  <a:pt x="653" y="1216"/>
                  <a:pt x="661" y="1235"/>
                </a:cubicBezTo>
                <a:close/>
                <a:moveTo>
                  <a:pt x="878" y="1268"/>
                </a:moveTo>
                <a:lnTo>
                  <a:pt x="878" y="1268"/>
                </a:lnTo>
                <a:cubicBezTo>
                  <a:pt x="878" y="1268"/>
                  <a:pt x="878" y="1268"/>
                  <a:pt x="878" y="1268"/>
                </a:cubicBezTo>
                <a:close/>
                <a:moveTo>
                  <a:pt x="351" y="1169"/>
                </a:moveTo>
                <a:lnTo>
                  <a:pt x="473" y="1169"/>
                </a:lnTo>
                <a:cubicBezTo>
                  <a:pt x="473" y="1170"/>
                  <a:pt x="473" y="1171"/>
                  <a:pt x="474" y="1172"/>
                </a:cubicBezTo>
                <a:lnTo>
                  <a:pt x="473" y="1169"/>
                </a:lnTo>
                <a:lnTo>
                  <a:pt x="551" y="1169"/>
                </a:lnTo>
                <a:lnTo>
                  <a:pt x="551" y="1169"/>
                </a:lnTo>
                <a:lnTo>
                  <a:pt x="585" y="1169"/>
                </a:lnTo>
                <a:cubicBezTo>
                  <a:pt x="585" y="1166"/>
                  <a:pt x="584" y="1163"/>
                  <a:pt x="583" y="1160"/>
                </a:cubicBezTo>
                <a:cubicBezTo>
                  <a:pt x="578" y="1135"/>
                  <a:pt x="574" y="1110"/>
                  <a:pt x="571" y="1085"/>
                </a:cubicBezTo>
                <a:lnTo>
                  <a:pt x="341" y="1085"/>
                </a:lnTo>
                <a:cubicBezTo>
                  <a:pt x="343" y="1114"/>
                  <a:pt x="346" y="1142"/>
                  <a:pt x="351" y="1169"/>
                </a:cubicBezTo>
                <a:close/>
                <a:moveTo>
                  <a:pt x="638" y="1169"/>
                </a:moveTo>
                <a:lnTo>
                  <a:pt x="678" y="1169"/>
                </a:lnTo>
                <a:cubicBezTo>
                  <a:pt x="669" y="1142"/>
                  <a:pt x="663" y="1114"/>
                  <a:pt x="660" y="1085"/>
                </a:cubicBezTo>
                <a:lnTo>
                  <a:pt x="622" y="1085"/>
                </a:lnTo>
                <a:cubicBezTo>
                  <a:pt x="624" y="1107"/>
                  <a:pt x="628" y="1128"/>
                  <a:pt x="633" y="1149"/>
                </a:cubicBezTo>
                <a:cubicBezTo>
                  <a:pt x="634" y="1155"/>
                  <a:pt x="636" y="1162"/>
                  <a:pt x="638" y="1169"/>
                </a:cubicBezTo>
                <a:close/>
                <a:moveTo>
                  <a:pt x="732" y="1169"/>
                </a:moveTo>
                <a:lnTo>
                  <a:pt x="772" y="1169"/>
                </a:lnTo>
                <a:lnTo>
                  <a:pt x="772" y="1169"/>
                </a:lnTo>
                <a:lnTo>
                  <a:pt x="813" y="1169"/>
                </a:lnTo>
                <a:cubicBezTo>
                  <a:pt x="801" y="1144"/>
                  <a:pt x="793" y="1118"/>
                  <a:pt x="788" y="1090"/>
                </a:cubicBezTo>
                <a:lnTo>
                  <a:pt x="813" y="1085"/>
                </a:lnTo>
                <a:lnTo>
                  <a:pt x="711" y="1085"/>
                </a:lnTo>
                <a:cubicBezTo>
                  <a:pt x="715" y="1114"/>
                  <a:pt x="722" y="1142"/>
                  <a:pt x="732" y="1169"/>
                </a:cubicBezTo>
                <a:close/>
                <a:moveTo>
                  <a:pt x="869" y="1169"/>
                </a:moveTo>
                <a:lnTo>
                  <a:pt x="1032" y="1169"/>
                </a:lnTo>
                <a:cubicBezTo>
                  <a:pt x="1026" y="1164"/>
                  <a:pt x="1020" y="1160"/>
                  <a:pt x="1015" y="1154"/>
                </a:cubicBezTo>
                <a:cubicBezTo>
                  <a:pt x="987" y="1126"/>
                  <a:pt x="968" y="1088"/>
                  <a:pt x="965" y="1045"/>
                </a:cubicBezTo>
                <a:lnTo>
                  <a:pt x="939" y="1019"/>
                </a:lnTo>
                <a:lnTo>
                  <a:pt x="708" y="1019"/>
                </a:lnTo>
                <a:cubicBezTo>
                  <a:pt x="707" y="1039"/>
                  <a:pt x="708" y="1058"/>
                  <a:pt x="710" y="1077"/>
                </a:cubicBezTo>
                <a:lnTo>
                  <a:pt x="846" y="1077"/>
                </a:lnTo>
                <a:cubicBezTo>
                  <a:pt x="850" y="1067"/>
                  <a:pt x="859" y="1061"/>
                  <a:pt x="870" y="1061"/>
                </a:cubicBezTo>
                <a:cubicBezTo>
                  <a:pt x="884" y="1061"/>
                  <a:pt x="895" y="1072"/>
                  <a:pt x="895" y="1086"/>
                </a:cubicBezTo>
                <a:cubicBezTo>
                  <a:pt x="895" y="1100"/>
                  <a:pt x="884" y="1111"/>
                  <a:pt x="870" y="1111"/>
                </a:cubicBezTo>
                <a:lnTo>
                  <a:pt x="870" y="1111"/>
                </a:lnTo>
                <a:cubicBezTo>
                  <a:pt x="856" y="1111"/>
                  <a:pt x="845" y="1100"/>
                  <a:pt x="845" y="1086"/>
                </a:cubicBezTo>
                <a:lnTo>
                  <a:pt x="845" y="1085"/>
                </a:lnTo>
                <a:lnTo>
                  <a:pt x="839" y="1085"/>
                </a:lnTo>
                <a:cubicBezTo>
                  <a:pt x="845" y="1115"/>
                  <a:pt x="855" y="1143"/>
                  <a:pt x="869" y="1169"/>
                </a:cubicBezTo>
                <a:close/>
                <a:moveTo>
                  <a:pt x="773" y="1175"/>
                </a:moveTo>
                <a:cubicBezTo>
                  <a:pt x="773" y="1174"/>
                  <a:pt x="773" y="1172"/>
                  <a:pt x="772" y="1171"/>
                </a:cubicBezTo>
                <a:cubicBezTo>
                  <a:pt x="773" y="1172"/>
                  <a:pt x="773" y="1174"/>
                  <a:pt x="773" y="1175"/>
                </a:cubicBezTo>
                <a:close/>
                <a:moveTo>
                  <a:pt x="989" y="1415"/>
                </a:moveTo>
                <a:lnTo>
                  <a:pt x="940" y="1415"/>
                </a:lnTo>
                <a:cubicBezTo>
                  <a:pt x="979" y="1435"/>
                  <a:pt x="1020" y="1449"/>
                  <a:pt x="1063" y="1456"/>
                </a:cubicBezTo>
                <a:cubicBezTo>
                  <a:pt x="1079" y="1458"/>
                  <a:pt x="1095" y="1460"/>
                  <a:pt x="1112" y="1461"/>
                </a:cubicBezTo>
                <a:lnTo>
                  <a:pt x="1068" y="1415"/>
                </a:lnTo>
                <a:lnTo>
                  <a:pt x="989" y="1415"/>
                </a:lnTo>
                <a:lnTo>
                  <a:pt x="989" y="1415"/>
                </a:lnTo>
                <a:close/>
                <a:moveTo>
                  <a:pt x="718" y="1415"/>
                </a:moveTo>
                <a:lnTo>
                  <a:pt x="623" y="1415"/>
                </a:lnTo>
                <a:lnTo>
                  <a:pt x="623" y="1415"/>
                </a:lnTo>
                <a:lnTo>
                  <a:pt x="559" y="1415"/>
                </a:lnTo>
                <a:lnTo>
                  <a:pt x="545" y="1430"/>
                </a:lnTo>
                <a:lnTo>
                  <a:pt x="545" y="1430"/>
                </a:lnTo>
                <a:lnTo>
                  <a:pt x="486" y="1493"/>
                </a:lnTo>
                <a:cubicBezTo>
                  <a:pt x="503" y="1518"/>
                  <a:pt x="522" y="1541"/>
                  <a:pt x="541" y="1563"/>
                </a:cubicBezTo>
                <a:lnTo>
                  <a:pt x="601" y="1485"/>
                </a:lnTo>
                <a:lnTo>
                  <a:pt x="795" y="1485"/>
                </a:lnTo>
                <a:cubicBezTo>
                  <a:pt x="767" y="1465"/>
                  <a:pt x="741" y="1441"/>
                  <a:pt x="718" y="1415"/>
                </a:cubicBezTo>
                <a:close/>
                <a:moveTo>
                  <a:pt x="863" y="954"/>
                </a:moveTo>
                <a:lnTo>
                  <a:pt x="863" y="954"/>
                </a:lnTo>
                <a:lnTo>
                  <a:pt x="863" y="954"/>
                </a:lnTo>
                <a:lnTo>
                  <a:pt x="853" y="954"/>
                </a:lnTo>
                <a:lnTo>
                  <a:pt x="845" y="954"/>
                </a:lnTo>
                <a:lnTo>
                  <a:pt x="845" y="953"/>
                </a:lnTo>
                <a:lnTo>
                  <a:pt x="845" y="953"/>
                </a:lnTo>
                <a:lnTo>
                  <a:pt x="845" y="953"/>
                </a:lnTo>
                <a:lnTo>
                  <a:pt x="845" y="953"/>
                </a:lnTo>
                <a:lnTo>
                  <a:pt x="845" y="953"/>
                </a:lnTo>
                <a:lnTo>
                  <a:pt x="845" y="953"/>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1"/>
                </a:lnTo>
                <a:lnTo>
                  <a:pt x="845" y="951"/>
                </a:lnTo>
                <a:cubicBezTo>
                  <a:pt x="845" y="949"/>
                  <a:pt x="846" y="947"/>
                  <a:pt x="846" y="945"/>
                </a:cubicBezTo>
                <a:lnTo>
                  <a:pt x="846" y="945"/>
                </a:lnTo>
                <a:lnTo>
                  <a:pt x="865" y="945"/>
                </a:lnTo>
                <a:lnTo>
                  <a:pt x="865" y="945"/>
                </a:lnTo>
                <a:lnTo>
                  <a:pt x="865" y="945"/>
                </a:lnTo>
                <a:cubicBezTo>
                  <a:pt x="864" y="947"/>
                  <a:pt x="864" y="948"/>
                  <a:pt x="863" y="950"/>
                </a:cubicBezTo>
                <a:lnTo>
                  <a:pt x="863" y="950"/>
                </a:lnTo>
                <a:lnTo>
                  <a:pt x="863" y="951"/>
                </a:lnTo>
                <a:lnTo>
                  <a:pt x="863" y="951"/>
                </a:lnTo>
                <a:lnTo>
                  <a:pt x="863" y="951"/>
                </a:lnTo>
                <a:lnTo>
                  <a:pt x="863" y="951"/>
                </a:lnTo>
                <a:lnTo>
                  <a:pt x="863" y="951"/>
                </a:lnTo>
                <a:lnTo>
                  <a:pt x="863" y="951"/>
                </a:lnTo>
                <a:lnTo>
                  <a:pt x="863" y="951"/>
                </a:lnTo>
                <a:lnTo>
                  <a:pt x="863" y="951"/>
                </a:lnTo>
                <a:lnTo>
                  <a:pt x="863" y="952"/>
                </a:lnTo>
                <a:lnTo>
                  <a:pt x="863" y="952"/>
                </a:lnTo>
                <a:lnTo>
                  <a:pt x="863" y="952"/>
                </a:lnTo>
                <a:lnTo>
                  <a:pt x="863" y="952"/>
                </a:lnTo>
                <a:lnTo>
                  <a:pt x="863" y="952"/>
                </a:lnTo>
                <a:lnTo>
                  <a:pt x="863" y="952"/>
                </a:lnTo>
                <a:lnTo>
                  <a:pt x="863" y="952"/>
                </a:lnTo>
                <a:lnTo>
                  <a:pt x="863" y="952"/>
                </a:lnTo>
                <a:lnTo>
                  <a:pt x="863" y="953"/>
                </a:lnTo>
                <a:lnTo>
                  <a:pt x="863" y="953"/>
                </a:lnTo>
                <a:lnTo>
                  <a:pt x="863" y="953"/>
                </a:lnTo>
                <a:lnTo>
                  <a:pt x="863" y="953"/>
                </a:lnTo>
                <a:lnTo>
                  <a:pt x="863" y="953"/>
                </a:lnTo>
                <a:lnTo>
                  <a:pt x="863" y="953"/>
                </a:lnTo>
                <a:lnTo>
                  <a:pt x="863" y="953"/>
                </a:lnTo>
                <a:lnTo>
                  <a:pt x="863" y="953"/>
                </a:lnTo>
                <a:lnTo>
                  <a:pt x="863" y="953"/>
                </a:lnTo>
                <a:lnTo>
                  <a:pt x="863" y="953"/>
                </a:lnTo>
                <a:lnTo>
                  <a:pt x="863" y="954"/>
                </a:lnTo>
                <a:lnTo>
                  <a:pt x="863" y="954"/>
                </a:lnTo>
                <a:close/>
                <a:moveTo>
                  <a:pt x="860" y="966"/>
                </a:moveTo>
                <a:lnTo>
                  <a:pt x="846" y="963"/>
                </a:lnTo>
                <a:cubicBezTo>
                  <a:pt x="845" y="961"/>
                  <a:pt x="845" y="957"/>
                  <a:pt x="845" y="954"/>
                </a:cubicBezTo>
                <a:lnTo>
                  <a:pt x="845" y="954"/>
                </a:lnTo>
                <a:lnTo>
                  <a:pt x="797" y="954"/>
                </a:lnTo>
                <a:lnTo>
                  <a:pt x="797" y="954"/>
                </a:lnTo>
                <a:lnTo>
                  <a:pt x="715" y="954"/>
                </a:lnTo>
                <a:moveTo>
                  <a:pt x="663" y="954"/>
                </a:moveTo>
                <a:lnTo>
                  <a:pt x="480" y="954"/>
                </a:lnTo>
                <a:lnTo>
                  <a:pt x="360" y="852"/>
                </a:lnTo>
                <a:moveTo>
                  <a:pt x="339" y="742"/>
                </a:moveTo>
                <a:lnTo>
                  <a:pt x="338" y="741"/>
                </a:lnTo>
                <a:cubicBezTo>
                  <a:pt x="338" y="739"/>
                  <a:pt x="339" y="737"/>
                  <a:pt x="339" y="736"/>
                </a:cubicBezTo>
                <a:cubicBezTo>
                  <a:pt x="339" y="737"/>
                  <a:pt x="338" y="739"/>
                  <a:pt x="338" y="741"/>
                </a:cubicBezTo>
                <a:lnTo>
                  <a:pt x="338" y="741"/>
                </a:lnTo>
                <a:lnTo>
                  <a:pt x="203" y="602"/>
                </a:lnTo>
                <a:moveTo>
                  <a:pt x="208" y="593"/>
                </a:moveTo>
                <a:lnTo>
                  <a:pt x="340" y="731"/>
                </a:lnTo>
                <a:lnTo>
                  <a:pt x="340" y="731"/>
                </a:lnTo>
                <a:lnTo>
                  <a:pt x="343" y="733"/>
                </a:lnTo>
                <a:moveTo>
                  <a:pt x="362" y="843"/>
                </a:moveTo>
                <a:lnTo>
                  <a:pt x="483" y="945"/>
                </a:lnTo>
                <a:lnTo>
                  <a:pt x="665" y="945"/>
                </a:lnTo>
                <a:moveTo>
                  <a:pt x="717" y="945"/>
                </a:moveTo>
                <a:lnTo>
                  <a:pt x="776" y="945"/>
                </a:lnTo>
                <a:cubicBezTo>
                  <a:pt x="775" y="946"/>
                  <a:pt x="775" y="948"/>
                  <a:pt x="775" y="949"/>
                </a:cubicBezTo>
                <a:lnTo>
                  <a:pt x="792" y="952"/>
                </a:lnTo>
                <a:lnTo>
                  <a:pt x="775" y="949"/>
                </a:lnTo>
                <a:cubicBezTo>
                  <a:pt x="775" y="948"/>
                  <a:pt x="775" y="946"/>
                  <a:pt x="776" y="945"/>
                </a:cubicBezTo>
                <a:lnTo>
                  <a:pt x="846" y="945"/>
                </a:lnTo>
                <a:cubicBezTo>
                  <a:pt x="846" y="947"/>
                  <a:pt x="845" y="949"/>
                  <a:pt x="845" y="951"/>
                </a:cubicBezTo>
                <a:moveTo>
                  <a:pt x="863" y="954"/>
                </a:moveTo>
                <a:lnTo>
                  <a:pt x="862" y="955"/>
                </a:lnTo>
                <a:lnTo>
                  <a:pt x="863" y="954"/>
                </a:lnTo>
                <a:moveTo>
                  <a:pt x="865" y="945"/>
                </a:moveTo>
                <a:lnTo>
                  <a:pt x="865" y="945"/>
                </a:lnTo>
                <a:lnTo>
                  <a:pt x="865" y="945"/>
                </a:lnTo>
                <a:lnTo>
                  <a:pt x="865" y="945"/>
                </a:lnTo>
                <a:lnTo>
                  <a:pt x="865" y="944"/>
                </a:lnTo>
                <a:lnTo>
                  <a:pt x="865" y="944"/>
                </a:lnTo>
                <a:lnTo>
                  <a:pt x="865" y="944"/>
                </a:lnTo>
                <a:lnTo>
                  <a:pt x="865" y="944"/>
                </a:lnTo>
                <a:lnTo>
                  <a:pt x="865" y="944"/>
                </a:lnTo>
                <a:lnTo>
                  <a:pt x="865" y="943"/>
                </a:lnTo>
                <a:lnTo>
                  <a:pt x="865" y="943"/>
                </a:lnTo>
                <a:lnTo>
                  <a:pt x="865" y="943"/>
                </a:lnTo>
                <a:lnTo>
                  <a:pt x="865" y="943"/>
                </a:lnTo>
                <a:lnTo>
                  <a:pt x="865" y="943"/>
                </a:lnTo>
                <a:lnTo>
                  <a:pt x="865" y="943"/>
                </a:lnTo>
                <a:lnTo>
                  <a:pt x="865" y="943"/>
                </a:lnTo>
                <a:lnTo>
                  <a:pt x="865" y="942"/>
                </a:lnTo>
                <a:lnTo>
                  <a:pt x="865" y="942"/>
                </a:lnTo>
                <a:lnTo>
                  <a:pt x="865" y="942"/>
                </a:lnTo>
                <a:lnTo>
                  <a:pt x="865" y="942"/>
                </a:lnTo>
                <a:lnTo>
                  <a:pt x="865" y="942"/>
                </a:lnTo>
                <a:lnTo>
                  <a:pt x="865" y="942"/>
                </a:lnTo>
                <a:lnTo>
                  <a:pt x="865" y="942"/>
                </a:lnTo>
                <a:lnTo>
                  <a:pt x="866" y="941"/>
                </a:lnTo>
                <a:lnTo>
                  <a:pt x="866" y="941"/>
                </a:lnTo>
                <a:lnTo>
                  <a:pt x="866" y="941"/>
                </a:lnTo>
                <a:lnTo>
                  <a:pt x="866" y="941"/>
                </a:lnTo>
                <a:lnTo>
                  <a:pt x="866" y="941"/>
                </a:lnTo>
                <a:lnTo>
                  <a:pt x="866" y="941"/>
                </a:lnTo>
                <a:lnTo>
                  <a:pt x="866" y="941"/>
                </a:lnTo>
                <a:lnTo>
                  <a:pt x="866" y="941"/>
                </a:lnTo>
                <a:lnTo>
                  <a:pt x="866" y="940"/>
                </a:lnTo>
                <a:lnTo>
                  <a:pt x="866" y="940"/>
                </a:lnTo>
                <a:lnTo>
                  <a:pt x="866" y="940"/>
                </a:lnTo>
                <a:lnTo>
                  <a:pt x="866" y="940"/>
                </a:lnTo>
                <a:lnTo>
                  <a:pt x="866" y="940"/>
                </a:lnTo>
                <a:lnTo>
                  <a:pt x="866" y="940"/>
                </a:lnTo>
                <a:lnTo>
                  <a:pt x="866" y="940"/>
                </a:lnTo>
                <a:lnTo>
                  <a:pt x="866" y="940"/>
                </a:lnTo>
                <a:lnTo>
                  <a:pt x="866" y="939"/>
                </a:lnTo>
                <a:lnTo>
                  <a:pt x="866" y="939"/>
                </a:lnTo>
                <a:lnTo>
                  <a:pt x="866" y="939"/>
                </a:lnTo>
                <a:lnTo>
                  <a:pt x="866" y="939"/>
                </a:lnTo>
                <a:lnTo>
                  <a:pt x="866" y="939"/>
                </a:lnTo>
                <a:lnTo>
                  <a:pt x="866" y="939"/>
                </a:lnTo>
                <a:lnTo>
                  <a:pt x="867" y="938"/>
                </a:lnTo>
                <a:lnTo>
                  <a:pt x="867" y="938"/>
                </a:lnTo>
                <a:lnTo>
                  <a:pt x="867" y="937"/>
                </a:lnTo>
                <a:lnTo>
                  <a:pt x="867" y="937"/>
                </a:lnTo>
                <a:lnTo>
                  <a:pt x="867" y="937"/>
                </a:lnTo>
                <a:lnTo>
                  <a:pt x="867" y="937"/>
                </a:lnTo>
                <a:lnTo>
                  <a:pt x="867" y="937"/>
                </a:lnTo>
                <a:lnTo>
                  <a:pt x="867" y="936"/>
                </a:lnTo>
                <a:lnTo>
                  <a:pt x="867" y="936"/>
                </a:lnTo>
                <a:lnTo>
                  <a:pt x="867" y="936"/>
                </a:lnTo>
                <a:lnTo>
                  <a:pt x="867" y="935"/>
                </a:lnTo>
                <a:lnTo>
                  <a:pt x="867" y="935"/>
                </a:lnTo>
                <a:lnTo>
                  <a:pt x="867" y="935"/>
                </a:lnTo>
                <a:lnTo>
                  <a:pt x="867" y="935"/>
                </a:lnTo>
                <a:lnTo>
                  <a:pt x="867" y="935"/>
                </a:lnTo>
                <a:lnTo>
                  <a:pt x="867" y="935"/>
                </a:lnTo>
                <a:lnTo>
                  <a:pt x="867" y="934"/>
                </a:lnTo>
                <a:lnTo>
                  <a:pt x="867" y="934"/>
                </a:lnTo>
                <a:lnTo>
                  <a:pt x="868" y="934"/>
                </a:lnTo>
                <a:lnTo>
                  <a:pt x="868" y="934"/>
                </a:lnTo>
                <a:lnTo>
                  <a:pt x="868" y="933"/>
                </a:lnTo>
                <a:lnTo>
                  <a:pt x="868" y="933"/>
                </a:lnTo>
                <a:lnTo>
                  <a:pt x="868" y="933"/>
                </a:lnTo>
                <a:lnTo>
                  <a:pt x="868" y="933"/>
                </a:lnTo>
                <a:lnTo>
                  <a:pt x="868" y="933"/>
                </a:lnTo>
                <a:lnTo>
                  <a:pt x="868" y="933"/>
                </a:lnTo>
                <a:lnTo>
                  <a:pt x="868" y="933"/>
                </a:lnTo>
                <a:lnTo>
                  <a:pt x="868" y="933"/>
                </a:lnTo>
                <a:lnTo>
                  <a:pt x="868" y="932"/>
                </a:lnTo>
                <a:lnTo>
                  <a:pt x="868" y="932"/>
                </a:lnTo>
                <a:lnTo>
                  <a:pt x="868" y="932"/>
                </a:lnTo>
                <a:lnTo>
                  <a:pt x="868" y="932"/>
                </a:lnTo>
                <a:lnTo>
                  <a:pt x="868" y="932"/>
                </a:lnTo>
                <a:lnTo>
                  <a:pt x="868" y="932"/>
                </a:lnTo>
                <a:lnTo>
                  <a:pt x="868" y="932"/>
                </a:lnTo>
                <a:lnTo>
                  <a:pt x="868" y="931"/>
                </a:lnTo>
                <a:lnTo>
                  <a:pt x="868" y="931"/>
                </a:lnTo>
                <a:lnTo>
                  <a:pt x="868" y="931"/>
                </a:lnTo>
                <a:lnTo>
                  <a:pt x="868" y="931"/>
                </a:lnTo>
                <a:lnTo>
                  <a:pt x="868" y="931"/>
                </a:lnTo>
                <a:lnTo>
                  <a:pt x="868" y="931"/>
                </a:lnTo>
                <a:lnTo>
                  <a:pt x="868" y="930"/>
                </a:lnTo>
                <a:lnTo>
                  <a:pt x="869" y="930"/>
                </a:lnTo>
                <a:lnTo>
                  <a:pt x="869" y="930"/>
                </a:lnTo>
                <a:lnTo>
                  <a:pt x="869" y="930"/>
                </a:lnTo>
                <a:lnTo>
                  <a:pt x="869" y="930"/>
                </a:lnTo>
                <a:lnTo>
                  <a:pt x="869" y="929"/>
                </a:lnTo>
                <a:lnTo>
                  <a:pt x="869" y="929"/>
                </a:lnTo>
                <a:lnTo>
                  <a:pt x="869" y="929"/>
                </a:lnTo>
                <a:lnTo>
                  <a:pt x="869" y="929"/>
                </a:lnTo>
                <a:lnTo>
                  <a:pt x="869" y="929"/>
                </a:lnTo>
                <a:lnTo>
                  <a:pt x="869" y="929"/>
                </a:lnTo>
                <a:cubicBezTo>
                  <a:pt x="859" y="929"/>
                  <a:pt x="850" y="936"/>
                  <a:pt x="846" y="945"/>
                </a:cubicBezTo>
                <a:moveTo>
                  <a:pt x="861" y="959"/>
                </a:moveTo>
                <a:cubicBezTo>
                  <a:pt x="861" y="961"/>
                  <a:pt x="860" y="964"/>
                  <a:pt x="860" y="966"/>
                </a:cubicBezTo>
                <a:moveTo>
                  <a:pt x="856" y="808"/>
                </a:moveTo>
                <a:lnTo>
                  <a:pt x="845" y="808"/>
                </a:lnTo>
                <a:lnTo>
                  <a:pt x="845" y="808"/>
                </a:lnTo>
                <a:lnTo>
                  <a:pt x="845" y="808"/>
                </a:lnTo>
                <a:lnTo>
                  <a:pt x="845" y="808"/>
                </a:lnTo>
                <a:lnTo>
                  <a:pt x="822" y="808"/>
                </a:lnTo>
                <a:cubicBezTo>
                  <a:pt x="824" y="806"/>
                  <a:pt x="825" y="803"/>
                  <a:pt x="827" y="800"/>
                </a:cubicBezTo>
                <a:lnTo>
                  <a:pt x="846" y="800"/>
                </a:lnTo>
                <a:lnTo>
                  <a:pt x="846" y="800"/>
                </a:lnTo>
                <a:lnTo>
                  <a:pt x="846" y="800"/>
                </a:lnTo>
                <a:lnTo>
                  <a:pt x="846" y="800"/>
                </a:lnTo>
                <a:cubicBezTo>
                  <a:pt x="850" y="790"/>
                  <a:pt x="859" y="784"/>
                  <a:pt x="870" y="784"/>
                </a:cubicBezTo>
                <a:cubicBezTo>
                  <a:pt x="872" y="784"/>
                  <a:pt x="874" y="784"/>
                  <a:pt x="876" y="784"/>
                </a:cubicBezTo>
                <a:cubicBezTo>
                  <a:pt x="885" y="774"/>
                  <a:pt x="895" y="765"/>
                  <a:pt x="906" y="756"/>
                </a:cubicBezTo>
                <a:lnTo>
                  <a:pt x="852" y="756"/>
                </a:lnTo>
                <a:lnTo>
                  <a:pt x="852" y="756"/>
                </a:lnTo>
                <a:lnTo>
                  <a:pt x="852" y="756"/>
                </a:lnTo>
                <a:lnTo>
                  <a:pt x="814" y="756"/>
                </a:lnTo>
                <a:cubicBezTo>
                  <a:pt x="801" y="770"/>
                  <a:pt x="790" y="785"/>
                  <a:pt x="779" y="800"/>
                </a:cubicBezTo>
                <a:lnTo>
                  <a:pt x="827" y="800"/>
                </a:lnTo>
                <a:cubicBezTo>
                  <a:pt x="825" y="803"/>
                  <a:pt x="824" y="806"/>
                  <a:pt x="822" y="808"/>
                </a:cubicBezTo>
                <a:lnTo>
                  <a:pt x="822" y="808"/>
                </a:lnTo>
                <a:lnTo>
                  <a:pt x="773" y="808"/>
                </a:lnTo>
                <a:cubicBezTo>
                  <a:pt x="759" y="831"/>
                  <a:pt x="746" y="855"/>
                  <a:pt x="737" y="879"/>
                </a:cubicBezTo>
                <a:lnTo>
                  <a:pt x="794" y="879"/>
                </a:lnTo>
                <a:lnTo>
                  <a:pt x="793" y="880"/>
                </a:lnTo>
                <a:lnTo>
                  <a:pt x="794" y="879"/>
                </a:lnTo>
                <a:lnTo>
                  <a:pt x="813" y="879"/>
                </a:lnTo>
                <a:cubicBezTo>
                  <a:pt x="823" y="858"/>
                  <a:pt x="834" y="838"/>
                  <a:pt x="847" y="820"/>
                </a:cubicBezTo>
                <a:cubicBezTo>
                  <a:pt x="846" y="817"/>
                  <a:pt x="845" y="813"/>
                  <a:pt x="845" y="809"/>
                </a:cubicBezTo>
                <a:cubicBezTo>
                  <a:pt x="845" y="809"/>
                  <a:pt x="845" y="809"/>
                  <a:pt x="845" y="808"/>
                </a:cubicBezTo>
                <a:lnTo>
                  <a:pt x="856" y="808"/>
                </a:lnTo>
                <a:close/>
                <a:moveTo>
                  <a:pt x="749" y="756"/>
                </a:moveTo>
                <a:lnTo>
                  <a:pt x="700" y="756"/>
                </a:lnTo>
                <a:cubicBezTo>
                  <a:pt x="691" y="770"/>
                  <a:pt x="683" y="785"/>
                  <a:pt x="675" y="800"/>
                </a:cubicBezTo>
                <a:lnTo>
                  <a:pt x="719" y="800"/>
                </a:lnTo>
                <a:cubicBezTo>
                  <a:pt x="728" y="785"/>
                  <a:pt x="738" y="770"/>
                  <a:pt x="749" y="756"/>
                </a:cubicBezTo>
                <a:close/>
                <a:moveTo>
                  <a:pt x="647" y="746"/>
                </a:moveTo>
                <a:lnTo>
                  <a:pt x="483" y="577"/>
                </a:lnTo>
                <a:cubicBezTo>
                  <a:pt x="466" y="601"/>
                  <a:pt x="450" y="625"/>
                  <a:pt x="436" y="651"/>
                </a:cubicBezTo>
                <a:lnTo>
                  <a:pt x="485" y="708"/>
                </a:lnTo>
                <a:lnTo>
                  <a:pt x="547" y="708"/>
                </a:lnTo>
                <a:lnTo>
                  <a:pt x="621" y="796"/>
                </a:lnTo>
                <a:cubicBezTo>
                  <a:pt x="629" y="779"/>
                  <a:pt x="638" y="762"/>
                  <a:pt x="647" y="746"/>
                </a:cubicBezTo>
                <a:close/>
                <a:moveTo>
                  <a:pt x="488" y="569"/>
                </a:moveTo>
                <a:lnTo>
                  <a:pt x="652" y="738"/>
                </a:lnTo>
                <a:cubicBezTo>
                  <a:pt x="666" y="714"/>
                  <a:pt x="683" y="691"/>
                  <a:pt x="701" y="670"/>
                </a:cubicBezTo>
                <a:lnTo>
                  <a:pt x="540" y="503"/>
                </a:lnTo>
                <a:cubicBezTo>
                  <a:pt x="522" y="524"/>
                  <a:pt x="504" y="546"/>
                  <a:pt x="488" y="569"/>
                </a:cubicBezTo>
                <a:close/>
                <a:moveTo>
                  <a:pt x="706" y="747"/>
                </a:moveTo>
                <a:lnTo>
                  <a:pt x="755" y="747"/>
                </a:lnTo>
                <a:cubicBezTo>
                  <a:pt x="774" y="723"/>
                  <a:pt x="795" y="701"/>
                  <a:pt x="820" y="681"/>
                </a:cubicBezTo>
                <a:lnTo>
                  <a:pt x="852" y="720"/>
                </a:lnTo>
                <a:cubicBezTo>
                  <a:pt x="842" y="728"/>
                  <a:pt x="832" y="738"/>
                  <a:pt x="823" y="747"/>
                </a:cubicBezTo>
                <a:lnTo>
                  <a:pt x="857" y="747"/>
                </a:lnTo>
                <a:lnTo>
                  <a:pt x="857" y="747"/>
                </a:lnTo>
                <a:lnTo>
                  <a:pt x="916" y="747"/>
                </a:lnTo>
                <a:cubicBezTo>
                  <a:pt x="919" y="745"/>
                  <a:pt x="921" y="743"/>
                  <a:pt x="924" y="741"/>
                </a:cubicBezTo>
                <a:cubicBezTo>
                  <a:pt x="980" y="699"/>
                  <a:pt x="1048" y="673"/>
                  <a:pt x="1122" y="670"/>
                </a:cubicBezTo>
                <a:cubicBezTo>
                  <a:pt x="1123" y="669"/>
                  <a:pt x="1123" y="669"/>
                  <a:pt x="1123" y="668"/>
                </a:cubicBezTo>
                <a:lnTo>
                  <a:pt x="1126" y="670"/>
                </a:lnTo>
                <a:lnTo>
                  <a:pt x="1126" y="670"/>
                </a:lnTo>
                <a:lnTo>
                  <a:pt x="1123" y="668"/>
                </a:lnTo>
                <a:cubicBezTo>
                  <a:pt x="1124" y="667"/>
                  <a:pt x="1124" y="666"/>
                  <a:pt x="1125" y="664"/>
                </a:cubicBezTo>
                <a:cubicBezTo>
                  <a:pt x="1124" y="666"/>
                  <a:pt x="1124" y="667"/>
                  <a:pt x="1123" y="668"/>
                </a:cubicBezTo>
                <a:lnTo>
                  <a:pt x="1123" y="668"/>
                </a:lnTo>
                <a:lnTo>
                  <a:pt x="1083" y="637"/>
                </a:lnTo>
                <a:lnTo>
                  <a:pt x="1020" y="637"/>
                </a:lnTo>
                <a:cubicBezTo>
                  <a:pt x="1018" y="638"/>
                  <a:pt x="1017" y="638"/>
                  <a:pt x="1015" y="639"/>
                </a:cubicBezTo>
                <a:lnTo>
                  <a:pt x="1014" y="637"/>
                </a:lnTo>
                <a:lnTo>
                  <a:pt x="805" y="637"/>
                </a:lnTo>
                <a:cubicBezTo>
                  <a:pt x="793" y="647"/>
                  <a:pt x="782" y="657"/>
                  <a:pt x="771" y="668"/>
                </a:cubicBezTo>
                <a:lnTo>
                  <a:pt x="846" y="668"/>
                </a:lnTo>
                <a:cubicBezTo>
                  <a:pt x="850" y="659"/>
                  <a:pt x="859" y="652"/>
                  <a:pt x="870" y="652"/>
                </a:cubicBezTo>
                <a:cubicBezTo>
                  <a:pt x="884" y="652"/>
                  <a:pt x="895" y="663"/>
                  <a:pt x="895" y="677"/>
                </a:cubicBezTo>
                <a:cubicBezTo>
                  <a:pt x="895" y="691"/>
                  <a:pt x="884" y="702"/>
                  <a:pt x="870" y="702"/>
                </a:cubicBezTo>
                <a:lnTo>
                  <a:pt x="870" y="702"/>
                </a:lnTo>
                <a:cubicBezTo>
                  <a:pt x="856" y="702"/>
                  <a:pt x="845" y="691"/>
                  <a:pt x="845" y="677"/>
                </a:cubicBezTo>
                <a:lnTo>
                  <a:pt x="845" y="677"/>
                </a:lnTo>
                <a:lnTo>
                  <a:pt x="845" y="677"/>
                </a:lnTo>
                <a:lnTo>
                  <a:pt x="845" y="677"/>
                </a:lnTo>
                <a:lnTo>
                  <a:pt x="763" y="677"/>
                </a:lnTo>
                <a:cubicBezTo>
                  <a:pt x="742" y="698"/>
                  <a:pt x="723" y="722"/>
                  <a:pt x="706" y="747"/>
                </a:cubicBezTo>
                <a:close/>
                <a:moveTo>
                  <a:pt x="883" y="888"/>
                </a:moveTo>
                <a:lnTo>
                  <a:pt x="865" y="888"/>
                </a:lnTo>
                <a:cubicBezTo>
                  <a:pt x="857" y="904"/>
                  <a:pt x="850" y="922"/>
                  <a:pt x="845" y="940"/>
                </a:cubicBezTo>
                <a:lnTo>
                  <a:pt x="796" y="926"/>
                </a:lnTo>
                <a:cubicBezTo>
                  <a:pt x="800" y="913"/>
                  <a:pt x="804" y="900"/>
                  <a:pt x="810" y="888"/>
                </a:cubicBezTo>
                <a:lnTo>
                  <a:pt x="791" y="888"/>
                </a:lnTo>
                <a:lnTo>
                  <a:pt x="791" y="888"/>
                </a:lnTo>
                <a:lnTo>
                  <a:pt x="733" y="888"/>
                </a:lnTo>
                <a:cubicBezTo>
                  <a:pt x="726" y="906"/>
                  <a:pt x="721" y="925"/>
                  <a:pt x="717" y="945"/>
                </a:cubicBezTo>
                <a:cubicBezTo>
                  <a:pt x="716" y="948"/>
                  <a:pt x="715" y="951"/>
                  <a:pt x="715" y="954"/>
                </a:cubicBezTo>
                <a:cubicBezTo>
                  <a:pt x="713" y="961"/>
                  <a:pt x="712" y="968"/>
                  <a:pt x="711" y="976"/>
                </a:cubicBezTo>
                <a:cubicBezTo>
                  <a:pt x="710" y="987"/>
                  <a:pt x="708" y="999"/>
                  <a:pt x="708" y="1011"/>
                </a:cubicBezTo>
                <a:lnTo>
                  <a:pt x="942" y="1011"/>
                </a:lnTo>
                <a:lnTo>
                  <a:pt x="965" y="1033"/>
                </a:lnTo>
                <a:lnTo>
                  <a:pt x="965" y="1033"/>
                </a:lnTo>
                <a:cubicBezTo>
                  <a:pt x="965" y="985"/>
                  <a:pt x="984" y="942"/>
                  <a:pt x="1015" y="911"/>
                </a:cubicBezTo>
                <a:cubicBezTo>
                  <a:pt x="1024" y="902"/>
                  <a:pt x="1034" y="894"/>
                  <a:pt x="1044" y="888"/>
                </a:cubicBezTo>
                <a:lnTo>
                  <a:pt x="883" y="888"/>
                </a:lnTo>
                <a:cubicBezTo>
                  <a:pt x="884" y="885"/>
                  <a:pt x="885" y="882"/>
                  <a:pt x="886" y="879"/>
                </a:cubicBezTo>
                <a:cubicBezTo>
                  <a:pt x="885" y="882"/>
                  <a:pt x="884" y="885"/>
                  <a:pt x="883" y="888"/>
                </a:cubicBezTo>
                <a:close/>
                <a:moveTo>
                  <a:pt x="680" y="888"/>
                </a:moveTo>
                <a:lnTo>
                  <a:pt x="457" y="888"/>
                </a:lnTo>
                <a:lnTo>
                  <a:pt x="379" y="816"/>
                </a:lnTo>
                <a:lnTo>
                  <a:pt x="379" y="785"/>
                </a:lnTo>
                <a:cubicBezTo>
                  <a:pt x="372" y="804"/>
                  <a:pt x="367" y="823"/>
                  <a:pt x="362" y="843"/>
                </a:cubicBezTo>
                <a:cubicBezTo>
                  <a:pt x="361" y="846"/>
                  <a:pt x="361" y="849"/>
                  <a:pt x="360" y="852"/>
                </a:cubicBezTo>
                <a:cubicBezTo>
                  <a:pt x="351" y="889"/>
                  <a:pt x="345" y="927"/>
                  <a:pt x="342" y="966"/>
                </a:cubicBezTo>
                <a:lnTo>
                  <a:pt x="393" y="1011"/>
                </a:lnTo>
                <a:lnTo>
                  <a:pt x="569" y="1011"/>
                </a:lnTo>
                <a:cubicBezTo>
                  <a:pt x="570" y="1004"/>
                  <a:pt x="570" y="998"/>
                  <a:pt x="571" y="992"/>
                </a:cubicBezTo>
                <a:lnTo>
                  <a:pt x="621" y="995"/>
                </a:lnTo>
                <a:cubicBezTo>
                  <a:pt x="621" y="1000"/>
                  <a:pt x="620" y="1006"/>
                  <a:pt x="620" y="1011"/>
                </a:cubicBezTo>
                <a:lnTo>
                  <a:pt x="657" y="1011"/>
                </a:lnTo>
                <a:cubicBezTo>
                  <a:pt x="658" y="997"/>
                  <a:pt x="659" y="983"/>
                  <a:pt x="661" y="969"/>
                </a:cubicBezTo>
                <a:cubicBezTo>
                  <a:pt x="662" y="964"/>
                  <a:pt x="662" y="959"/>
                  <a:pt x="663" y="954"/>
                </a:cubicBezTo>
                <a:cubicBezTo>
                  <a:pt x="664" y="951"/>
                  <a:pt x="664" y="948"/>
                  <a:pt x="665" y="945"/>
                </a:cubicBezTo>
                <a:cubicBezTo>
                  <a:pt x="669" y="925"/>
                  <a:pt x="673" y="906"/>
                  <a:pt x="680" y="888"/>
                </a:cubicBezTo>
                <a:close/>
                <a:moveTo>
                  <a:pt x="387" y="760"/>
                </a:moveTo>
                <a:lnTo>
                  <a:pt x="387" y="812"/>
                </a:lnTo>
                <a:lnTo>
                  <a:pt x="461" y="879"/>
                </a:lnTo>
                <a:lnTo>
                  <a:pt x="683" y="879"/>
                </a:lnTo>
                <a:cubicBezTo>
                  <a:pt x="691" y="855"/>
                  <a:pt x="702" y="831"/>
                  <a:pt x="714" y="808"/>
                </a:cubicBezTo>
                <a:lnTo>
                  <a:pt x="671" y="808"/>
                </a:lnTo>
                <a:cubicBezTo>
                  <a:pt x="667" y="816"/>
                  <a:pt x="663" y="824"/>
                  <a:pt x="660" y="833"/>
                </a:cubicBezTo>
                <a:lnTo>
                  <a:pt x="613" y="813"/>
                </a:lnTo>
                <a:cubicBezTo>
                  <a:pt x="614" y="810"/>
                  <a:pt x="616" y="807"/>
                  <a:pt x="617" y="805"/>
                </a:cubicBezTo>
                <a:lnTo>
                  <a:pt x="543" y="716"/>
                </a:lnTo>
                <a:lnTo>
                  <a:pt x="481" y="716"/>
                </a:lnTo>
                <a:lnTo>
                  <a:pt x="432" y="659"/>
                </a:lnTo>
                <a:cubicBezTo>
                  <a:pt x="415" y="692"/>
                  <a:pt x="400" y="725"/>
                  <a:pt x="387" y="760"/>
                </a:cubicBezTo>
                <a:close/>
                <a:moveTo>
                  <a:pt x="1553" y="587"/>
                </a:moveTo>
                <a:cubicBezTo>
                  <a:pt x="1539" y="587"/>
                  <a:pt x="1528" y="575"/>
                  <a:pt x="1528" y="561"/>
                </a:cubicBezTo>
                <a:cubicBezTo>
                  <a:pt x="1528" y="547"/>
                  <a:pt x="1539" y="536"/>
                  <a:pt x="1553" y="536"/>
                </a:cubicBezTo>
                <a:cubicBezTo>
                  <a:pt x="1564" y="536"/>
                  <a:pt x="1573" y="543"/>
                  <a:pt x="1576" y="552"/>
                </a:cubicBezTo>
                <a:lnTo>
                  <a:pt x="1622" y="552"/>
                </a:lnTo>
                <a:lnTo>
                  <a:pt x="1630" y="543"/>
                </a:lnTo>
                <a:lnTo>
                  <a:pt x="1630" y="543"/>
                </a:lnTo>
                <a:lnTo>
                  <a:pt x="1699" y="467"/>
                </a:lnTo>
                <a:cubicBezTo>
                  <a:pt x="1683" y="451"/>
                  <a:pt x="1666" y="436"/>
                  <a:pt x="1648" y="421"/>
                </a:cubicBezTo>
                <a:lnTo>
                  <a:pt x="1584" y="482"/>
                </a:lnTo>
                <a:lnTo>
                  <a:pt x="1475" y="482"/>
                </a:lnTo>
                <a:lnTo>
                  <a:pt x="1470" y="486"/>
                </a:lnTo>
                <a:cubicBezTo>
                  <a:pt x="1467" y="486"/>
                  <a:pt x="1463" y="485"/>
                  <a:pt x="1460" y="484"/>
                </a:cubicBezTo>
                <a:lnTo>
                  <a:pt x="1472" y="473"/>
                </a:lnTo>
                <a:lnTo>
                  <a:pt x="1581" y="473"/>
                </a:lnTo>
                <a:lnTo>
                  <a:pt x="1641" y="415"/>
                </a:lnTo>
                <a:cubicBezTo>
                  <a:pt x="1577" y="363"/>
                  <a:pt x="1504" y="320"/>
                  <a:pt x="1425" y="289"/>
                </a:cubicBezTo>
                <a:cubicBezTo>
                  <a:pt x="1421" y="294"/>
                  <a:pt x="1415" y="296"/>
                  <a:pt x="1408" y="296"/>
                </a:cubicBezTo>
                <a:lnTo>
                  <a:pt x="1408" y="296"/>
                </a:lnTo>
                <a:cubicBezTo>
                  <a:pt x="1395" y="296"/>
                  <a:pt x="1384" y="287"/>
                  <a:pt x="1383" y="274"/>
                </a:cubicBezTo>
                <a:cubicBezTo>
                  <a:pt x="1305" y="249"/>
                  <a:pt x="1223" y="235"/>
                  <a:pt x="1137" y="235"/>
                </a:cubicBezTo>
                <a:cubicBezTo>
                  <a:pt x="1097" y="235"/>
                  <a:pt x="1059" y="238"/>
                  <a:pt x="1021" y="244"/>
                </a:cubicBezTo>
                <a:cubicBezTo>
                  <a:pt x="1021" y="244"/>
                  <a:pt x="1022" y="244"/>
                  <a:pt x="1023" y="244"/>
                </a:cubicBezTo>
                <a:lnTo>
                  <a:pt x="1023" y="245"/>
                </a:lnTo>
                <a:lnTo>
                  <a:pt x="1023" y="244"/>
                </a:lnTo>
                <a:cubicBezTo>
                  <a:pt x="1033" y="248"/>
                  <a:pt x="1040" y="257"/>
                  <a:pt x="1040" y="268"/>
                </a:cubicBezTo>
                <a:cubicBezTo>
                  <a:pt x="1040" y="282"/>
                  <a:pt x="1029" y="294"/>
                  <a:pt x="1015" y="294"/>
                </a:cubicBezTo>
                <a:lnTo>
                  <a:pt x="1015" y="294"/>
                </a:lnTo>
                <a:cubicBezTo>
                  <a:pt x="1001" y="294"/>
                  <a:pt x="990" y="282"/>
                  <a:pt x="990" y="268"/>
                </a:cubicBezTo>
                <a:cubicBezTo>
                  <a:pt x="990" y="265"/>
                  <a:pt x="991" y="261"/>
                  <a:pt x="992" y="258"/>
                </a:cubicBezTo>
                <a:lnTo>
                  <a:pt x="997" y="256"/>
                </a:lnTo>
                <a:lnTo>
                  <a:pt x="992" y="258"/>
                </a:lnTo>
                <a:cubicBezTo>
                  <a:pt x="994" y="253"/>
                  <a:pt x="998" y="249"/>
                  <a:pt x="1002" y="247"/>
                </a:cubicBezTo>
                <a:cubicBezTo>
                  <a:pt x="909" y="263"/>
                  <a:pt x="822" y="294"/>
                  <a:pt x="743" y="339"/>
                </a:cubicBezTo>
                <a:lnTo>
                  <a:pt x="743" y="376"/>
                </a:lnTo>
                <a:lnTo>
                  <a:pt x="769" y="401"/>
                </a:lnTo>
                <a:lnTo>
                  <a:pt x="769" y="401"/>
                </a:lnTo>
                <a:lnTo>
                  <a:pt x="769" y="401"/>
                </a:lnTo>
                <a:lnTo>
                  <a:pt x="826" y="455"/>
                </a:lnTo>
                <a:lnTo>
                  <a:pt x="826" y="455"/>
                </a:lnTo>
                <a:lnTo>
                  <a:pt x="842" y="470"/>
                </a:lnTo>
                <a:lnTo>
                  <a:pt x="951" y="470"/>
                </a:lnTo>
                <a:lnTo>
                  <a:pt x="972" y="490"/>
                </a:lnTo>
                <a:cubicBezTo>
                  <a:pt x="1024" y="474"/>
                  <a:pt x="1079" y="465"/>
                  <a:pt x="1137" y="465"/>
                </a:cubicBezTo>
                <a:cubicBezTo>
                  <a:pt x="1195" y="465"/>
                  <a:pt x="1250" y="474"/>
                  <a:pt x="1303" y="490"/>
                </a:cubicBezTo>
                <a:cubicBezTo>
                  <a:pt x="1332" y="499"/>
                  <a:pt x="1359" y="510"/>
                  <a:pt x="1386" y="523"/>
                </a:cubicBezTo>
                <a:cubicBezTo>
                  <a:pt x="1390" y="515"/>
                  <a:pt x="1398" y="510"/>
                  <a:pt x="1408" y="510"/>
                </a:cubicBezTo>
                <a:cubicBezTo>
                  <a:pt x="1415" y="510"/>
                  <a:pt x="1421" y="512"/>
                  <a:pt x="1426" y="517"/>
                </a:cubicBezTo>
                <a:lnTo>
                  <a:pt x="1460" y="484"/>
                </a:lnTo>
                <a:cubicBezTo>
                  <a:pt x="1463" y="485"/>
                  <a:pt x="1467" y="486"/>
                  <a:pt x="1470" y="486"/>
                </a:cubicBezTo>
                <a:lnTo>
                  <a:pt x="1431" y="524"/>
                </a:lnTo>
                <a:lnTo>
                  <a:pt x="1431" y="524"/>
                </a:lnTo>
                <a:cubicBezTo>
                  <a:pt x="1432" y="528"/>
                  <a:pt x="1433" y="531"/>
                  <a:pt x="1433" y="535"/>
                </a:cubicBezTo>
                <a:cubicBezTo>
                  <a:pt x="1433" y="539"/>
                  <a:pt x="1432" y="543"/>
                  <a:pt x="1430" y="547"/>
                </a:cubicBezTo>
                <a:cubicBezTo>
                  <a:pt x="1439" y="552"/>
                  <a:pt x="1447" y="558"/>
                  <a:pt x="1455" y="563"/>
                </a:cubicBezTo>
                <a:lnTo>
                  <a:pt x="1427" y="605"/>
                </a:lnTo>
                <a:cubicBezTo>
                  <a:pt x="1385" y="576"/>
                  <a:pt x="1338" y="554"/>
                  <a:pt x="1288" y="538"/>
                </a:cubicBezTo>
                <a:cubicBezTo>
                  <a:pt x="1240" y="524"/>
                  <a:pt x="1189" y="516"/>
                  <a:pt x="1137" y="516"/>
                </a:cubicBezTo>
                <a:cubicBezTo>
                  <a:pt x="1103" y="516"/>
                  <a:pt x="1071" y="519"/>
                  <a:pt x="1039" y="525"/>
                </a:cubicBezTo>
                <a:cubicBezTo>
                  <a:pt x="1040" y="528"/>
                  <a:pt x="1040" y="530"/>
                  <a:pt x="1040" y="532"/>
                </a:cubicBezTo>
                <a:cubicBezTo>
                  <a:pt x="1040" y="546"/>
                  <a:pt x="1029" y="557"/>
                  <a:pt x="1015" y="557"/>
                </a:cubicBezTo>
                <a:lnTo>
                  <a:pt x="1015" y="557"/>
                </a:lnTo>
                <a:cubicBezTo>
                  <a:pt x="1003" y="557"/>
                  <a:pt x="993" y="549"/>
                  <a:pt x="990" y="537"/>
                </a:cubicBezTo>
                <a:cubicBezTo>
                  <a:pt x="940" y="552"/>
                  <a:pt x="894" y="574"/>
                  <a:pt x="851" y="603"/>
                </a:cubicBezTo>
                <a:cubicBezTo>
                  <a:pt x="839" y="611"/>
                  <a:pt x="827" y="619"/>
                  <a:pt x="816" y="628"/>
                </a:cubicBezTo>
                <a:lnTo>
                  <a:pt x="1011" y="628"/>
                </a:lnTo>
                <a:lnTo>
                  <a:pt x="998" y="591"/>
                </a:lnTo>
                <a:cubicBezTo>
                  <a:pt x="1022" y="583"/>
                  <a:pt x="1047" y="576"/>
                  <a:pt x="1073" y="572"/>
                </a:cubicBezTo>
                <a:cubicBezTo>
                  <a:pt x="1098" y="567"/>
                  <a:pt x="1124" y="565"/>
                  <a:pt x="1150" y="565"/>
                </a:cubicBezTo>
                <a:cubicBezTo>
                  <a:pt x="1236" y="565"/>
                  <a:pt x="1317" y="589"/>
                  <a:pt x="1386" y="631"/>
                </a:cubicBezTo>
                <a:lnTo>
                  <a:pt x="1610" y="631"/>
                </a:lnTo>
                <a:lnTo>
                  <a:pt x="1610" y="631"/>
                </a:lnTo>
                <a:lnTo>
                  <a:pt x="1640" y="631"/>
                </a:lnTo>
                <a:lnTo>
                  <a:pt x="1692" y="581"/>
                </a:lnTo>
                <a:lnTo>
                  <a:pt x="1692" y="581"/>
                </a:lnTo>
                <a:lnTo>
                  <a:pt x="1750" y="524"/>
                </a:lnTo>
                <a:cubicBezTo>
                  <a:pt x="1736" y="506"/>
                  <a:pt x="1721" y="490"/>
                  <a:pt x="1705" y="473"/>
                </a:cubicBezTo>
                <a:lnTo>
                  <a:pt x="1638" y="547"/>
                </a:lnTo>
                <a:lnTo>
                  <a:pt x="1638" y="547"/>
                </a:lnTo>
                <a:lnTo>
                  <a:pt x="1626" y="561"/>
                </a:lnTo>
                <a:lnTo>
                  <a:pt x="1626" y="561"/>
                </a:lnTo>
                <a:lnTo>
                  <a:pt x="1578" y="561"/>
                </a:lnTo>
                <a:lnTo>
                  <a:pt x="1578" y="560"/>
                </a:lnTo>
                <a:lnTo>
                  <a:pt x="1578" y="561"/>
                </a:lnTo>
                <a:cubicBezTo>
                  <a:pt x="1578" y="561"/>
                  <a:pt x="1578" y="561"/>
                  <a:pt x="1578" y="561"/>
                </a:cubicBezTo>
                <a:cubicBezTo>
                  <a:pt x="1578" y="575"/>
                  <a:pt x="1567" y="587"/>
                  <a:pt x="1553" y="587"/>
                </a:cubicBezTo>
                <a:close/>
                <a:moveTo>
                  <a:pt x="1578" y="555"/>
                </a:moveTo>
                <a:cubicBezTo>
                  <a:pt x="1578" y="557"/>
                  <a:pt x="1578" y="559"/>
                  <a:pt x="1578" y="560"/>
                </a:cubicBezTo>
                <a:cubicBezTo>
                  <a:pt x="1578" y="559"/>
                  <a:pt x="1578" y="557"/>
                  <a:pt x="1578" y="555"/>
                </a:cubicBezTo>
                <a:close/>
                <a:moveTo>
                  <a:pt x="1426" y="518"/>
                </a:moveTo>
                <a:cubicBezTo>
                  <a:pt x="1428" y="519"/>
                  <a:pt x="1429" y="521"/>
                  <a:pt x="1430" y="523"/>
                </a:cubicBezTo>
                <a:cubicBezTo>
                  <a:pt x="1429" y="521"/>
                  <a:pt x="1428" y="519"/>
                  <a:pt x="1426" y="518"/>
                </a:cubicBezTo>
                <a:close/>
                <a:moveTo>
                  <a:pt x="563" y="1237"/>
                </a:moveTo>
                <a:lnTo>
                  <a:pt x="564" y="1240"/>
                </a:lnTo>
                <a:cubicBezTo>
                  <a:pt x="563" y="1239"/>
                  <a:pt x="563" y="1238"/>
                  <a:pt x="563" y="1237"/>
                </a:cubicBezTo>
                <a:close/>
                <a:moveTo>
                  <a:pt x="490" y="1269"/>
                </a:moveTo>
                <a:cubicBezTo>
                  <a:pt x="490" y="1267"/>
                  <a:pt x="489" y="1265"/>
                  <a:pt x="489" y="1263"/>
                </a:cubicBezTo>
                <a:cubicBezTo>
                  <a:pt x="489" y="1265"/>
                  <a:pt x="490" y="1267"/>
                  <a:pt x="490" y="1269"/>
                </a:cubicBezTo>
                <a:close/>
                <a:moveTo>
                  <a:pt x="1020" y="270"/>
                </a:moveTo>
                <a:lnTo>
                  <a:pt x="1011" y="270"/>
                </a:lnTo>
                <a:lnTo>
                  <a:pt x="1011" y="249"/>
                </a:lnTo>
                <a:lnTo>
                  <a:pt x="1011" y="249"/>
                </a:lnTo>
                <a:lnTo>
                  <a:pt x="1011" y="270"/>
                </a:lnTo>
                <a:lnTo>
                  <a:pt x="1020" y="270"/>
                </a:lnTo>
                <a:close/>
                <a:moveTo>
                  <a:pt x="1019" y="246"/>
                </a:moveTo>
                <a:lnTo>
                  <a:pt x="1020" y="246"/>
                </a:lnTo>
                <a:lnTo>
                  <a:pt x="1020" y="246"/>
                </a:lnTo>
                <a:lnTo>
                  <a:pt x="1019" y="246"/>
                </a:lnTo>
                <a:close/>
                <a:moveTo>
                  <a:pt x="1020" y="244"/>
                </a:moveTo>
                <a:lnTo>
                  <a:pt x="1020" y="246"/>
                </a:lnTo>
                <a:lnTo>
                  <a:pt x="1020" y="246"/>
                </a:lnTo>
                <a:lnTo>
                  <a:pt x="1020" y="244"/>
                </a:lnTo>
                <a:close/>
                <a:moveTo>
                  <a:pt x="819" y="460"/>
                </a:moveTo>
                <a:lnTo>
                  <a:pt x="763" y="407"/>
                </a:lnTo>
                <a:lnTo>
                  <a:pt x="765" y="405"/>
                </a:lnTo>
                <a:cubicBezTo>
                  <a:pt x="764" y="405"/>
                  <a:pt x="764" y="406"/>
                  <a:pt x="763" y="407"/>
                </a:cubicBezTo>
                <a:lnTo>
                  <a:pt x="763" y="407"/>
                </a:lnTo>
                <a:lnTo>
                  <a:pt x="735" y="380"/>
                </a:lnTo>
                <a:lnTo>
                  <a:pt x="735" y="344"/>
                </a:lnTo>
                <a:cubicBezTo>
                  <a:pt x="715" y="356"/>
                  <a:pt x="696" y="368"/>
                  <a:pt x="677" y="381"/>
                </a:cubicBezTo>
                <a:lnTo>
                  <a:pt x="677" y="413"/>
                </a:lnTo>
                <a:lnTo>
                  <a:pt x="714" y="454"/>
                </a:lnTo>
                <a:lnTo>
                  <a:pt x="714" y="454"/>
                </a:lnTo>
                <a:lnTo>
                  <a:pt x="767" y="511"/>
                </a:lnTo>
                <a:cubicBezTo>
                  <a:pt x="765" y="513"/>
                  <a:pt x="764" y="514"/>
                  <a:pt x="763" y="516"/>
                </a:cubicBezTo>
                <a:lnTo>
                  <a:pt x="763" y="516"/>
                </a:lnTo>
                <a:cubicBezTo>
                  <a:pt x="764" y="514"/>
                  <a:pt x="765" y="513"/>
                  <a:pt x="767" y="511"/>
                </a:cubicBezTo>
                <a:lnTo>
                  <a:pt x="801" y="549"/>
                </a:lnTo>
                <a:lnTo>
                  <a:pt x="840" y="549"/>
                </a:lnTo>
                <a:cubicBezTo>
                  <a:pt x="843" y="548"/>
                  <a:pt x="846" y="546"/>
                  <a:pt x="849" y="544"/>
                </a:cubicBezTo>
                <a:cubicBezTo>
                  <a:pt x="853" y="538"/>
                  <a:pt x="860" y="534"/>
                  <a:pt x="868" y="533"/>
                </a:cubicBezTo>
                <a:cubicBezTo>
                  <a:pt x="898" y="517"/>
                  <a:pt x="930" y="504"/>
                  <a:pt x="962" y="493"/>
                </a:cubicBezTo>
                <a:lnTo>
                  <a:pt x="948" y="479"/>
                </a:lnTo>
                <a:lnTo>
                  <a:pt x="838" y="479"/>
                </a:lnTo>
                <a:lnTo>
                  <a:pt x="819" y="460"/>
                </a:lnTo>
                <a:lnTo>
                  <a:pt x="819" y="460"/>
                </a:lnTo>
                <a:close/>
                <a:moveTo>
                  <a:pt x="759" y="512"/>
                </a:moveTo>
                <a:lnTo>
                  <a:pt x="737" y="492"/>
                </a:lnTo>
                <a:lnTo>
                  <a:pt x="708" y="460"/>
                </a:lnTo>
                <a:lnTo>
                  <a:pt x="708" y="460"/>
                </a:lnTo>
                <a:lnTo>
                  <a:pt x="708" y="460"/>
                </a:lnTo>
                <a:lnTo>
                  <a:pt x="669" y="416"/>
                </a:lnTo>
                <a:lnTo>
                  <a:pt x="669" y="387"/>
                </a:lnTo>
                <a:cubicBezTo>
                  <a:pt x="643" y="406"/>
                  <a:pt x="619" y="425"/>
                  <a:pt x="596" y="447"/>
                </a:cubicBezTo>
                <a:lnTo>
                  <a:pt x="761" y="608"/>
                </a:lnTo>
                <a:cubicBezTo>
                  <a:pt x="781" y="591"/>
                  <a:pt x="802" y="575"/>
                  <a:pt x="823" y="560"/>
                </a:cubicBezTo>
                <a:lnTo>
                  <a:pt x="827" y="558"/>
                </a:lnTo>
                <a:lnTo>
                  <a:pt x="797" y="558"/>
                </a:lnTo>
                <a:lnTo>
                  <a:pt x="737" y="492"/>
                </a:lnTo>
                <a:lnTo>
                  <a:pt x="759" y="512"/>
                </a:lnTo>
                <a:close/>
                <a:moveTo>
                  <a:pt x="710" y="459"/>
                </a:moveTo>
                <a:cubicBezTo>
                  <a:pt x="711" y="457"/>
                  <a:pt x="712" y="456"/>
                  <a:pt x="713" y="455"/>
                </a:cubicBezTo>
                <a:cubicBezTo>
                  <a:pt x="712" y="456"/>
                  <a:pt x="711" y="457"/>
                  <a:pt x="710" y="459"/>
                </a:cubicBezTo>
                <a:close/>
                <a:moveTo>
                  <a:pt x="1403" y="227"/>
                </a:moveTo>
                <a:lnTo>
                  <a:pt x="1403" y="88"/>
                </a:lnTo>
                <a:moveTo>
                  <a:pt x="1411" y="90"/>
                </a:moveTo>
                <a:lnTo>
                  <a:pt x="1411" y="230"/>
                </a:lnTo>
                <a:moveTo>
                  <a:pt x="845" y="1650"/>
                </a:moveTo>
                <a:cubicBezTo>
                  <a:pt x="845" y="1648"/>
                  <a:pt x="846" y="1646"/>
                  <a:pt x="846" y="1644"/>
                </a:cubicBezTo>
                <a:lnTo>
                  <a:pt x="877" y="1644"/>
                </a:lnTo>
                <a:lnTo>
                  <a:pt x="877" y="1652"/>
                </a:lnTo>
                <a:lnTo>
                  <a:pt x="877" y="1652"/>
                </a:lnTo>
                <a:lnTo>
                  <a:pt x="877" y="1644"/>
                </a:lnTo>
                <a:lnTo>
                  <a:pt x="846" y="1644"/>
                </a:lnTo>
                <a:cubicBezTo>
                  <a:pt x="850" y="1634"/>
                  <a:pt x="859" y="1627"/>
                  <a:pt x="870" y="1627"/>
                </a:cubicBezTo>
                <a:cubicBezTo>
                  <a:pt x="884" y="1627"/>
                  <a:pt x="895" y="1639"/>
                  <a:pt x="895" y="1653"/>
                </a:cubicBezTo>
                <a:cubicBezTo>
                  <a:pt x="895" y="1667"/>
                  <a:pt x="884" y="1678"/>
                  <a:pt x="870" y="1678"/>
                </a:cubicBezTo>
                <a:lnTo>
                  <a:pt x="870" y="1678"/>
                </a:lnTo>
                <a:cubicBezTo>
                  <a:pt x="856" y="1678"/>
                  <a:pt x="845" y="1667"/>
                  <a:pt x="845" y="1653"/>
                </a:cubicBezTo>
                <a:lnTo>
                  <a:pt x="845" y="1652"/>
                </a:lnTo>
                <a:lnTo>
                  <a:pt x="845" y="1652"/>
                </a:lnTo>
                <a:lnTo>
                  <a:pt x="794" y="1652"/>
                </a:lnTo>
                <a:cubicBezTo>
                  <a:pt x="791" y="1649"/>
                  <a:pt x="788" y="1647"/>
                  <a:pt x="785" y="1644"/>
                </a:cubicBezTo>
                <a:lnTo>
                  <a:pt x="846" y="1644"/>
                </a:lnTo>
                <a:cubicBezTo>
                  <a:pt x="845" y="1646"/>
                  <a:pt x="845" y="1648"/>
                  <a:pt x="845" y="1650"/>
                </a:cubicBezTo>
                <a:close/>
                <a:moveTo>
                  <a:pt x="846" y="1077"/>
                </a:moveTo>
                <a:lnTo>
                  <a:pt x="877" y="1077"/>
                </a:lnTo>
                <a:lnTo>
                  <a:pt x="877" y="1085"/>
                </a:lnTo>
                <a:lnTo>
                  <a:pt x="877" y="1085"/>
                </a:lnTo>
                <a:lnTo>
                  <a:pt x="877" y="1077"/>
                </a:lnTo>
                <a:lnTo>
                  <a:pt x="846" y="1077"/>
                </a:lnTo>
                <a:close/>
                <a:moveTo>
                  <a:pt x="341" y="1077"/>
                </a:moveTo>
                <a:lnTo>
                  <a:pt x="571" y="1077"/>
                </a:lnTo>
                <a:cubicBezTo>
                  <a:pt x="569" y="1058"/>
                  <a:pt x="569" y="1038"/>
                  <a:pt x="569" y="1019"/>
                </a:cubicBezTo>
                <a:lnTo>
                  <a:pt x="390" y="1019"/>
                </a:lnTo>
                <a:lnTo>
                  <a:pt x="341" y="977"/>
                </a:lnTo>
                <a:cubicBezTo>
                  <a:pt x="340" y="995"/>
                  <a:pt x="339" y="1014"/>
                  <a:pt x="339" y="1033"/>
                </a:cubicBezTo>
                <a:cubicBezTo>
                  <a:pt x="339" y="1047"/>
                  <a:pt x="340" y="1062"/>
                  <a:pt x="341" y="1077"/>
                </a:cubicBezTo>
                <a:close/>
                <a:moveTo>
                  <a:pt x="622" y="1077"/>
                </a:moveTo>
                <a:lnTo>
                  <a:pt x="659" y="1077"/>
                </a:lnTo>
                <a:cubicBezTo>
                  <a:pt x="657" y="1058"/>
                  <a:pt x="656" y="1039"/>
                  <a:pt x="657" y="1019"/>
                </a:cubicBezTo>
                <a:lnTo>
                  <a:pt x="620" y="1019"/>
                </a:lnTo>
                <a:cubicBezTo>
                  <a:pt x="619" y="1038"/>
                  <a:pt x="620" y="1058"/>
                  <a:pt x="622" y="1077"/>
                </a:cubicBezTo>
                <a:close/>
                <a:moveTo>
                  <a:pt x="1134" y="1230"/>
                </a:moveTo>
                <a:lnTo>
                  <a:pt x="1126" y="1222"/>
                </a:lnTo>
                <a:lnTo>
                  <a:pt x="1134" y="1230"/>
                </a:lnTo>
                <a:close/>
                <a:moveTo>
                  <a:pt x="1124" y="1220"/>
                </a:moveTo>
                <a:lnTo>
                  <a:pt x="1124" y="1220"/>
                </a:lnTo>
                <a:cubicBezTo>
                  <a:pt x="1125" y="1217"/>
                  <a:pt x="1127" y="1215"/>
                  <a:pt x="1129" y="1212"/>
                </a:cubicBezTo>
                <a:lnTo>
                  <a:pt x="1129" y="1212"/>
                </a:lnTo>
                <a:cubicBezTo>
                  <a:pt x="1134" y="1208"/>
                  <a:pt x="1140" y="1206"/>
                  <a:pt x="1147" y="1206"/>
                </a:cubicBezTo>
                <a:cubicBezTo>
                  <a:pt x="1161" y="1206"/>
                  <a:pt x="1172" y="1217"/>
                  <a:pt x="1172" y="1231"/>
                </a:cubicBezTo>
                <a:cubicBezTo>
                  <a:pt x="1172" y="1245"/>
                  <a:pt x="1161" y="1256"/>
                  <a:pt x="1147" y="1256"/>
                </a:cubicBezTo>
                <a:lnTo>
                  <a:pt x="1147" y="1256"/>
                </a:lnTo>
                <a:cubicBezTo>
                  <a:pt x="1133" y="1256"/>
                  <a:pt x="1121" y="1245"/>
                  <a:pt x="1121" y="1231"/>
                </a:cubicBezTo>
                <a:cubicBezTo>
                  <a:pt x="1121" y="1227"/>
                  <a:pt x="1122" y="1223"/>
                  <a:pt x="1124" y="1220"/>
                </a:cubicBezTo>
                <a:close/>
                <a:moveTo>
                  <a:pt x="1141" y="1225"/>
                </a:moveTo>
                <a:lnTo>
                  <a:pt x="1136" y="1228"/>
                </a:lnTo>
                <a:lnTo>
                  <a:pt x="1141" y="1225"/>
                </a:lnTo>
                <a:close/>
                <a:moveTo>
                  <a:pt x="869" y="929"/>
                </a:moveTo>
                <a:lnTo>
                  <a:pt x="869" y="929"/>
                </a:lnTo>
                <a:cubicBezTo>
                  <a:pt x="869" y="929"/>
                  <a:pt x="870" y="929"/>
                  <a:pt x="870" y="929"/>
                </a:cubicBezTo>
                <a:cubicBezTo>
                  <a:pt x="884" y="929"/>
                  <a:pt x="895" y="940"/>
                  <a:pt x="895" y="954"/>
                </a:cubicBezTo>
                <a:cubicBezTo>
                  <a:pt x="895" y="968"/>
                  <a:pt x="884" y="979"/>
                  <a:pt x="870" y="979"/>
                </a:cubicBezTo>
                <a:lnTo>
                  <a:pt x="870" y="979"/>
                </a:lnTo>
                <a:cubicBezTo>
                  <a:pt x="859" y="979"/>
                  <a:pt x="850" y="973"/>
                  <a:pt x="846" y="964"/>
                </a:cubicBezTo>
                <a:lnTo>
                  <a:pt x="860" y="966"/>
                </a:lnTo>
                <a:cubicBezTo>
                  <a:pt x="860" y="964"/>
                  <a:pt x="861" y="961"/>
                  <a:pt x="861" y="959"/>
                </a:cubicBezTo>
                <a:moveTo>
                  <a:pt x="877" y="945"/>
                </a:moveTo>
                <a:lnTo>
                  <a:pt x="877" y="954"/>
                </a:lnTo>
                <a:lnTo>
                  <a:pt x="877" y="954"/>
                </a:lnTo>
                <a:lnTo>
                  <a:pt x="877" y="945"/>
                </a:lnTo>
                <a:close/>
                <a:moveTo>
                  <a:pt x="546" y="497"/>
                </a:moveTo>
                <a:lnTo>
                  <a:pt x="706" y="664"/>
                </a:lnTo>
                <a:cubicBezTo>
                  <a:pt x="721" y="646"/>
                  <a:pt x="738" y="629"/>
                  <a:pt x="755" y="614"/>
                </a:cubicBezTo>
                <a:lnTo>
                  <a:pt x="590" y="453"/>
                </a:lnTo>
                <a:cubicBezTo>
                  <a:pt x="584" y="458"/>
                  <a:pt x="578" y="463"/>
                  <a:pt x="573" y="469"/>
                </a:cubicBezTo>
                <a:cubicBezTo>
                  <a:pt x="564" y="478"/>
                  <a:pt x="555" y="487"/>
                  <a:pt x="546" y="497"/>
                </a:cubicBezTo>
                <a:close/>
                <a:moveTo>
                  <a:pt x="846" y="668"/>
                </a:moveTo>
                <a:lnTo>
                  <a:pt x="877" y="668"/>
                </a:lnTo>
                <a:lnTo>
                  <a:pt x="877" y="677"/>
                </a:lnTo>
                <a:lnTo>
                  <a:pt x="877" y="677"/>
                </a:lnTo>
                <a:lnTo>
                  <a:pt x="877" y="668"/>
                </a:lnTo>
                <a:lnTo>
                  <a:pt x="846" y="668"/>
                </a:lnTo>
                <a:close/>
                <a:moveTo>
                  <a:pt x="1018" y="1651"/>
                </a:moveTo>
                <a:lnTo>
                  <a:pt x="1011" y="1645"/>
                </a:lnTo>
                <a:lnTo>
                  <a:pt x="1018" y="1651"/>
                </a:lnTo>
                <a:close/>
                <a:moveTo>
                  <a:pt x="1023" y="1644"/>
                </a:moveTo>
                <a:lnTo>
                  <a:pt x="1019" y="1650"/>
                </a:lnTo>
                <a:lnTo>
                  <a:pt x="1023" y="1644"/>
                </a:lnTo>
                <a:close/>
                <a:moveTo>
                  <a:pt x="996" y="1762"/>
                </a:moveTo>
                <a:lnTo>
                  <a:pt x="993" y="1759"/>
                </a:lnTo>
                <a:cubicBezTo>
                  <a:pt x="995" y="1756"/>
                  <a:pt x="996" y="1754"/>
                  <a:pt x="999" y="1752"/>
                </a:cubicBezTo>
                <a:lnTo>
                  <a:pt x="999" y="1752"/>
                </a:lnTo>
                <a:cubicBezTo>
                  <a:pt x="1003" y="1748"/>
                  <a:pt x="1009" y="1746"/>
                  <a:pt x="1015" y="1746"/>
                </a:cubicBezTo>
                <a:cubicBezTo>
                  <a:pt x="1029" y="1746"/>
                  <a:pt x="1040" y="1757"/>
                  <a:pt x="1040" y="1771"/>
                </a:cubicBezTo>
                <a:cubicBezTo>
                  <a:pt x="1040" y="1785"/>
                  <a:pt x="1029" y="1797"/>
                  <a:pt x="1015" y="1797"/>
                </a:cubicBezTo>
                <a:lnTo>
                  <a:pt x="1015" y="1797"/>
                </a:lnTo>
                <a:cubicBezTo>
                  <a:pt x="1001" y="1797"/>
                  <a:pt x="990" y="1785"/>
                  <a:pt x="990" y="1771"/>
                </a:cubicBezTo>
                <a:cubicBezTo>
                  <a:pt x="990" y="1767"/>
                  <a:pt x="991" y="1762"/>
                  <a:pt x="993" y="1759"/>
                </a:cubicBezTo>
                <a:lnTo>
                  <a:pt x="996" y="1762"/>
                </a:lnTo>
                <a:close/>
                <a:moveTo>
                  <a:pt x="1009" y="1761"/>
                </a:moveTo>
                <a:lnTo>
                  <a:pt x="1013" y="1765"/>
                </a:lnTo>
                <a:lnTo>
                  <a:pt x="1013" y="1765"/>
                </a:lnTo>
                <a:lnTo>
                  <a:pt x="1013" y="1765"/>
                </a:lnTo>
                <a:lnTo>
                  <a:pt x="1009" y="1761"/>
                </a:lnTo>
                <a:close/>
                <a:moveTo>
                  <a:pt x="1005" y="806"/>
                </a:moveTo>
                <a:lnTo>
                  <a:pt x="999" y="812"/>
                </a:lnTo>
                <a:lnTo>
                  <a:pt x="1005" y="806"/>
                </a:lnTo>
                <a:close/>
                <a:moveTo>
                  <a:pt x="1014" y="531"/>
                </a:moveTo>
                <a:lnTo>
                  <a:pt x="1014" y="531"/>
                </a:lnTo>
                <a:lnTo>
                  <a:pt x="1014" y="531"/>
                </a:lnTo>
                <a:lnTo>
                  <a:pt x="1014" y="531"/>
                </a:lnTo>
                <a:close/>
                <a:moveTo>
                  <a:pt x="352" y="1491"/>
                </a:moveTo>
                <a:cubicBezTo>
                  <a:pt x="352" y="1490"/>
                  <a:pt x="351" y="1488"/>
                  <a:pt x="351" y="1486"/>
                </a:cubicBezTo>
                <a:lnTo>
                  <a:pt x="352" y="1491"/>
                </a:lnTo>
                <a:close/>
                <a:moveTo>
                  <a:pt x="1384" y="1544"/>
                </a:moveTo>
                <a:cubicBezTo>
                  <a:pt x="1434" y="1519"/>
                  <a:pt x="1482" y="1487"/>
                  <a:pt x="1524" y="1448"/>
                </a:cubicBezTo>
                <a:cubicBezTo>
                  <a:pt x="1564" y="1411"/>
                  <a:pt x="1599" y="1367"/>
                  <a:pt x="1628" y="1316"/>
                </a:cubicBezTo>
                <a:cubicBezTo>
                  <a:pt x="1686" y="1216"/>
                  <a:pt x="1709" y="1105"/>
                  <a:pt x="1702" y="997"/>
                </a:cubicBezTo>
                <a:cubicBezTo>
                  <a:pt x="1695" y="886"/>
                  <a:pt x="1656" y="779"/>
                  <a:pt x="1589" y="689"/>
                </a:cubicBezTo>
                <a:lnTo>
                  <a:pt x="1548" y="720"/>
                </a:lnTo>
                <a:cubicBezTo>
                  <a:pt x="1610" y="801"/>
                  <a:pt x="1645" y="899"/>
                  <a:pt x="1652" y="1001"/>
                </a:cubicBezTo>
                <a:cubicBezTo>
                  <a:pt x="1658" y="1099"/>
                  <a:pt x="1637" y="1200"/>
                  <a:pt x="1584" y="1291"/>
                </a:cubicBezTo>
                <a:cubicBezTo>
                  <a:pt x="1558" y="1337"/>
                  <a:pt x="1526" y="1377"/>
                  <a:pt x="1489" y="1411"/>
                </a:cubicBezTo>
                <a:cubicBezTo>
                  <a:pt x="1451" y="1447"/>
                  <a:pt x="1408" y="1476"/>
                  <a:pt x="1362" y="1498"/>
                </a:cubicBezTo>
                <a:lnTo>
                  <a:pt x="1384" y="1544"/>
                </a:lnTo>
                <a:close/>
              </a:path>
            </a:pathLst>
          </a:custGeom>
          <a:solidFill>
            <a:srgbClr val="323E48"/>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 name="Freeform 58">
            <a:extLst>
              <a:ext uri="{FF2B5EF4-FFF2-40B4-BE49-F238E27FC236}">
                <a16:creationId xmlns:a16="http://schemas.microsoft.com/office/drawing/2014/main" id="{033190D1-04DF-77E8-526C-9FC266FB1AD7}"/>
              </a:ext>
            </a:extLst>
          </p:cNvPr>
          <p:cNvSpPr>
            <a:spLocks noEditPoints="1"/>
          </p:cNvSpPr>
          <p:nvPr/>
        </p:nvSpPr>
        <p:spPr bwMode="auto">
          <a:xfrm>
            <a:off x="11287689" y="1936776"/>
            <a:ext cx="179375" cy="319375"/>
          </a:xfrm>
          <a:custGeom>
            <a:avLst/>
            <a:gdLst>
              <a:gd name="T0" fmla="*/ 286 w 287"/>
              <a:gd name="T1" fmla="*/ 71 h 511"/>
              <a:gd name="T2" fmla="*/ 213 w 287"/>
              <a:gd name="T3" fmla="*/ 0 h 511"/>
              <a:gd name="T4" fmla="*/ 80 w 287"/>
              <a:gd name="T5" fmla="*/ 0 h 511"/>
              <a:gd name="T6" fmla="*/ 76 w 287"/>
              <a:gd name="T7" fmla="*/ 0 h 511"/>
              <a:gd name="T8" fmla="*/ 3 w 287"/>
              <a:gd name="T9" fmla="*/ 71 h 511"/>
              <a:gd name="T10" fmla="*/ 0 w 287"/>
              <a:gd name="T11" fmla="*/ 79 h 511"/>
              <a:gd name="T12" fmla="*/ 0 w 287"/>
              <a:gd name="T13" fmla="*/ 79 h 511"/>
              <a:gd name="T14" fmla="*/ 4 w 287"/>
              <a:gd name="T15" fmla="*/ 121 h 511"/>
              <a:gd name="T16" fmla="*/ 19 w 287"/>
              <a:gd name="T17" fmla="*/ 117 h 511"/>
              <a:gd name="T18" fmla="*/ 70 w 287"/>
              <a:gd name="T19" fmla="*/ 102 h 511"/>
              <a:gd name="T20" fmla="*/ 3 w 287"/>
              <a:gd name="T21" fmla="*/ 169 h 511"/>
              <a:gd name="T22" fmla="*/ 0 w 287"/>
              <a:gd name="T23" fmla="*/ 211 h 511"/>
              <a:gd name="T24" fmla="*/ 16 w 287"/>
              <a:gd name="T25" fmla="*/ 216 h 511"/>
              <a:gd name="T26" fmla="*/ 19 w 287"/>
              <a:gd name="T27" fmla="*/ 185 h 511"/>
              <a:gd name="T28" fmla="*/ 23 w 287"/>
              <a:gd name="T29" fmla="*/ 490 h 511"/>
              <a:gd name="T30" fmla="*/ 19 w 287"/>
              <a:gd name="T31" fmla="*/ 505 h 511"/>
              <a:gd name="T32" fmla="*/ 35 w 287"/>
              <a:gd name="T33" fmla="*/ 511 h 511"/>
              <a:gd name="T34" fmla="*/ 41 w 287"/>
              <a:gd name="T35" fmla="*/ 501 h 511"/>
              <a:gd name="T36" fmla="*/ 249 w 287"/>
              <a:gd name="T37" fmla="*/ 508 h 511"/>
              <a:gd name="T38" fmla="*/ 265 w 287"/>
              <a:gd name="T39" fmla="*/ 510 h 511"/>
              <a:gd name="T40" fmla="*/ 217 w 287"/>
              <a:gd name="T41" fmla="*/ 202 h 511"/>
              <a:gd name="T42" fmla="*/ 268 w 287"/>
              <a:gd name="T43" fmla="*/ 211 h 511"/>
              <a:gd name="T44" fmla="*/ 284 w 287"/>
              <a:gd name="T45" fmla="*/ 216 h 511"/>
              <a:gd name="T46" fmla="*/ 287 w 287"/>
              <a:gd name="T47" fmla="*/ 173 h 511"/>
              <a:gd name="T48" fmla="*/ 286 w 287"/>
              <a:gd name="T49" fmla="*/ 169 h 511"/>
              <a:gd name="T50" fmla="*/ 217 w 287"/>
              <a:gd name="T51" fmla="*/ 88 h 511"/>
              <a:gd name="T52" fmla="*/ 268 w 287"/>
              <a:gd name="T53" fmla="*/ 121 h 511"/>
              <a:gd name="T54" fmla="*/ 287 w 287"/>
              <a:gd name="T55" fmla="*/ 121 h 511"/>
              <a:gd name="T56" fmla="*/ 287 w 287"/>
              <a:gd name="T57" fmla="*/ 74 h 511"/>
              <a:gd name="T58" fmla="*/ 70 w 287"/>
              <a:gd name="T59" fmla="*/ 166 h 511"/>
              <a:gd name="T60" fmla="*/ 70 w 287"/>
              <a:gd name="T61" fmla="*/ 33 h 511"/>
              <a:gd name="T62" fmla="*/ 70 w 287"/>
              <a:gd name="T63" fmla="*/ 33 h 511"/>
              <a:gd name="T64" fmla="*/ 214 w 287"/>
              <a:gd name="T65" fmla="*/ 298 h 511"/>
              <a:gd name="T66" fmla="*/ 89 w 287"/>
              <a:gd name="T67" fmla="*/ 123 h 511"/>
              <a:gd name="T68" fmla="*/ 89 w 287"/>
              <a:gd name="T69" fmla="*/ 166 h 511"/>
              <a:gd name="T70" fmla="*/ 176 w 287"/>
              <a:gd name="T71" fmla="*/ 19 h 511"/>
              <a:gd name="T72" fmla="*/ 198 w 287"/>
              <a:gd name="T73" fmla="*/ 196 h 511"/>
              <a:gd name="T74" fmla="*/ 108 w 287"/>
              <a:gd name="T75" fmla="*/ 185 h 511"/>
              <a:gd name="T76" fmla="*/ 144 w 287"/>
              <a:gd name="T77" fmla="*/ 159 h 511"/>
              <a:gd name="T78" fmla="*/ 176 w 287"/>
              <a:gd name="T79" fmla="*/ 88 h 511"/>
              <a:gd name="T80" fmla="*/ 93 w 287"/>
              <a:gd name="T81" fmla="*/ 100 h 511"/>
              <a:gd name="T82" fmla="*/ 199 w 287"/>
              <a:gd name="T83" fmla="*/ 123 h 511"/>
              <a:gd name="T84" fmla="*/ 161 w 287"/>
              <a:gd name="T85" fmla="*/ 147 h 511"/>
              <a:gd name="T86" fmla="*/ 182 w 287"/>
              <a:gd name="T87" fmla="*/ 68 h 511"/>
              <a:gd name="T88" fmla="*/ 199 w 287"/>
              <a:gd name="T89" fmla="*/ 68 h 511"/>
              <a:gd name="T90" fmla="*/ 149 w 287"/>
              <a:gd name="T91" fmla="*/ 68 h 511"/>
              <a:gd name="T92" fmla="*/ 89 w 287"/>
              <a:gd name="T93" fmla="*/ 29 h 511"/>
              <a:gd name="T94" fmla="*/ 89 w 287"/>
              <a:gd name="T95" fmla="*/ 68 h 511"/>
              <a:gd name="T96" fmla="*/ 86 w 287"/>
              <a:gd name="T97" fmla="*/ 219 h 511"/>
              <a:gd name="T98" fmla="*/ 143 w 287"/>
              <a:gd name="T99" fmla="*/ 386 h 511"/>
              <a:gd name="T100" fmla="*/ 216 w 287"/>
              <a:gd name="T101" fmla="*/ 324 h 511"/>
              <a:gd name="T102" fmla="*/ 67 w 287"/>
              <a:gd name="T103" fmla="*/ 347 h 511"/>
              <a:gd name="T104" fmla="*/ 158 w 287"/>
              <a:gd name="T105" fmla="*/ 400 h 511"/>
              <a:gd name="T106" fmla="*/ 217 w 287"/>
              <a:gd name="T107" fmla="*/ 166 h 511"/>
              <a:gd name="T108" fmla="*/ 217 w 287"/>
              <a:gd name="T109" fmla="*/ 166 h 511"/>
              <a:gd name="T110" fmla="*/ 254 w 287"/>
              <a:gd name="T111" fmla="*/ 6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7" h="511">
                <a:moveTo>
                  <a:pt x="287" y="74"/>
                </a:moveTo>
                <a:lnTo>
                  <a:pt x="287" y="74"/>
                </a:lnTo>
                <a:lnTo>
                  <a:pt x="286" y="71"/>
                </a:lnTo>
                <a:lnTo>
                  <a:pt x="216" y="3"/>
                </a:lnTo>
                <a:lnTo>
                  <a:pt x="216" y="3"/>
                </a:lnTo>
                <a:lnTo>
                  <a:pt x="213" y="0"/>
                </a:lnTo>
                <a:lnTo>
                  <a:pt x="208" y="0"/>
                </a:lnTo>
                <a:lnTo>
                  <a:pt x="208" y="0"/>
                </a:lnTo>
                <a:lnTo>
                  <a:pt x="80" y="0"/>
                </a:lnTo>
                <a:lnTo>
                  <a:pt x="79" y="0"/>
                </a:lnTo>
                <a:lnTo>
                  <a:pt x="79" y="0"/>
                </a:lnTo>
                <a:lnTo>
                  <a:pt x="76" y="0"/>
                </a:lnTo>
                <a:lnTo>
                  <a:pt x="73" y="3"/>
                </a:lnTo>
                <a:lnTo>
                  <a:pt x="3" y="71"/>
                </a:lnTo>
                <a:lnTo>
                  <a:pt x="3" y="71"/>
                </a:lnTo>
                <a:lnTo>
                  <a:pt x="1" y="74"/>
                </a:lnTo>
                <a:lnTo>
                  <a:pt x="0" y="74"/>
                </a:lnTo>
                <a:lnTo>
                  <a:pt x="0" y="79"/>
                </a:lnTo>
                <a:lnTo>
                  <a:pt x="0" y="79"/>
                </a:lnTo>
                <a:lnTo>
                  <a:pt x="0" y="79"/>
                </a:lnTo>
                <a:lnTo>
                  <a:pt x="0" y="79"/>
                </a:lnTo>
                <a:lnTo>
                  <a:pt x="0" y="117"/>
                </a:lnTo>
                <a:lnTo>
                  <a:pt x="0" y="121"/>
                </a:lnTo>
                <a:lnTo>
                  <a:pt x="4" y="121"/>
                </a:lnTo>
                <a:lnTo>
                  <a:pt x="16" y="121"/>
                </a:lnTo>
                <a:lnTo>
                  <a:pt x="19" y="121"/>
                </a:lnTo>
                <a:lnTo>
                  <a:pt x="19" y="117"/>
                </a:lnTo>
                <a:lnTo>
                  <a:pt x="19" y="88"/>
                </a:lnTo>
                <a:lnTo>
                  <a:pt x="70" y="88"/>
                </a:lnTo>
                <a:lnTo>
                  <a:pt x="70" y="102"/>
                </a:lnTo>
                <a:lnTo>
                  <a:pt x="3" y="169"/>
                </a:lnTo>
                <a:lnTo>
                  <a:pt x="3" y="169"/>
                </a:lnTo>
                <a:lnTo>
                  <a:pt x="3" y="169"/>
                </a:lnTo>
                <a:lnTo>
                  <a:pt x="0" y="169"/>
                </a:lnTo>
                <a:lnTo>
                  <a:pt x="0" y="173"/>
                </a:lnTo>
                <a:lnTo>
                  <a:pt x="0" y="211"/>
                </a:lnTo>
                <a:lnTo>
                  <a:pt x="0" y="216"/>
                </a:lnTo>
                <a:lnTo>
                  <a:pt x="4" y="216"/>
                </a:lnTo>
                <a:lnTo>
                  <a:pt x="16" y="216"/>
                </a:lnTo>
                <a:lnTo>
                  <a:pt x="19" y="216"/>
                </a:lnTo>
                <a:lnTo>
                  <a:pt x="19" y="211"/>
                </a:lnTo>
                <a:lnTo>
                  <a:pt x="19" y="185"/>
                </a:lnTo>
                <a:lnTo>
                  <a:pt x="70" y="185"/>
                </a:lnTo>
                <a:lnTo>
                  <a:pt x="70" y="202"/>
                </a:lnTo>
                <a:lnTo>
                  <a:pt x="23" y="490"/>
                </a:lnTo>
                <a:lnTo>
                  <a:pt x="19" y="491"/>
                </a:lnTo>
                <a:lnTo>
                  <a:pt x="21" y="493"/>
                </a:lnTo>
                <a:lnTo>
                  <a:pt x="19" y="505"/>
                </a:lnTo>
                <a:lnTo>
                  <a:pt x="19" y="508"/>
                </a:lnTo>
                <a:lnTo>
                  <a:pt x="23" y="510"/>
                </a:lnTo>
                <a:lnTo>
                  <a:pt x="35" y="511"/>
                </a:lnTo>
                <a:lnTo>
                  <a:pt x="38" y="511"/>
                </a:lnTo>
                <a:lnTo>
                  <a:pt x="39" y="508"/>
                </a:lnTo>
                <a:lnTo>
                  <a:pt x="41" y="501"/>
                </a:lnTo>
                <a:lnTo>
                  <a:pt x="143" y="412"/>
                </a:lnTo>
                <a:lnTo>
                  <a:pt x="248" y="502"/>
                </a:lnTo>
                <a:lnTo>
                  <a:pt x="249" y="508"/>
                </a:lnTo>
                <a:lnTo>
                  <a:pt x="249" y="511"/>
                </a:lnTo>
                <a:lnTo>
                  <a:pt x="254" y="511"/>
                </a:lnTo>
                <a:lnTo>
                  <a:pt x="265" y="510"/>
                </a:lnTo>
                <a:lnTo>
                  <a:pt x="269" y="508"/>
                </a:lnTo>
                <a:lnTo>
                  <a:pt x="269" y="505"/>
                </a:lnTo>
                <a:lnTo>
                  <a:pt x="217" y="202"/>
                </a:lnTo>
                <a:lnTo>
                  <a:pt x="217" y="185"/>
                </a:lnTo>
                <a:lnTo>
                  <a:pt x="268" y="185"/>
                </a:lnTo>
                <a:lnTo>
                  <a:pt x="268" y="211"/>
                </a:lnTo>
                <a:lnTo>
                  <a:pt x="268" y="216"/>
                </a:lnTo>
                <a:lnTo>
                  <a:pt x="272" y="216"/>
                </a:lnTo>
                <a:lnTo>
                  <a:pt x="284" y="216"/>
                </a:lnTo>
                <a:lnTo>
                  <a:pt x="287" y="216"/>
                </a:lnTo>
                <a:lnTo>
                  <a:pt x="287" y="211"/>
                </a:lnTo>
                <a:lnTo>
                  <a:pt x="287" y="173"/>
                </a:lnTo>
                <a:lnTo>
                  <a:pt x="287" y="169"/>
                </a:lnTo>
                <a:lnTo>
                  <a:pt x="286" y="169"/>
                </a:lnTo>
                <a:lnTo>
                  <a:pt x="286" y="169"/>
                </a:lnTo>
                <a:lnTo>
                  <a:pt x="286" y="169"/>
                </a:lnTo>
                <a:lnTo>
                  <a:pt x="217" y="102"/>
                </a:lnTo>
                <a:lnTo>
                  <a:pt x="217" y="88"/>
                </a:lnTo>
                <a:lnTo>
                  <a:pt x="268" y="88"/>
                </a:lnTo>
                <a:lnTo>
                  <a:pt x="268" y="117"/>
                </a:lnTo>
                <a:lnTo>
                  <a:pt x="268" y="121"/>
                </a:lnTo>
                <a:lnTo>
                  <a:pt x="272" y="121"/>
                </a:lnTo>
                <a:lnTo>
                  <a:pt x="284" y="121"/>
                </a:lnTo>
                <a:lnTo>
                  <a:pt x="287" y="121"/>
                </a:lnTo>
                <a:lnTo>
                  <a:pt x="287" y="117"/>
                </a:lnTo>
                <a:lnTo>
                  <a:pt x="287" y="79"/>
                </a:lnTo>
                <a:lnTo>
                  <a:pt x="287" y="74"/>
                </a:lnTo>
                <a:lnTo>
                  <a:pt x="287" y="74"/>
                </a:lnTo>
                <a:close/>
                <a:moveTo>
                  <a:pt x="70" y="129"/>
                </a:moveTo>
                <a:lnTo>
                  <a:pt x="70" y="166"/>
                </a:lnTo>
                <a:lnTo>
                  <a:pt x="33" y="166"/>
                </a:lnTo>
                <a:lnTo>
                  <a:pt x="70" y="129"/>
                </a:lnTo>
                <a:close/>
                <a:moveTo>
                  <a:pt x="70" y="33"/>
                </a:moveTo>
                <a:lnTo>
                  <a:pt x="70" y="68"/>
                </a:lnTo>
                <a:lnTo>
                  <a:pt x="33" y="68"/>
                </a:lnTo>
                <a:lnTo>
                  <a:pt x="70" y="33"/>
                </a:lnTo>
                <a:close/>
                <a:moveTo>
                  <a:pt x="160" y="252"/>
                </a:moveTo>
                <a:lnTo>
                  <a:pt x="201" y="219"/>
                </a:lnTo>
                <a:lnTo>
                  <a:pt x="214" y="298"/>
                </a:lnTo>
                <a:lnTo>
                  <a:pt x="160" y="252"/>
                </a:lnTo>
                <a:close/>
                <a:moveTo>
                  <a:pt x="89" y="166"/>
                </a:moveTo>
                <a:lnTo>
                  <a:pt x="89" y="123"/>
                </a:lnTo>
                <a:lnTo>
                  <a:pt x="126" y="147"/>
                </a:lnTo>
                <a:lnTo>
                  <a:pt x="102" y="166"/>
                </a:lnTo>
                <a:lnTo>
                  <a:pt x="89" y="166"/>
                </a:lnTo>
                <a:close/>
                <a:moveTo>
                  <a:pt x="144" y="42"/>
                </a:moveTo>
                <a:lnTo>
                  <a:pt x="111" y="19"/>
                </a:lnTo>
                <a:lnTo>
                  <a:pt x="176" y="19"/>
                </a:lnTo>
                <a:lnTo>
                  <a:pt x="144" y="42"/>
                </a:lnTo>
                <a:close/>
                <a:moveTo>
                  <a:pt x="181" y="185"/>
                </a:moveTo>
                <a:lnTo>
                  <a:pt x="198" y="196"/>
                </a:lnTo>
                <a:lnTo>
                  <a:pt x="144" y="240"/>
                </a:lnTo>
                <a:lnTo>
                  <a:pt x="91" y="196"/>
                </a:lnTo>
                <a:lnTo>
                  <a:pt x="108" y="185"/>
                </a:lnTo>
                <a:lnTo>
                  <a:pt x="181" y="185"/>
                </a:lnTo>
                <a:close/>
                <a:moveTo>
                  <a:pt x="135" y="166"/>
                </a:moveTo>
                <a:lnTo>
                  <a:pt x="144" y="159"/>
                </a:lnTo>
                <a:lnTo>
                  <a:pt x="152" y="166"/>
                </a:lnTo>
                <a:lnTo>
                  <a:pt x="135" y="166"/>
                </a:lnTo>
                <a:close/>
                <a:moveTo>
                  <a:pt x="176" y="88"/>
                </a:moveTo>
                <a:lnTo>
                  <a:pt x="195" y="100"/>
                </a:lnTo>
                <a:lnTo>
                  <a:pt x="144" y="135"/>
                </a:lnTo>
                <a:lnTo>
                  <a:pt x="93" y="100"/>
                </a:lnTo>
                <a:lnTo>
                  <a:pt x="111" y="88"/>
                </a:lnTo>
                <a:lnTo>
                  <a:pt x="176" y="88"/>
                </a:lnTo>
                <a:close/>
                <a:moveTo>
                  <a:pt x="199" y="123"/>
                </a:moveTo>
                <a:lnTo>
                  <a:pt x="199" y="166"/>
                </a:lnTo>
                <a:lnTo>
                  <a:pt x="187" y="166"/>
                </a:lnTo>
                <a:lnTo>
                  <a:pt x="161" y="147"/>
                </a:lnTo>
                <a:lnTo>
                  <a:pt x="199" y="123"/>
                </a:lnTo>
                <a:close/>
                <a:moveTo>
                  <a:pt x="199" y="68"/>
                </a:moveTo>
                <a:lnTo>
                  <a:pt x="182" y="68"/>
                </a:lnTo>
                <a:lnTo>
                  <a:pt x="161" y="53"/>
                </a:lnTo>
                <a:lnTo>
                  <a:pt x="199" y="29"/>
                </a:lnTo>
                <a:lnTo>
                  <a:pt x="199" y="68"/>
                </a:lnTo>
                <a:close/>
                <a:moveTo>
                  <a:pt x="140" y="68"/>
                </a:moveTo>
                <a:lnTo>
                  <a:pt x="144" y="65"/>
                </a:lnTo>
                <a:lnTo>
                  <a:pt x="149" y="68"/>
                </a:lnTo>
                <a:lnTo>
                  <a:pt x="140" y="68"/>
                </a:lnTo>
                <a:close/>
                <a:moveTo>
                  <a:pt x="89" y="68"/>
                </a:moveTo>
                <a:lnTo>
                  <a:pt x="89" y="29"/>
                </a:lnTo>
                <a:lnTo>
                  <a:pt x="126" y="53"/>
                </a:lnTo>
                <a:lnTo>
                  <a:pt x="105" y="68"/>
                </a:lnTo>
                <a:lnTo>
                  <a:pt x="89" y="68"/>
                </a:lnTo>
                <a:close/>
                <a:moveTo>
                  <a:pt x="129" y="252"/>
                </a:moveTo>
                <a:lnTo>
                  <a:pt x="74" y="298"/>
                </a:lnTo>
                <a:lnTo>
                  <a:pt x="86" y="219"/>
                </a:lnTo>
                <a:lnTo>
                  <a:pt x="129" y="252"/>
                </a:lnTo>
                <a:close/>
                <a:moveTo>
                  <a:pt x="216" y="324"/>
                </a:moveTo>
                <a:lnTo>
                  <a:pt x="143" y="386"/>
                </a:lnTo>
                <a:lnTo>
                  <a:pt x="71" y="325"/>
                </a:lnTo>
                <a:lnTo>
                  <a:pt x="144" y="266"/>
                </a:lnTo>
                <a:lnTo>
                  <a:pt x="216" y="324"/>
                </a:lnTo>
                <a:close/>
                <a:moveTo>
                  <a:pt x="128" y="400"/>
                </a:moveTo>
                <a:lnTo>
                  <a:pt x="45" y="470"/>
                </a:lnTo>
                <a:lnTo>
                  <a:pt x="67" y="347"/>
                </a:lnTo>
                <a:lnTo>
                  <a:pt x="128" y="400"/>
                </a:lnTo>
                <a:close/>
                <a:moveTo>
                  <a:pt x="243" y="472"/>
                </a:moveTo>
                <a:lnTo>
                  <a:pt x="158" y="400"/>
                </a:lnTo>
                <a:lnTo>
                  <a:pt x="222" y="345"/>
                </a:lnTo>
                <a:lnTo>
                  <a:pt x="243" y="472"/>
                </a:lnTo>
                <a:close/>
                <a:moveTo>
                  <a:pt x="217" y="166"/>
                </a:moveTo>
                <a:lnTo>
                  <a:pt x="217" y="129"/>
                </a:lnTo>
                <a:lnTo>
                  <a:pt x="254" y="166"/>
                </a:lnTo>
                <a:lnTo>
                  <a:pt x="217" y="166"/>
                </a:lnTo>
                <a:close/>
                <a:moveTo>
                  <a:pt x="217" y="68"/>
                </a:moveTo>
                <a:lnTo>
                  <a:pt x="217" y="33"/>
                </a:lnTo>
                <a:lnTo>
                  <a:pt x="254" y="68"/>
                </a:lnTo>
                <a:lnTo>
                  <a:pt x="217"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Tree>
    <p:extLst>
      <p:ext uri="{BB962C8B-B14F-4D97-AF65-F5344CB8AC3E}">
        <p14:creationId xmlns:p14="http://schemas.microsoft.com/office/powerpoint/2010/main" val="322238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wearing a hard hat and holding a flashlight&#10;&#10;Description automatically generated">
            <a:extLst>
              <a:ext uri="{FF2B5EF4-FFF2-40B4-BE49-F238E27FC236}">
                <a16:creationId xmlns:a16="http://schemas.microsoft.com/office/drawing/2014/main" id="{1921D602-BF7C-8E8C-31E3-FE0266C80D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7831" b="8264"/>
          <a:stretch/>
        </p:blipFill>
        <p:spPr>
          <a:xfrm>
            <a:off x="-7640" y="0"/>
            <a:ext cx="12199640" cy="6858000"/>
          </a:xfrm>
          <a:prstGeom prst="rect">
            <a:avLst/>
          </a:prstGeom>
        </p:spPr>
      </p:pic>
      <p:sp>
        <p:nvSpPr>
          <p:cNvPr id="5" name="Rectangle 4">
            <a:extLst>
              <a:ext uri="{FF2B5EF4-FFF2-40B4-BE49-F238E27FC236}">
                <a16:creationId xmlns:a16="http://schemas.microsoft.com/office/drawing/2014/main" id="{35B03DDB-9947-B89F-F2AB-555F812EA5F3}"/>
              </a:ext>
            </a:extLst>
          </p:cNvPr>
          <p:cNvSpPr/>
          <p:nvPr/>
        </p:nvSpPr>
        <p:spPr>
          <a:xfrm>
            <a:off x="0" y="0"/>
            <a:ext cx="12192000" cy="6858000"/>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1D5D8C84-5A62-4F9A-8498-4FA795CD3DF6}"/>
              </a:ext>
            </a:extLst>
          </p:cNvPr>
          <p:cNvSpPr txBox="1"/>
          <p:nvPr/>
        </p:nvSpPr>
        <p:spPr>
          <a:xfrm flipH="1">
            <a:off x="847740" y="2911876"/>
            <a:ext cx="75538" cy="887767"/>
          </a:xfrm>
          <a:prstGeom prst="rect">
            <a:avLst/>
          </a:prstGeom>
          <a:solidFill>
            <a:srgbClr val="00B0F0"/>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71066"/>
              </a:solidFill>
              <a:effectLst/>
              <a:uLnTx/>
              <a:uFillTx/>
              <a:latin typeface="Calibri" panose="020F0502020204030204"/>
              <a:ea typeface="+mn-ea"/>
              <a:cs typeface="+mn-cs"/>
            </a:endParaRPr>
          </a:p>
        </p:txBody>
      </p:sp>
      <p:sp>
        <p:nvSpPr>
          <p:cNvPr id="12" name="Title 7">
            <a:extLst>
              <a:ext uri="{FF2B5EF4-FFF2-40B4-BE49-F238E27FC236}">
                <a16:creationId xmlns:a16="http://schemas.microsoft.com/office/drawing/2014/main" id="{66449046-45CF-4FA3-8634-C2540490D9AD}"/>
              </a:ext>
            </a:extLst>
          </p:cNvPr>
          <p:cNvSpPr txBox="1">
            <a:spLocks/>
          </p:cNvSpPr>
          <p:nvPr/>
        </p:nvSpPr>
        <p:spPr>
          <a:xfrm>
            <a:off x="1211068" y="2392425"/>
            <a:ext cx="5125611" cy="19266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500" b="1" kern="1200">
                <a:solidFill>
                  <a:schemeClr val="bg1"/>
                </a:solidFill>
                <a:latin typeface="Century Gothic" panose="020B0502020202020204" pitchFamily="34" charset="0"/>
                <a:ea typeface="+mj-ea"/>
                <a:cs typeface="Calibri Light" panose="020F0302020204030204" pitchFamily="34" charset="0"/>
              </a:defRPr>
            </a:lvl1pPr>
          </a:lstStyle>
          <a:p>
            <a:r>
              <a:rPr lang="en-US" sz="3600" dirty="0"/>
              <a:t>Plan A</a:t>
            </a:r>
            <a:endParaRPr lang="en-US" sz="3600" b="1" dirty="0"/>
          </a:p>
        </p:txBody>
      </p:sp>
      <p:pic>
        <p:nvPicPr>
          <p:cNvPr id="6" name="Picture 5" descr="A picture containing text, clipart&#10;&#10;Description automatically generated">
            <a:extLst>
              <a:ext uri="{FF2B5EF4-FFF2-40B4-BE49-F238E27FC236}">
                <a16:creationId xmlns:a16="http://schemas.microsoft.com/office/drawing/2014/main" id="{9E212641-EC0F-7410-2B16-D447E94DC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973" y="5805264"/>
            <a:ext cx="2024619" cy="480763"/>
          </a:xfrm>
          <a:prstGeom prst="rect">
            <a:avLst/>
          </a:prstGeom>
        </p:spPr>
      </p:pic>
    </p:spTree>
    <p:extLst>
      <p:ext uri="{BB962C8B-B14F-4D97-AF65-F5344CB8AC3E}">
        <p14:creationId xmlns:p14="http://schemas.microsoft.com/office/powerpoint/2010/main" val="8670866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Plan A – Overview</a:t>
            </a:r>
          </a:p>
        </p:txBody>
      </p:sp>
      <p:pic>
        <p:nvPicPr>
          <p:cNvPr id="6" name="Picture 5">
            <a:extLst>
              <a:ext uri="{FF2B5EF4-FFF2-40B4-BE49-F238E27FC236}">
                <a16:creationId xmlns:a16="http://schemas.microsoft.com/office/drawing/2014/main" id="{23798DA8-C75F-7371-DB3C-07F6FB3BBE46}"/>
              </a:ext>
            </a:extLst>
          </p:cNvPr>
          <p:cNvPicPr>
            <a:picLocks noChangeAspect="1"/>
          </p:cNvPicPr>
          <p:nvPr/>
        </p:nvPicPr>
        <p:blipFill rotWithShape="1">
          <a:blip r:embed="rId3">
            <a:extLst>
              <a:ext uri="{28A0092B-C50C-407E-A947-70E740481C1C}">
                <a14:useLocalDpi xmlns:a14="http://schemas.microsoft.com/office/drawing/2010/main" val="0"/>
              </a:ext>
            </a:extLst>
          </a:blip>
          <a:srcRect t="37550" b="20791"/>
          <a:stretch/>
        </p:blipFill>
        <p:spPr>
          <a:xfrm>
            <a:off x="830787" y="2566557"/>
            <a:ext cx="10647640" cy="1798547"/>
          </a:xfrm>
          <a:prstGeom prst="rect">
            <a:avLst/>
          </a:prstGeom>
        </p:spPr>
      </p:pic>
      <p:sp>
        <p:nvSpPr>
          <p:cNvPr id="7" name="Rectangle 6">
            <a:extLst>
              <a:ext uri="{FF2B5EF4-FFF2-40B4-BE49-F238E27FC236}">
                <a16:creationId xmlns:a16="http://schemas.microsoft.com/office/drawing/2014/main" id="{2235C851-0427-76DD-E4D7-7A3E31E304B7}"/>
              </a:ext>
            </a:extLst>
          </p:cNvPr>
          <p:cNvSpPr/>
          <p:nvPr/>
        </p:nvSpPr>
        <p:spPr>
          <a:xfrm>
            <a:off x="830788" y="2566557"/>
            <a:ext cx="10647640" cy="1798547"/>
          </a:xfrm>
          <a:prstGeom prst="rect">
            <a:avLst/>
          </a:prstGeom>
          <a:solidFill>
            <a:schemeClr val="tx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51FC99C8-9C3F-8FC8-FC5C-C24337308FF6}"/>
              </a:ext>
            </a:extLst>
          </p:cNvPr>
          <p:cNvGrpSpPr/>
          <p:nvPr/>
        </p:nvGrpSpPr>
        <p:grpSpPr>
          <a:xfrm>
            <a:off x="839415" y="1124744"/>
            <a:ext cx="5256585" cy="1152127"/>
            <a:chOff x="839415" y="1124744"/>
            <a:chExt cx="5256585" cy="1152127"/>
          </a:xfrm>
        </p:grpSpPr>
        <p:sp>
          <p:nvSpPr>
            <p:cNvPr id="28" name="Rectangle 27">
              <a:extLst>
                <a:ext uri="{FF2B5EF4-FFF2-40B4-BE49-F238E27FC236}">
                  <a16:creationId xmlns:a16="http://schemas.microsoft.com/office/drawing/2014/main" id="{32868943-B1FF-7D5C-BF1C-868C806119D2}"/>
                </a:ext>
              </a:extLst>
            </p:cNvPr>
            <p:cNvSpPr/>
            <p:nvPr/>
          </p:nvSpPr>
          <p:spPr>
            <a:xfrm>
              <a:off x="839415" y="1124744"/>
              <a:ext cx="5184577" cy="115212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4D201F81-8942-3EA5-799F-E5BE5DBAD2CB}"/>
                </a:ext>
              </a:extLst>
            </p:cNvPr>
            <p:cNvSpPr txBox="1"/>
            <p:nvPr/>
          </p:nvSpPr>
          <p:spPr>
            <a:xfrm>
              <a:off x="924271" y="1268760"/>
              <a:ext cx="517172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ssumes that there is </a:t>
              </a:r>
              <a:r>
                <a:rPr lang="en-GB" sz="1600" dirty="0">
                  <a:solidFill>
                    <a:prstClr val="black"/>
                  </a:solidFill>
                  <a:latin typeface="Calibri" panose="020F0502020204030204" pitchFamily="34" charset="0"/>
                  <a:cs typeface="Calibri" panose="020F0502020204030204" pitchFamily="34" charset="0"/>
                </a:rPr>
                <a:t>an agreement reached with </a:t>
              </a:r>
              <a:r>
                <a:rPr lang="en-GB" sz="1600" dirty="0" err="1">
                  <a:solidFill>
                    <a:prstClr val="black"/>
                  </a:solidFill>
                  <a:latin typeface="Calibri" panose="020F0502020204030204" pitchFamily="34" charset="0"/>
                  <a:cs typeface="Calibri" panose="020F0502020204030204" pitchFamily="34" charset="0"/>
                </a:rPr>
                <a:t>Tameh</a:t>
              </a:r>
              <a:r>
                <a:rPr lang="en-GB" sz="1600" dirty="0">
                  <a:solidFill>
                    <a:prstClr val="black"/>
                  </a:solidFill>
                  <a:latin typeface="Calibri" panose="020F0502020204030204" pitchFamily="34" charset="0"/>
                  <a:cs typeface="Calibri" panose="020F0502020204030204" pitchFamily="34" charset="0"/>
                </a:rPr>
                <a:t> </a:t>
              </a: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y latest 30 April 2024.</a:t>
              </a:r>
            </a:p>
          </p:txBody>
        </p:sp>
      </p:grpSp>
      <p:sp>
        <p:nvSpPr>
          <p:cNvPr id="14" name="Rectangle 13">
            <a:extLst>
              <a:ext uri="{FF2B5EF4-FFF2-40B4-BE49-F238E27FC236}">
                <a16:creationId xmlns:a16="http://schemas.microsoft.com/office/drawing/2014/main" id="{3C41584C-8ADF-1469-058A-8CEE9AC88F97}"/>
              </a:ext>
            </a:extLst>
          </p:cNvPr>
          <p:cNvSpPr/>
          <p:nvPr/>
        </p:nvSpPr>
        <p:spPr>
          <a:xfrm>
            <a:off x="817939" y="4531592"/>
            <a:ext cx="10639012" cy="1431870"/>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DE9F390-CEB0-853E-E6D6-7272FF0EC244}"/>
              </a:ext>
            </a:extLst>
          </p:cNvPr>
          <p:cNvSpPr txBox="1"/>
          <p:nvPr/>
        </p:nvSpPr>
        <p:spPr>
          <a:xfrm>
            <a:off x="955971" y="4596963"/>
            <a:ext cx="10418089"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r Plan A to succeed, the business will need to seek an initial payment holiday from Creditors as follows: </a:t>
            </a:r>
          </a:p>
          <a:p>
            <a:pPr marL="285750" marR="0" lvl="0" indent="-285750" algn="l" defTabSz="914400" rtl="0" eaLnBrk="1" fontAlgn="auto" latinLnBrk="0" hangingPunct="1">
              <a:lnSpc>
                <a:spcPct val="100000"/>
              </a:lnSpc>
              <a:spcBef>
                <a:spcPts val="300"/>
              </a:spcBef>
              <a:spcAft>
                <a:spcPts val="300"/>
              </a:spcAft>
              <a:buClrTx/>
              <a:buSzPct val="75000"/>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sure 25% of dues are cleared before 30 June 2024 </a:t>
            </a:r>
          </a:p>
          <a:p>
            <a:pPr marL="285750" marR="0" lvl="0" indent="-285750" algn="l" defTabSz="914400" rtl="0" eaLnBrk="1" fontAlgn="auto" latinLnBrk="0" hangingPunct="1">
              <a:lnSpc>
                <a:spcPct val="100000"/>
              </a:lnSpc>
              <a:spcBef>
                <a:spcPts val="300"/>
              </a:spcBef>
              <a:spcAft>
                <a:spcPts val="300"/>
              </a:spcAft>
              <a:buClrTx/>
              <a:buSzPct val="75000"/>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lance of 75% to be cleared between Jan 2025 – Mar 2026</a:t>
            </a:r>
          </a:p>
        </p:txBody>
      </p:sp>
      <p:grpSp>
        <p:nvGrpSpPr>
          <p:cNvPr id="22" name="Group 21">
            <a:extLst>
              <a:ext uri="{FF2B5EF4-FFF2-40B4-BE49-F238E27FC236}">
                <a16:creationId xmlns:a16="http://schemas.microsoft.com/office/drawing/2014/main" id="{E471B30D-57AC-EF49-4599-83CA689BB43A}"/>
              </a:ext>
            </a:extLst>
          </p:cNvPr>
          <p:cNvGrpSpPr/>
          <p:nvPr/>
        </p:nvGrpSpPr>
        <p:grpSpPr>
          <a:xfrm>
            <a:off x="6272374" y="1124743"/>
            <a:ext cx="5184577" cy="1152127"/>
            <a:chOff x="6272374" y="1124743"/>
            <a:chExt cx="5184577" cy="1152127"/>
          </a:xfrm>
        </p:grpSpPr>
        <p:sp>
          <p:nvSpPr>
            <p:cNvPr id="8" name="TextBox 7">
              <a:extLst>
                <a:ext uri="{FF2B5EF4-FFF2-40B4-BE49-F238E27FC236}">
                  <a16:creationId xmlns:a16="http://schemas.microsoft.com/office/drawing/2014/main" id="{1DF1FE24-8EAE-1B57-2A6E-74CDD81CBA06}"/>
                </a:ext>
              </a:extLst>
            </p:cNvPr>
            <p:cNvSpPr txBox="1"/>
            <p:nvPr/>
          </p:nvSpPr>
          <p:spPr>
            <a:xfrm>
              <a:off x="6456040" y="1268760"/>
              <a:ext cx="489654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Under this scenario we will restart the Blast Furnace and facilities in June 2024, ramping up production gradually by July.</a:t>
              </a:r>
            </a:p>
          </p:txBody>
        </p:sp>
        <p:sp>
          <p:nvSpPr>
            <p:cNvPr id="20" name="Rectangle 19">
              <a:extLst>
                <a:ext uri="{FF2B5EF4-FFF2-40B4-BE49-F238E27FC236}">
                  <a16:creationId xmlns:a16="http://schemas.microsoft.com/office/drawing/2014/main" id="{BD5A9124-E842-45DD-9577-A951C0AB4366}"/>
                </a:ext>
              </a:extLst>
            </p:cNvPr>
            <p:cNvSpPr/>
            <p:nvPr/>
          </p:nvSpPr>
          <p:spPr>
            <a:xfrm>
              <a:off x="6272374" y="1124743"/>
              <a:ext cx="5184577" cy="115212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483D389D-3679-B5ED-0B13-D7610887FA3C}"/>
              </a:ext>
            </a:extLst>
          </p:cNvPr>
          <p:cNvGrpSpPr/>
          <p:nvPr/>
        </p:nvGrpSpPr>
        <p:grpSpPr>
          <a:xfrm>
            <a:off x="4976816" y="2852936"/>
            <a:ext cx="2628414" cy="1205131"/>
            <a:chOff x="4976816" y="2914532"/>
            <a:chExt cx="2628414" cy="1205131"/>
          </a:xfrm>
        </p:grpSpPr>
        <p:sp>
          <p:nvSpPr>
            <p:cNvPr id="9" name="TextBox 8">
              <a:extLst>
                <a:ext uri="{FF2B5EF4-FFF2-40B4-BE49-F238E27FC236}">
                  <a16:creationId xmlns:a16="http://schemas.microsoft.com/office/drawing/2014/main" id="{AA73855B-A144-F397-6020-8D7B96AB71F6}"/>
                </a:ext>
              </a:extLst>
            </p:cNvPr>
            <p:cNvSpPr txBox="1"/>
            <p:nvPr/>
          </p:nvSpPr>
          <p:spPr>
            <a:xfrm>
              <a:off x="4976816" y="3534888"/>
              <a:ext cx="26284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Plan A</a:t>
              </a:r>
            </a:p>
          </p:txBody>
        </p:sp>
        <p:grpSp>
          <p:nvGrpSpPr>
            <p:cNvPr id="2" name="Group 1">
              <a:extLst>
                <a:ext uri="{FF2B5EF4-FFF2-40B4-BE49-F238E27FC236}">
                  <a16:creationId xmlns:a16="http://schemas.microsoft.com/office/drawing/2014/main" id="{DCD104FB-0A2F-5BBA-1C0F-B4DCBDE57FCD}"/>
                </a:ext>
              </a:extLst>
            </p:cNvPr>
            <p:cNvGrpSpPr/>
            <p:nvPr/>
          </p:nvGrpSpPr>
          <p:grpSpPr>
            <a:xfrm>
              <a:off x="5936684" y="2914532"/>
              <a:ext cx="671380" cy="661338"/>
              <a:chOff x="8026400" y="2486025"/>
              <a:chExt cx="1485900" cy="1463676"/>
            </a:xfrm>
            <a:solidFill>
              <a:schemeClr val="bg1"/>
            </a:solidFill>
          </p:grpSpPr>
          <p:sp>
            <p:nvSpPr>
              <p:cNvPr id="3" name="Freeform 38">
                <a:extLst>
                  <a:ext uri="{FF2B5EF4-FFF2-40B4-BE49-F238E27FC236}">
                    <a16:creationId xmlns:a16="http://schemas.microsoft.com/office/drawing/2014/main" id="{DD1EF21A-C321-67E1-EA74-38D65185A44B}"/>
                  </a:ext>
                </a:extLst>
              </p:cNvPr>
              <p:cNvSpPr>
                <a:spLocks/>
              </p:cNvSpPr>
              <p:nvPr/>
            </p:nvSpPr>
            <p:spPr bwMode="auto">
              <a:xfrm>
                <a:off x="8026400" y="3697288"/>
                <a:ext cx="420688" cy="252413"/>
              </a:xfrm>
              <a:custGeom>
                <a:avLst/>
                <a:gdLst/>
                <a:ahLst/>
                <a:cxnLst>
                  <a:cxn ang="0">
                    <a:pos x="0" y="88"/>
                  </a:cxn>
                  <a:cxn ang="0">
                    <a:pos x="245" y="159"/>
                  </a:cxn>
                  <a:cxn ang="0">
                    <a:pos x="265" y="120"/>
                  </a:cxn>
                  <a:cxn ang="0">
                    <a:pos x="19" y="0"/>
                  </a:cxn>
                  <a:cxn ang="0">
                    <a:pos x="0" y="88"/>
                  </a:cxn>
                </a:cxnLst>
                <a:rect l="0" t="0" r="r" b="b"/>
                <a:pathLst>
                  <a:path w="265" h="159">
                    <a:moveTo>
                      <a:pt x="0" y="88"/>
                    </a:moveTo>
                    <a:lnTo>
                      <a:pt x="245" y="159"/>
                    </a:lnTo>
                    <a:lnTo>
                      <a:pt x="265" y="120"/>
                    </a:lnTo>
                    <a:lnTo>
                      <a:pt x="19"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 name="Rectangle 39">
                <a:extLst>
                  <a:ext uri="{FF2B5EF4-FFF2-40B4-BE49-F238E27FC236}">
                    <a16:creationId xmlns:a16="http://schemas.microsoft.com/office/drawing/2014/main" id="{CFDC6276-AE80-D502-9C72-DD486F349852}"/>
                  </a:ext>
                </a:extLst>
              </p:cNvPr>
              <p:cNvSpPr>
                <a:spLocks noChangeArrowheads="1"/>
              </p:cNvSpPr>
              <p:nvPr/>
            </p:nvSpPr>
            <p:spPr bwMode="auto">
              <a:xfrm>
                <a:off x="8743950" y="2959100"/>
                <a:ext cx="619125"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0" name="Rectangle 40">
                <a:extLst>
                  <a:ext uri="{FF2B5EF4-FFF2-40B4-BE49-F238E27FC236}">
                    <a16:creationId xmlns:a16="http://schemas.microsoft.com/office/drawing/2014/main" id="{100E3064-2B1B-8E05-5A26-F6C29E5BE64F}"/>
                  </a:ext>
                </a:extLst>
              </p:cNvPr>
              <p:cNvSpPr>
                <a:spLocks noChangeArrowheads="1"/>
              </p:cNvSpPr>
              <p:nvPr/>
            </p:nvSpPr>
            <p:spPr bwMode="auto">
              <a:xfrm>
                <a:off x="8743950" y="2770188"/>
                <a:ext cx="271463" cy="825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1" name="Freeform 41">
                <a:extLst>
                  <a:ext uri="{FF2B5EF4-FFF2-40B4-BE49-F238E27FC236}">
                    <a16:creationId xmlns:a16="http://schemas.microsoft.com/office/drawing/2014/main" id="{F1B2559E-DD94-DA95-C488-20852F31690B}"/>
                  </a:ext>
                </a:extLst>
              </p:cNvPr>
              <p:cNvSpPr>
                <a:spLocks noEditPoints="1"/>
              </p:cNvSpPr>
              <p:nvPr/>
            </p:nvSpPr>
            <p:spPr bwMode="auto">
              <a:xfrm>
                <a:off x="8108950" y="2486025"/>
                <a:ext cx="1403350" cy="1339850"/>
              </a:xfrm>
              <a:custGeom>
                <a:avLst/>
                <a:gdLst/>
                <a:ahLst/>
                <a:cxnLst>
                  <a:cxn ang="0">
                    <a:pos x="735" y="61"/>
                  </a:cxn>
                  <a:cxn ang="0">
                    <a:pos x="691" y="24"/>
                  </a:cxn>
                  <a:cxn ang="0">
                    <a:pos x="638" y="4"/>
                  </a:cxn>
                  <a:cxn ang="0">
                    <a:pos x="300" y="0"/>
                  </a:cxn>
                  <a:cxn ang="0">
                    <a:pos x="284" y="4"/>
                  </a:cxn>
                  <a:cxn ang="0">
                    <a:pos x="265" y="21"/>
                  </a:cxn>
                  <a:cxn ang="0">
                    <a:pos x="258" y="47"/>
                  </a:cxn>
                  <a:cxn ang="0">
                    <a:pos x="207" y="418"/>
                  </a:cxn>
                  <a:cxn ang="0">
                    <a:pos x="102" y="475"/>
                  </a:cxn>
                  <a:cxn ang="0">
                    <a:pos x="89" y="484"/>
                  </a:cxn>
                  <a:cxn ang="0">
                    <a:pos x="80" y="497"/>
                  </a:cxn>
                  <a:cxn ang="0">
                    <a:pos x="55" y="555"/>
                  </a:cxn>
                  <a:cxn ang="0">
                    <a:pos x="21" y="658"/>
                  </a:cxn>
                  <a:cxn ang="0">
                    <a:pos x="0" y="749"/>
                  </a:cxn>
                  <a:cxn ang="0">
                    <a:pos x="199" y="843"/>
                  </a:cxn>
                  <a:cxn ang="0">
                    <a:pos x="237" y="819"/>
                  </a:cxn>
                  <a:cxn ang="0">
                    <a:pos x="263" y="793"/>
                  </a:cxn>
                  <a:cxn ang="0">
                    <a:pos x="275" y="809"/>
                  </a:cxn>
                  <a:cxn ang="0">
                    <a:pos x="288" y="817"/>
                  </a:cxn>
                  <a:cxn ang="0">
                    <a:pos x="300" y="819"/>
                  </a:cxn>
                  <a:cxn ang="0">
                    <a:pos x="849" y="818"/>
                  </a:cxn>
                  <a:cxn ang="0">
                    <a:pos x="871" y="805"/>
                  </a:cxn>
                  <a:cxn ang="0">
                    <a:pos x="883" y="780"/>
                  </a:cxn>
                  <a:cxn ang="0">
                    <a:pos x="884" y="249"/>
                  </a:cxn>
                  <a:cxn ang="0">
                    <a:pos x="876" y="221"/>
                  </a:cxn>
                  <a:cxn ang="0">
                    <a:pos x="845" y="771"/>
                  </a:cxn>
                  <a:cxn ang="0">
                    <a:pos x="843" y="778"/>
                  </a:cxn>
                  <a:cxn ang="0">
                    <a:pos x="321" y="780"/>
                  </a:cxn>
                  <a:cxn ang="0">
                    <a:pos x="300" y="780"/>
                  </a:cxn>
                  <a:cxn ang="0">
                    <a:pos x="297" y="776"/>
                  </a:cxn>
                  <a:cxn ang="0">
                    <a:pos x="296" y="751"/>
                  </a:cxn>
                  <a:cxn ang="0">
                    <a:pos x="355" y="660"/>
                  </a:cxn>
                  <a:cxn ang="0">
                    <a:pos x="375" y="632"/>
                  </a:cxn>
                  <a:cxn ang="0">
                    <a:pos x="397" y="608"/>
                  </a:cxn>
                  <a:cxn ang="0">
                    <a:pos x="427" y="575"/>
                  </a:cxn>
                  <a:cxn ang="0">
                    <a:pos x="433" y="557"/>
                  </a:cxn>
                  <a:cxn ang="0">
                    <a:pos x="429" y="545"/>
                  </a:cxn>
                  <a:cxn ang="0">
                    <a:pos x="412" y="528"/>
                  </a:cxn>
                  <a:cxn ang="0">
                    <a:pos x="383" y="520"/>
                  </a:cxn>
                  <a:cxn ang="0">
                    <a:pos x="365" y="522"/>
                  </a:cxn>
                  <a:cxn ang="0">
                    <a:pos x="341" y="529"/>
                  </a:cxn>
                  <a:cxn ang="0">
                    <a:pos x="307" y="552"/>
                  </a:cxn>
                  <a:cxn ang="0">
                    <a:pos x="261" y="595"/>
                  </a:cxn>
                  <a:cxn ang="0">
                    <a:pos x="224" y="626"/>
                  </a:cxn>
                  <a:cxn ang="0">
                    <a:pos x="214" y="620"/>
                  </a:cxn>
                  <a:cxn ang="0">
                    <a:pos x="209" y="610"/>
                  </a:cxn>
                  <a:cxn ang="0">
                    <a:pos x="211" y="592"/>
                  </a:cxn>
                  <a:cxn ang="0">
                    <a:pos x="230" y="557"/>
                  </a:cxn>
                  <a:cxn ang="0">
                    <a:pos x="258" y="551"/>
                  </a:cxn>
                  <a:cxn ang="0">
                    <a:pos x="296" y="47"/>
                  </a:cxn>
                  <a:cxn ang="0">
                    <a:pos x="299" y="38"/>
                  </a:cxn>
                  <a:cxn ang="0">
                    <a:pos x="610" y="37"/>
                  </a:cxn>
                  <a:cxn ang="0">
                    <a:pos x="640" y="46"/>
                  </a:cxn>
                  <a:cxn ang="0">
                    <a:pos x="661" y="71"/>
                  </a:cxn>
                  <a:cxn ang="0">
                    <a:pos x="670" y="214"/>
                  </a:cxn>
                  <a:cxn ang="0">
                    <a:pos x="831" y="242"/>
                  </a:cxn>
                  <a:cxn ang="0">
                    <a:pos x="844" y="254"/>
                  </a:cxn>
                  <a:cxn ang="0">
                    <a:pos x="845" y="771"/>
                  </a:cxn>
                </a:cxnLst>
                <a:rect l="0" t="0" r="r" b="b"/>
                <a:pathLst>
                  <a:path w="884" h="844">
                    <a:moveTo>
                      <a:pt x="870" y="213"/>
                    </a:moveTo>
                    <a:lnTo>
                      <a:pt x="735" y="61"/>
                    </a:lnTo>
                    <a:lnTo>
                      <a:pt x="735" y="61"/>
                    </a:lnTo>
                    <a:lnTo>
                      <a:pt x="722" y="46"/>
                    </a:lnTo>
                    <a:lnTo>
                      <a:pt x="706" y="35"/>
                    </a:lnTo>
                    <a:lnTo>
                      <a:pt x="691" y="24"/>
                    </a:lnTo>
                    <a:lnTo>
                      <a:pt x="674" y="16"/>
                    </a:lnTo>
                    <a:lnTo>
                      <a:pt x="657" y="9"/>
                    </a:lnTo>
                    <a:lnTo>
                      <a:pt x="638" y="4"/>
                    </a:lnTo>
                    <a:lnTo>
                      <a:pt x="619" y="1"/>
                    </a:lnTo>
                    <a:lnTo>
                      <a:pt x="600" y="0"/>
                    </a:lnTo>
                    <a:lnTo>
                      <a:pt x="300" y="0"/>
                    </a:lnTo>
                    <a:lnTo>
                      <a:pt x="300" y="0"/>
                    </a:lnTo>
                    <a:lnTo>
                      <a:pt x="292" y="1"/>
                    </a:lnTo>
                    <a:lnTo>
                      <a:pt x="284" y="4"/>
                    </a:lnTo>
                    <a:lnTo>
                      <a:pt x="277" y="8"/>
                    </a:lnTo>
                    <a:lnTo>
                      <a:pt x="271" y="14"/>
                    </a:lnTo>
                    <a:lnTo>
                      <a:pt x="265" y="21"/>
                    </a:lnTo>
                    <a:lnTo>
                      <a:pt x="261" y="29"/>
                    </a:lnTo>
                    <a:lnTo>
                      <a:pt x="258" y="38"/>
                    </a:lnTo>
                    <a:lnTo>
                      <a:pt x="258" y="47"/>
                    </a:lnTo>
                    <a:lnTo>
                      <a:pt x="258" y="392"/>
                    </a:lnTo>
                    <a:lnTo>
                      <a:pt x="258" y="392"/>
                    </a:lnTo>
                    <a:lnTo>
                      <a:pt x="207" y="418"/>
                    </a:lnTo>
                    <a:lnTo>
                      <a:pt x="158" y="445"/>
                    </a:lnTo>
                    <a:lnTo>
                      <a:pt x="158" y="445"/>
                    </a:lnTo>
                    <a:lnTo>
                      <a:pt x="102" y="475"/>
                    </a:lnTo>
                    <a:lnTo>
                      <a:pt x="102" y="475"/>
                    </a:lnTo>
                    <a:lnTo>
                      <a:pt x="95" y="479"/>
                    </a:lnTo>
                    <a:lnTo>
                      <a:pt x="89" y="484"/>
                    </a:lnTo>
                    <a:lnTo>
                      <a:pt x="84" y="490"/>
                    </a:lnTo>
                    <a:lnTo>
                      <a:pt x="80" y="497"/>
                    </a:lnTo>
                    <a:lnTo>
                      <a:pt x="80" y="497"/>
                    </a:lnTo>
                    <a:lnTo>
                      <a:pt x="71" y="516"/>
                    </a:lnTo>
                    <a:lnTo>
                      <a:pt x="63" y="535"/>
                    </a:lnTo>
                    <a:lnTo>
                      <a:pt x="55" y="555"/>
                    </a:lnTo>
                    <a:lnTo>
                      <a:pt x="47" y="576"/>
                    </a:lnTo>
                    <a:lnTo>
                      <a:pt x="33" y="618"/>
                    </a:lnTo>
                    <a:lnTo>
                      <a:pt x="21" y="658"/>
                    </a:lnTo>
                    <a:lnTo>
                      <a:pt x="12" y="694"/>
                    </a:lnTo>
                    <a:lnTo>
                      <a:pt x="5" y="722"/>
                    </a:lnTo>
                    <a:lnTo>
                      <a:pt x="0" y="749"/>
                    </a:lnTo>
                    <a:lnTo>
                      <a:pt x="196" y="844"/>
                    </a:lnTo>
                    <a:lnTo>
                      <a:pt x="199" y="843"/>
                    </a:lnTo>
                    <a:lnTo>
                      <a:pt x="199" y="843"/>
                    </a:lnTo>
                    <a:lnTo>
                      <a:pt x="215" y="834"/>
                    </a:lnTo>
                    <a:lnTo>
                      <a:pt x="229" y="825"/>
                    </a:lnTo>
                    <a:lnTo>
                      <a:pt x="237" y="819"/>
                    </a:lnTo>
                    <a:lnTo>
                      <a:pt x="245" y="812"/>
                    </a:lnTo>
                    <a:lnTo>
                      <a:pt x="253" y="804"/>
                    </a:lnTo>
                    <a:lnTo>
                      <a:pt x="263" y="793"/>
                    </a:lnTo>
                    <a:lnTo>
                      <a:pt x="263" y="793"/>
                    </a:lnTo>
                    <a:lnTo>
                      <a:pt x="268" y="802"/>
                    </a:lnTo>
                    <a:lnTo>
                      <a:pt x="275" y="809"/>
                    </a:lnTo>
                    <a:lnTo>
                      <a:pt x="275" y="809"/>
                    </a:lnTo>
                    <a:lnTo>
                      <a:pt x="283" y="815"/>
                    </a:lnTo>
                    <a:lnTo>
                      <a:pt x="288" y="817"/>
                    </a:lnTo>
                    <a:lnTo>
                      <a:pt x="292" y="818"/>
                    </a:lnTo>
                    <a:lnTo>
                      <a:pt x="292" y="818"/>
                    </a:lnTo>
                    <a:lnTo>
                      <a:pt x="300" y="819"/>
                    </a:lnTo>
                    <a:lnTo>
                      <a:pt x="841" y="819"/>
                    </a:lnTo>
                    <a:lnTo>
                      <a:pt x="841" y="819"/>
                    </a:lnTo>
                    <a:lnTo>
                      <a:pt x="849" y="818"/>
                    </a:lnTo>
                    <a:lnTo>
                      <a:pt x="857" y="815"/>
                    </a:lnTo>
                    <a:lnTo>
                      <a:pt x="864" y="811"/>
                    </a:lnTo>
                    <a:lnTo>
                      <a:pt x="871" y="805"/>
                    </a:lnTo>
                    <a:lnTo>
                      <a:pt x="877" y="797"/>
                    </a:lnTo>
                    <a:lnTo>
                      <a:pt x="880" y="789"/>
                    </a:lnTo>
                    <a:lnTo>
                      <a:pt x="883" y="780"/>
                    </a:lnTo>
                    <a:lnTo>
                      <a:pt x="884" y="771"/>
                    </a:lnTo>
                    <a:lnTo>
                      <a:pt x="884" y="249"/>
                    </a:lnTo>
                    <a:lnTo>
                      <a:pt x="884" y="249"/>
                    </a:lnTo>
                    <a:lnTo>
                      <a:pt x="883" y="239"/>
                    </a:lnTo>
                    <a:lnTo>
                      <a:pt x="880" y="230"/>
                    </a:lnTo>
                    <a:lnTo>
                      <a:pt x="876" y="221"/>
                    </a:lnTo>
                    <a:lnTo>
                      <a:pt x="870" y="213"/>
                    </a:lnTo>
                    <a:lnTo>
                      <a:pt x="870" y="213"/>
                    </a:lnTo>
                    <a:close/>
                    <a:moveTo>
                      <a:pt x="845" y="771"/>
                    </a:moveTo>
                    <a:lnTo>
                      <a:pt x="845" y="771"/>
                    </a:lnTo>
                    <a:lnTo>
                      <a:pt x="845" y="775"/>
                    </a:lnTo>
                    <a:lnTo>
                      <a:pt x="843" y="778"/>
                    </a:lnTo>
                    <a:lnTo>
                      <a:pt x="842" y="780"/>
                    </a:lnTo>
                    <a:lnTo>
                      <a:pt x="841" y="780"/>
                    </a:lnTo>
                    <a:lnTo>
                      <a:pt x="321" y="780"/>
                    </a:lnTo>
                    <a:lnTo>
                      <a:pt x="321" y="780"/>
                    </a:lnTo>
                    <a:lnTo>
                      <a:pt x="302" y="781"/>
                    </a:lnTo>
                    <a:lnTo>
                      <a:pt x="300" y="780"/>
                    </a:lnTo>
                    <a:lnTo>
                      <a:pt x="299" y="779"/>
                    </a:lnTo>
                    <a:lnTo>
                      <a:pt x="299" y="779"/>
                    </a:lnTo>
                    <a:lnTo>
                      <a:pt x="297" y="776"/>
                    </a:lnTo>
                    <a:lnTo>
                      <a:pt x="296" y="771"/>
                    </a:lnTo>
                    <a:lnTo>
                      <a:pt x="296" y="751"/>
                    </a:lnTo>
                    <a:lnTo>
                      <a:pt x="296" y="751"/>
                    </a:lnTo>
                    <a:lnTo>
                      <a:pt x="311" y="729"/>
                    </a:lnTo>
                    <a:lnTo>
                      <a:pt x="326" y="705"/>
                    </a:lnTo>
                    <a:lnTo>
                      <a:pt x="355" y="660"/>
                    </a:lnTo>
                    <a:lnTo>
                      <a:pt x="355" y="660"/>
                    </a:lnTo>
                    <a:lnTo>
                      <a:pt x="365" y="645"/>
                    </a:lnTo>
                    <a:lnTo>
                      <a:pt x="375" y="632"/>
                    </a:lnTo>
                    <a:lnTo>
                      <a:pt x="387" y="619"/>
                    </a:lnTo>
                    <a:lnTo>
                      <a:pt x="397" y="608"/>
                    </a:lnTo>
                    <a:lnTo>
                      <a:pt x="397" y="608"/>
                    </a:lnTo>
                    <a:lnTo>
                      <a:pt x="411" y="594"/>
                    </a:lnTo>
                    <a:lnTo>
                      <a:pt x="423" y="581"/>
                    </a:lnTo>
                    <a:lnTo>
                      <a:pt x="427" y="575"/>
                    </a:lnTo>
                    <a:lnTo>
                      <a:pt x="430" y="568"/>
                    </a:lnTo>
                    <a:lnTo>
                      <a:pt x="432" y="562"/>
                    </a:lnTo>
                    <a:lnTo>
                      <a:pt x="433" y="557"/>
                    </a:lnTo>
                    <a:lnTo>
                      <a:pt x="433" y="557"/>
                    </a:lnTo>
                    <a:lnTo>
                      <a:pt x="432" y="551"/>
                    </a:lnTo>
                    <a:lnTo>
                      <a:pt x="429" y="545"/>
                    </a:lnTo>
                    <a:lnTo>
                      <a:pt x="425" y="539"/>
                    </a:lnTo>
                    <a:lnTo>
                      <a:pt x="420" y="533"/>
                    </a:lnTo>
                    <a:lnTo>
                      <a:pt x="412" y="528"/>
                    </a:lnTo>
                    <a:lnTo>
                      <a:pt x="404" y="524"/>
                    </a:lnTo>
                    <a:lnTo>
                      <a:pt x="394" y="521"/>
                    </a:lnTo>
                    <a:lnTo>
                      <a:pt x="383" y="520"/>
                    </a:lnTo>
                    <a:lnTo>
                      <a:pt x="383" y="520"/>
                    </a:lnTo>
                    <a:lnTo>
                      <a:pt x="374" y="521"/>
                    </a:lnTo>
                    <a:lnTo>
                      <a:pt x="365" y="522"/>
                    </a:lnTo>
                    <a:lnTo>
                      <a:pt x="357" y="524"/>
                    </a:lnTo>
                    <a:lnTo>
                      <a:pt x="349" y="526"/>
                    </a:lnTo>
                    <a:lnTo>
                      <a:pt x="341" y="529"/>
                    </a:lnTo>
                    <a:lnTo>
                      <a:pt x="334" y="532"/>
                    </a:lnTo>
                    <a:lnTo>
                      <a:pt x="320" y="541"/>
                    </a:lnTo>
                    <a:lnTo>
                      <a:pt x="307" y="552"/>
                    </a:lnTo>
                    <a:lnTo>
                      <a:pt x="293" y="565"/>
                    </a:lnTo>
                    <a:lnTo>
                      <a:pt x="261" y="595"/>
                    </a:lnTo>
                    <a:lnTo>
                      <a:pt x="261" y="595"/>
                    </a:lnTo>
                    <a:lnTo>
                      <a:pt x="249" y="606"/>
                    </a:lnTo>
                    <a:lnTo>
                      <a:pt x="238" y="615"/>
                    </a:lnTo>
                    <a:lnTo>
                      <a:pt x="224" y="626"/>
                    </a:lnTo>
                    <a:lnTo>
                      <a:pt x="224" y="626"/>
                    </a:lnTo>
                    <a:lnTo>
                      <a:pt x="219" y="624"/>
                    </a:lnTo>
                    <a:lnTo>
                      <a:pt x="214" y="620"/>
                    </a:lnTo>
                    <a:lnTo>
                      <a:pt x="211" y="616"/>
                    </a:lnTo>
                    <a:lnTo>
                      <a:pt x="209" y="610"/>
                    </a:lnTo>
                    <a:lnTo>
                      <a:pt x="209" y="610"/>
                    </a:lnTo>
                    <a:lnTo>
                      <a:pt x="208" y="606"/>
                    </a:lnTo>
                    <a:lnTo>
                      <a:pt x="208" y="601"/>
                    </a:lnTo>
                    <a:lnTo>
                      <a:pt x="211" y="592"/>
                    </a:lnTo>
                    <a:lnTo>
                      <a:pt x="215" y="581"/>
                    </a:lnTo>
                    <a:lnTo>
                      <a:pt x="222" y="569"/>
                    </a:lnTo>
                    <a:lnTo>
                      <a:pt x="230" y="557"/>
                    </a:lnTo>
                    <a:lnTo>
                      <a:pt x="239" y="545"/>
                    </a:lnTo>
                    <a:lnTo>
                      <a:pt x="258" y="520"/>
                    </a:lnTo>
                    <a:lnTo>
                      <a:pt x="258" y="551"/>
                    </a:lnTo>
                    <a:lnTo>
                      <a:pt x="296" y="505"/>
                    </a:lnTo>
                    <a:lnTo>
                      <a:pt x="296" y="47"/>
                    </a:lnTo>
                    <a:lnTo>
                      <a:pt x="296" y="47"/>
                    </a:lnTo>
                    <a:lnTo>
                      <a:pt x="296" y="43"/>
                    </a:lnTo>
                    <a:lnTo>
                      <a:pt x="298" y="40"/>
                    </a:lnTo>
                    <a:lnTo>
                      <a:pt x="299" y="38"/>
                    </a:lnTo>
                    <a:lnTo>
                      <a:pt x="300" y="37"/>
                    </a:lnTo>
                    <a:lnTo>
                      <a:pt x="610" y="37"/>
                    </a:lnTo>
                    <a:lnTo>
                      <a:pt x="610" y="37"/>
                    </a:lnTo>
                    <a:lnTo>
                      <a:pt x="621" y="39"/>
                    </a:lnTo>
                    <a:lnTo>
                      <a:pt x="631" y="42"/>
                    </a:lnTo>
                    <a:lnTo>
                      <a:pt x="640" y="46"/>
                    </a:lnTo>
                    <a:lnTo>
                      <a:pt x="649" y="54"/>
                    </a:lnTo>
                    <a:lnTo>
                      <a:pt x="656" y="62"/>
                    </a:lnTo>
                    <a:lnTo>
                      <a:pt x="661" y="71"/>
                    </a:lnTo>
                    <a:lnTo>
                      <a:pt x="665" y="81"/>
                    </a:lnTo>
                    <a:lnTo>
                      <a:pt x="666" y="91"/>
                    </a:lnTo>
                    <a:lnTo>
                      <a:pt x="670" y="214"/>
                    </a:lnTo>
                    <a:lnTo>
                      <a:pt x="827" y="241"/>
                    </a:lnTo>
                    <a:lnTo>
                      <a:pt x="827" y="241"/>
                    </a:lnTo>
                    <a:lnTo>
                      <a:pt x="831" y="242"/>
                    </a:lnTo>
                    <a:lnTo>
                      <a:pt x="834" y="243"/>
                    </a:lnTo>
                    <a:lnTo>
                      <a:pt x="839" y="248"/>
                    </a:lnTo>
                    <a:lnTo>
                      <a:pt x="844" y="254"/>
                    </a:lnTo>
                    <a:lnTo>
                      <a:pt x="845" y="258"/>
                    </a:lnTo>
                    <a:lnTo>
                      <a:pt x="845" y="261"/>
                    </a:lnTo>
                    <a:lnTo>
                      <a:pt x="845" y="7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2" name="Freeform 42">
                <a:extLst>
                  <a:ext uri="{FF2B5EF4-FFF2-40B4-BE49-F238E27FC236}">
                    <a16:creationId xmlns:a16="http://schemas.microsoft.com/office/drawing/2014/main" id="{C4626E44-A617-0D46-77F2-A90272D1D09A}"/>
                  </a:ext>
                </a:extLst>
              </p:cNvPr>
              <p:cNvSpPr>
                <a:spLocks/>
              </p:cNvSpPr>
              <p:nvPr/>
            </p:nvSpPr>
            <p:spPr bwMode="auto">
              <a:xfrm>
                <a:off x="8843963" y="3336925"/>
                <a:ext cx="519113" cy="82550"/>
              </a:xfrm>
              <a:custGeom>
                <a:avLst/>
                <a:gdLst/>
                <a:ahLst/>
                <a:cxnLst>
                  <a:cxn ang="0">
                    <a:pos x="0" y="52"/>
                  </a:cxn>
                  <a:cxn ang="0">
                    <a:pos x="327" y="52"/>
                  </a:cxn>
                  <a:cxn ang="0">
                    <a:pos x="327" y="0"/>
                  </a:cxn>
                  <a:cxn ang="0">
                    <a:pos x="3" y="0"/>
                  </a:cxn>
                  <a:cxn ang="0">
                    <a:pos x="3" y="0"/>
                  </a:cxn>
                  <a:cxn ang="0">
                    <a:pos x="5" y="6"/>
                  </a:cxn>
                  <a:cxn ang="0">
                    <a:pos x="6" y="12"/>
                  </a:cxn>
                  <a:cxn ang="0">
                    <a:pos x="7" y="18"/>
                  </a:cxn>
                  <a:cxn ang="0">
                    <a:pos x="7" y="24"/>
                  </a:cxn>
                  <a:cxn ang="0">
                    <a:pos x="6" y="31"/>
                  </a:cxn>
                  <a:cxn ang="0">
                    <a:pos x="5" y="37"/>
                  </a:cxn>
                  <a:cxn ang="0">
                    <a:pos x="3" y="45"/>
                  </a:cxn>
                  <a:cxn ang="0">
                    <a:pos x="0" y="52"/>
                  </a:cxn>
                  <a:cxn ang="0">
                    <a:pos x="0" y="52"/>
                  </a:cxn>
                </a:cxnLst>
                <a:rect l="0" t="0" r="r" b="b"/>
                <a:pathLst>
                  <a:path w="327" h="52">
                    <a:moveTo>
                      <a:pt x="0" y="52"/>
                    </a:moveTo>
                    <a:lnTo>
                      <a:pt x="327" y="52"/>
                    </a:lnTo>
                    <a:lnTo>
                      <a:pt x="327" y="0"/>
                    </a:lnTo>
                    <a:lnTo>
                      <a:pt x="3" y="0"/>
                    </a:lnTo>
                    <a:lnTo>
                      <a:pt x="3" y="0"/>
                    </a:lnTo>
                    <a:lnTo>
                      <a:pt x="5" y="6"/>
                    </a:lnTo>
                    <a:lnTo>
                      <a:pt x="6" y="12"/>
                    </a:lnTo>
                    <a:lnTo>
                      <a:pt x="7" y="18"/>
                    </a:lnTo>
                    <a:lnTo>
                      <a:pt x="7" y="24"/>
                    </a:lnTo>
                    <a:lnTo>
                      <a:pt x="6" y="31"/>
                    </a:lnTo>
                    <a:lnTo>
                      <a:pt x="5" y="37"/>
                    </a:lnTo>
                    <a:lnTo>
                      <a:pt x="3" y="45"/>
                    </a:lnTo>
                    <a:lnTo>
                      <a:pt x="0" y="52"/>
                    </a:ln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3" name="Rectangle 43">
                <a:extLst>
                  <a:ext uri="{FF2B5EF4-FFF2-40B4-BE49-F238E27FC236}">
                    <a16:creationId xmlns:a16="http://schemas.microsoft.com/office/drawing/2014/main" id="{915AF771-5163-5CE7-995B-89A1F23835A9}"/>
                  </a:ext>
                </a:extLst>
              </p:cNvPr>
              <p:cNvSpPr>
                <a:spLocks noChangeArrowheads="1"/>
              </p:cNvSpPr>
              <p:nvPr/>
            </p:nvSpPr>
            <p:spPr bwMode="auto">
              <a:xfrm>
                <a:off x="8666163" y="3149600"/>
                <a:ext cx="696913"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6" name="Freeform 44">
                <a:extLst>
                  <a:ext uri="{FF2B5EF4-FFF2-40B4-BE49-F238E27FC236}">
                    <a16:creationId xmlns:a16="http://schemas.microsoft.com/office/drawing/2014/main" id="{949EE1BD-A1B1-BDD4-19D8-5B586329E5F5}"/>
                  </a:ext>
                </a:extLst>
              </p:cNvPr>
              <p:cNvSpPr>
                <a:spLocks/>
              </p:cNvSpPr>
              <p:nvPr/>
            </p:nvSpPr>
            <p:spPr bwMode="auto">
              <a:xfrm>
                <a:off x="8694738" y="3529013"/>
                <a:ext cx="320675" cy="80963"/>
              </a:xfrm>
              <a:custGeom>
                <a:avLst/>
                <a:gdLst/>
                <a:ahLst/>
                <a:cxnLst>
                  <a:cxn ang="0">
                    <a:pos x="18" y="22"/>
                  </a:cxn>
                  <a:cxn ang="0">
                    <a:pos x="18" y="22"/>
                  </a:cxn>
                  <a:cxn ang="0">
                    <a:pos x="0" y="51"/>
                  </a:cxn>
                  <a:cxn ang="0">
                    <a:pos x="202" y="51"/>
                  </a:cxn>
                  <a:cxn ang="0">
                    <a:pos x="202" y="0"/>
                  </a:cxn>
                  <a:cxn ang="0">
                    <a:pos x="35" y="0"/>
                  </a:cxn>
                  <a:cxn ang="0">
                    <a:pos x="35" y="0"/>
                  </a:cxn>
                  <a:cxn ang="0">
                    <a:pos x="26" y="11"/>
                  </a:cxn>
                  <a:cxn ang="0">
                    <a:pos x="18" y="22"/>
                  </a:cxn>
                  <a:cxn ang="0">
                    <a:pos x="18" y="22"/>
                  </a:cxn>
                </a:cxnLst>
                <a:rect l="0" t="0" r="r" b="b"/>
                <a:pathLst>
                  <a:path w="202" h="51">
                    <a:moveTo>
                      <a:pt x="18" y="22"/>
                    </a:moveTo>
                    <a:lnTo>
                      <a:pt x="18" y="22"/>
                    </a:lnTo>
                    <a:lnTo>
                      <a:pt x="0" y="51"/>
                    </a:lnTo>
                    <a:lnTo>
                      <a:pt x="202" y="51"/>
                    </a:lnTo>
                    <a:lnTo>
                      <a:pt x="202" y="0"/>
                    </a:lnTo>
                    <a:lnTo>
                      <a:pt x="35" y="0"/>
                    </a:lnTo>
                    <a:lnTo>
                      <a:pt x="35" y="0"/>
                    </a:lnTo>
                    <a:lnTo>
                      <a:pt x="26" y="11"/>
                    </a:lnTo>
                    <a:lnTo>
                      <a:pt x="18" y="22"/>
                    </a:lnTo>
                    <a:lnTo>
                      <a:pt x="1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sp>
        <p:nvSpPr>
          <p:cNvPr id="18" name="Footer Placeholder 11">
            <a:extLst>
              <a:ext uri="{FF2B5EF4-FFF2-40B4-BE49-F238E27FC236}">
                <a16:creationId xmlns:a16="http://schemas.microsoft.com/office/drawing/2014/main" id="{37A8A911-01A5-E538-DFC7-0B60562E1155}"/>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Tree>
    <p:extLst>
      <p:ext uri="{BB962C8B-B14F-4D97-AF65-F5344CB8AC3E}">
        <p14:creationId xmlns:p14="http://schemas.microsoft.com/office/powerpoint/2010/main" val="3530106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Plan A - Key Assumptions</a:t>
            </a:r>
          </a:p>
        </p:txBody>
      </p:sp>
      <p:pic>
        <p:nvPicPr>
          <p:cNvPr id="6" name="Picture 5">
            <a:extLst>
              <a:ext uri="{FF2B5EF4-FFF2-40B4-BE49-F238E27FC236}">
                <a16:creationId xmlns:a16="http://schemas.microsoft.com/office/drawing/2014/main" id="{23798DA8-C75F-7371-DB3C-07F6FB3BBE46}"/>
              </a:ext>
            </a:extLst>
          </p:cNvPr>
          <p:cNvPicPr>
            <a:picLocks noChangeAspect="1"/>
          </p:cNvPicPr>
          <p:nvPr/>
        </p:nvPicPr>
        <p:blipFill rotWithShape="1">
          <a:blip r:embed="rId3">
            <a:extLst>
              <a:ext uri="{28A0092B-C50C-407E-A947-70E740481C1C}">
                <a14:useLocalDpi xmlns:a14="http://schemas.microsoft.com/office/drawing/2010/main" val="0"/>
              </a:ext>
            </a:extLst>
          </a:blip>
          <a:srcRect t="37550" b="20791"/>
          <a:stretch/>
        </p:blipFill>
        <p:spPr>
          <a:xfrm>
            <a:off x="830787" y="2566557"/>
            <a:ext cx="10647640" cy="1798547"/>
          </a:xfrm>
          <a:prstGeom prst="rect">
            <a:avLst/>
          </a:prstGeom>
        </p:spPr>
      </p:pic>
      <p:sp>
        <p:nvSpPr>
          <p:cNvPr id="7" name="Rectangle 6">
            <a:extLst>
              <a:ext uri="{FF2B5EF4-FFF2-40B4-BE49-F238E27FC236}">
                <a16:creationId xmlns:a16="http://schemas.microsoft.com/office/drawing/2014/main" id="{2235C851-0427-76DD-E4D7-7A3E31E304B7}"/>
              </a:ext>
            </a:extLst>
          </p:cNvPr>
          <p:cNvSpPr/>
          <p:nvPr/>
        </p:nvSpPr>
        <p:spPr>
          <a:xfrm>
            <a:off x="830788" y="2566557"/>
            <a:ext cx="10647640" cy="1798547"/>
          </a:xfrm>
          <a:prstGeom prst="rect">
            <a:avLst/>
          </a:prstGeom>
          <a:solidFill>
            <a:schemeClr val="tx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51FC99C8-9C3F-8FC8-FC5C-C24337308FF6}"/>
              </a:ext>
            </a:extLst>
          </p:cNvPr>
          <p:cNvGrpSpPr/>
          <p:nvPr/>
        </p:nvGrpSpPr>
        <p:grpSpPr>
          <a:xfrm>
            <a:off x="839415" y="1124744"/>
            <a:ext cx="5184577" cy="1152127"/>
            <a:chOff x="839415" y="1124744"/>
            <a:chExt cx="5184577" cy="1152127"/>
          </a:xfrm>
        </p:grpSpPr>
        <p:sp>
          <p:nvSpPr>
            <p:cNvPr id="28" name="Rectangle 27">
              <a:extLst>
                <a:ext uri="{FF2B5EF4-FFF2-40B4-BE49-F238E27FC236}">
                  <a16:creationId xmlns:a16="http://schemas.microsoft.com/office/drawing/2014/main" id="{32868943-B1FF-7D5C-BF1C-868C806119D2}"/>
                </a:ext>
              </a:extLst>
            </p:cNvPr>
            <p:cNvSpPr/>
            <p:nvPr/>
          </p:nvSpPr>
          <p:spPr>
            <a:xfrm>
              <a:off x="839415" y="1124744"/>
              <a:ext cx="5184577" cy="115212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4D201F81-8942-3EA5-799F-E5BE5DBAD2CB}"/>
                </a:ext>
              </a:extLst>
            </p:cNvPr>
            <p:cNvSpPr txBox="1"/>
            <p:nvPr/>
          </p:nvSpPr>
          <p:spPr>
            <a:xfrm>
              <a:off x="852263" y="1268760"/>
              <a:ext cx="517172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greement reached with Tameh before 30 April 2024.</a:t>
              </a:r>
            </a:p>
          </p:txBody>
        </p:sp>
      </p:grpSp>
      <p:sp>
        <p:nvSpPr>
          <p:cNvPr id="14" name="Rectangle 13">
            <a:extLst>
              <a:ext uri="{FF2B5EF4-FFF2-40B4-BE49-F238E27FC236}">
                <a16:creationId xmlns:a16="http://schemas.microsoft.com/office/drawing/2014/main" id="{3C41584C-8ADF-1469-058A-8CEE9AC88F97}"/>
              </a:ext>
            </a:extLst>
          </p:cNvPr>
          <p:cNvSpPr/>
          <p:nvPr/>
        </p:nvSpPr>
        <p:spPr>
          <a:xfrm>
            <a:off x="817939" y="4509120"/>
            <a:ext cx="3568700" cy="1447936"/>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DE9F390-CEB0-853E-E6D6-7272FF0EC244}"/>
              </a:ext>
            </a:extLst>
          </p:cNvPr>
          <p:cNvSpPr txBox="1"/>
          <p:nvPr/>
        </p:nvSpPr>
        <p:spPr>
          <a:xfrm>
            <a:off x="955972" y="4596963"/>
            <a:ext cx="3555852" cy="907941"/>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greement is reached with all key Creditor classes including EGAP.</a:t>
            </a:r>
          </a:p>
          <a:p>
            <a:pPr marL="0" marR="0" lvl="0" indent="0" algn="l" defTabSz="914400" rtl="0" eaLnBrk="1" fontAlgn="auto" latinLnBrk="0" hangingPunct="1">
              <a:lnSpc>
                <a:spcPct val="100000"/>
              </a:lnSpc>
              <a:spcBef>
                <a:spcPts val="300"/>
              </a:spcBef>
              <a:spcAft>
                <a:spcPts val="300"/>
              </a:spcAft>
              <a:buClrTx/>
              <a:buSzPct val="75000"/>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2411B60F-343D-CAEE-AD97-EEF0CC9EBA0A}"/>
              </a:ext>
            </a:extLst>
          </p:cNvPr>
          <p:cNvSpPr/>
          <p:nvPr/>
        </p:nvSpPr>
        <p:spPr>
          <a:xfrm>
            <a:off x="4459679" y="4509120"/>
            <a:ext cx="3568700"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087AD13-0BA3-48DC-5DC6-BA4256D93084}"/>
              </a:ext>
            </a:extLst>
          </p:cNvPr>
          <p:cNvSpPr/>
          <p:nvPr/>
        </p:nvSpPr>
        <p:spPr>
          <a:xfrm>
            <a:off x="8099376" y="4509120"/>
            <a:ext cx="3357575"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C748752-968C-4102-12BD-CE050FDD1ADB}"/>
              </a:ext>
            </a:extLst>
          </p:cNvPr>
          <p:cNvSpPr txBox="1"/>
          <p:nvPr/>
        </p:nvSpPr>
        <p:spPr>
          <a:xfrm>
            <a:off x="4463164" y="4596963"/>
            <a:ext cx="36490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lang="en-GB" sz="1600" dirty="0">
                <a:solidFill>
                  <a:prstClr val="black"/>
                </a:solidFill>
                <a:latin typeface="Calibri" panose="020F0502020204030204" pitchFamily="34" charset="0"/>
                <a:cs typeface="Calibri" panose="020F0502020204030204" pitchFamily="34" charset="0"/>
              </a:rPr>
              <a:t>The restart of the </a:t>
            </a: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last Furnaces is planned for June 2024</a:t>
            </a:r>
            <a:r>
              <a:rPr lang="en-GB" sz="1600" dirty="0">
                <a:solidFill>
                  <a:prstClr val="black"/>
                </a:solidFill>
                <a:latin typeface="Calibri" panose="020F0502020204030204" pitchFamily="34" charset="0"/>
                <a:cs typeface="Calibri" panose="020F0502020204030204" pitchFamily="34" charset="0"/>
              </a:rPr>
              <a:t> with full and stable production achieved in July 2024</a:t>
            </a: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p:txBody>
      </p:sp>
      <p:sp>
        <p:nvSpPr>
          <p:cNvPr id="19" name="TextBox 18">
            <a:extLst>
              <a:ext uri="{FF2B5EF4-FFF2-40B4-BE49-F238E27FC236}">
                <a16:creationId xmlns:a16="http://schemas.microsoft.com/office/drawing/2014/main" id="{8D88E142-DA72-71FE-10FB-B0DAC553F717}"/>
              </a:ext>
            </a:extLst>
          </p:cNvPr>
          <p:cNvSpPr txBox="1"/>
          <p:nvPr/>
        </p:nvSpPr>
        <p:spPr>
          <a:xfrm>
            <a:off x="8128909" y="4596963"/>
            <a:ext cx="310711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The restructuring plan will rely on cash injection from </a:t>
            </a:r>
            <a:r>
              <a:rPr lang="en-GB" sz="1600" dirty="0">
                <a:solidFill>
                  <a:prstClr val="black"/>
                </a:solidFill>
                <a:latin typeface="Calibri" panose="020F0502020204030204" pitchFamily="34" charset="0"/>
                <a:cs typeface="Calibri" panose="020F0502020204030204" pitchFamily="34" charset="0"/>
              </a:rPr>
              <a:t>Group o</a:t>
            </a: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 EUR 160 million.</a:t>
            </a:r>
          </a:p>
        </p:txBody>
      </p:sp>
      <p:grpSp>
        <p:nvGrpSpPr>
          <p:cNvPr id="22" name="Group 21">
            <a:extLst>
              <a:ext uri="{FF2B5EF4-FFF2-40B4-BE49-F238E27FC236}">
                <a16:creationId xmlns:a16="http://schemas.microsoft.com/office/drawing/2014/main" id="{E471B30D-57AC-EF49-4599-83CA689BB43A}"/>
              </a:ext>
            </a:extLst>
          </p:cNvPr>
          <p:cNvGrpSpPr/>
          <p:nvPr/>
        </p:nvGrpSpPr>
        <p:grpSpPr>
          <a:xfrm>
            <a:off x="6272374" y="1124743"/>
            <a:ext cx="5184577" cy="1152127"/>
            <a:chOff x="6272374" y="1124743"/>
            <a:chExt cx="5184577" cy="1152127"/>
          </a:xfrm>
        </p:grpSpPr>
        <p:sp>
          <p:nvSpPr>
            <p:cNvPr id="8" name="TextBox 7">
              <a:extLst>
                <a:ext uri="{FF2B5EF4-FFF2-40B4-BE49-F238E27FC236}">
                  <a16:creationId xmlns:a16="http://schemas.microsoft.com/office/drawing/2014/main" id="{1DF1FE24-8EAE-1B57-2A6E-74CDD81CBA06}"/>
                </a:ext>
              </a:extLst>
            </p:cNvPr>
            <p:cNvSpPr txBox="1"/>
            <p:nvPr/>
          </p:nvSpPr>
          <p:spPr>
            <a:xfrm>
              <a:off x="6456040" y="1268760"/>
              <a:ext cx="489654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Rolling mills will roll a further parcel of 30kt in the month of </a:t>
              </a:r>
              <a:r>
                <a:rPr lang="en-GB" sz="1600" dirty="0">
                  <a:solidFill>
                    <a:prstClr val="black"/>
                  </a:solidFill>
                  <a:latin typeface="Calibri" panose="020F0502020204030204" pitchFamily="34" charset="0"/>
                  <a:cs typeface="Calibri" panose="020F0502020204030204" pitchFamily="34" charset="0"/>
                </a:rPr>
                <a:t>April to support the ongoing cost. These slabs will be sourced either from Galati or external</a:t>
              </a:r>
              <a:r>
                <a:rPr kumimoji="0" lang="en-GB"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
          <p:nvSpPr>
            <p:cNvPr id="20" name="Rectangle 19">
              <a:extLst>
                <a:ext uri="{FF2B5EF4-FFF2-40B4-BE49-F238E27FC236}">
                  <a16:creationId xmlns:a16="http://schemas.microsoft.com/office/drawing/2014/main" id="{BD5A9124-E842-45DD-9577-A951C0AB4366}"/>
                </a:ext>
              </a:extLst>
            </p:cNvPr>
            <p:cNvSpPr/>
            <p:nvPr/>
          </p:nvSpPr>
          <p:spPr>
            <a:xfrm>
              <a:off x="6272374" y="1124743"/>
              <a:ext cx="5184577" cy="115212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Footer Placeholder 11">
            <a:extLst>
              <a:ext uri="{FF2B5EF4-FFF2-40B4-BE49-F238E27FC236}">
                <a16:creationId xmlns:a16="http://schemas.microsoft.com/office/drawing/2014/main" id="{9003DF15-1AF3-1512-EAFF-52ACD6E33460}"/>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grpSp>
        <p:nvGrpSpPr>
          <p:cNvPr id="4" name="Group 3">
            <a:extLst>
              <a:ext uri="{FF2B5EF4-FFF2-40B4-BE49-F238E27FC236}">
                <a16:creationId xmlns:a16="http://schemas.microsoft.com/office/drawing/2014/main" id="{2966E5AE-8F09-9DF1-D7BF-1511DEED933E}"/>
              </a:ext>
            </a:extLst>
          </p:cNvPr>
          <p:cNvGrpSpPr/>
          <p:nvPr/>
        </p:nvGrpSpPr>
        <p:grpSpPr>
          <a:xfrm>
            <a:off x="4976816" y="2852936"/>
            <a:ext cx="2628414" cy="1205131"/>
            <a:chOff x="4976816" y="2914532"/>
            <a:chExt cx="2628414" cy="1205131"/>
          </a:xfrm>
        </p:grpSpPr>
        <p:sp>
          <p:nvSpPr>
            <p:cNvPr id="9" name="TextBox 8">
              <a:extLst>
                <a:ext uri="{FF2B5EF4-FFF2-40B4-BE49-F238E27FC236}">
                  <a16:creationId xmlns:a16="http://schemas.microsoft.com/office/drawing/2014/main" id="{FBC7561A-25A6-6689-FAA7-D29C8AA4F1BD}"/>
                </a:ext>
              </a:extLst>
            </p:cNvPr>
            <p:cNvSpPr txBox="1"/>
            <p:nvPr/>
          </p:nvSpPr>
          <p:spPr>
            <a:xfrm>
              <a:off x="4976816" y="3534888"/>
              <a:ext cx="26284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Plan A</a:t>
              </a:r>
            </a:p>
          </p:txBody>
        </p:sp>
        <p:grpSp>
          <p:nvGrpSpPr>
            <p:cNvPr id="10" name="Group 9">
              <a:extLst>
                <a:ext uri="{FF2B5EF4-FFF2-40B4-BE49-F238E27FC236}">
                  <a16:creationId xmlns:a16="http://schemas.microsoft.com/office/drawing/2014/main" id="{801BAE83-2C3E-7A73-EE3D-8D767ED88A4A}"/>
                </a:ext>
              </a:extLst>
            </p:cNvPr>
            <p:cNvGrpSpPr/>
            <p:nvPr/>
          </p:nvGrpSpPr>
          <p:grpSpPr>
            <a:xfrm>
              <a:off x="5936684" y="2914532"/>
              <a:ext cx="671380" cy="661338"/>
              <a:chOff x="8026400" y="2486025"/>
              <a:chExt cx="1485900" cy="1463676"/>
            </a:xfrm>
            <a:solidFill>
              <a:schemeClr val="bg1"/>
            </a:solidFill>
          </p:grpSpPr>
          <p:sp>
            <p:nvSpPr>
              <p:cNvPr id="11" name="Freeform 38">
                <a:extLst>
                  <a:ext uri="{FF2B5EF4-FFF2-40B4-BE49-F238E27FC236}">
                    <a16:creationId xmlns:a16="http://schemas.microsoft.com/office/drawing/2014/main" id="{D7F66D50-6333-2DBC-FB2D-1ED8F2D0AEBE}"/>
                  </a:ext>
                </a:extLst>
              </p:cNvPr>
              <p:cNvSpPr>
                <a:spLocks/>
              </p:cNvSpPr>
              <p:nvPr/>
            </p:nvSpPr>
            <p:spPr bwMode="auto">
              <a:xfrm>
                <a:off x="8026400" y="3697288"/>
                <a:ext cx="420688" cy="252413"/>
              </a:xfrm>
              <a:custGeom>
                <a:avLst/>
                <a:gdLst/>
                <a:ahLst/>
                <a:cxnLst>
                  <a:cxn ang="0">
                    <a:pos x="0" y="88"/>
                  </a:cxn>
                  <a:cxn ang="0">
                    <a:pos x="245" y="159"/>
                  </a:cxn>
                  <a:cxn ang="0">
                    <a:pos x="265" y="120"/>
                  </a:cxn>
                  <a:cxn ang="0">
                    <a:pos x="19" y="0"/>
                  </a:cxn>
                  <a:cxn ang="0">
                    <a:pos x="0" y="88"/>
                  </a:cxn>
                </a:cxnLst>
                <a:rect l="0" t="0" r="r" b="b"/>
                <a:pathLst>
                  <a:path w="265" h="159">
                    <a:moveTo>
                      <a:pt x="0" y="88"/>
                    </a:moveTo>
                    <a:lnTo>
                      <a:pt x="245" y="159"/>
                    </a:lnTo>
                    <a:lnTo>
                      <a:pt x="265" y="120"/>
                    </a:lnTo>
                    <a:lnTo>
                      <a:pt x="19"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2" name="Rectangle 39">
                <a:extLst>
                  <a:ext uri="{FF2B5EF4-FFF2-40B4-BE49-F238E27FC236}">
                    <a16:creationId xmlns:a16="http://schemas.microsoft.com/office/drawing/2014/main" id="{D987FE85-96FE-D2D1-B635-C7CA043C66CF}"/>
                  </a:ext>
                </a:extLst>
              </p:cNvPr>
              <p:cNvSpPr>
                <a:spLocks noChangeArrowheads="1"/>
              </p:cNvSpPr>
              <p:nvPr/>
            </p:nvSpPr>
            <p:spPr bwMode="auto">
              <a:xfrm>
                <a:off x="8743950" y="2959100"/>
                <a:ext cx="619125"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3" name="Rectangle 40">
                <a:extLst>
                  <a:ext uri="{FF2B5EF4-FFF2-40B4-BE49-F238E27FC236}">
                    <a16:creationId xmlns:a16="http://schemas.microsoft.com/office/drawing/2014/main" id="{003E5981-0C68-C282-A494-B9E86356B377}"/>
                  </a:ext>
                </a:extLst>
              </p:cNvPr>
              <p:cNvSpPr>
                <a:spLocks noChangeArrowheads="1"/>
              </p:cNvSpPr>
              <p:nvPr/>
            </p:nvSpPr>
            <p:spPr bwMode="auto">
              <a:xfrm>
                <a:off x="8743950" y="2770188"/>
                <a:ext cx="271463" cy="825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1" name="Freeform 41">
                <a:extLst>
                  <a:ext uri="{FF2B5EF4-FFF2-40B4-BE49-F238E27FC236}">
                    <a16:creationId xmlns:a16="http://schemas.microsoft.com/office/drawing/2014/main" id="{55DA2889-75C9-25EE-4998-290B59C3070E}"/>
                  </a:ext>
                </a:extLst>
              </p:cNvPr>
              <p:cNvSpPr>
                <a:spLocks noEditPoints="1"/>
              </p:cNvSpPr>
              <p:nvPr/>
            </p:nvSpPr>
            <p:spPr bwMode="auto">
              <a:xfrm>
                <a:off x="8108950" y="2486025"/>
                <a:ext cx="1403350" cy="1339850"/>
              </a:xfrm>
              <a:custGeom>
                <a:avLst/>
                <a:gdLst/>
                <a:ahLst/>
                <a:cxnLst>
                  <a:cxn ang="0">
                    <a:pos x="735" y="61"/>
                  </a:cxn>
                  <a:cxn ang="0">
                    <a:pos x="691" y="24"/>
                  </a:cxn>
                  <a:cxn ang="0">
                    <a:pos x="638" y="4"/>
                  </a:cxn>
                  <a:cxn ang="0">
                    <a:pos x="300" y="0"/>
                  </a:cxn>
                  <a:cxn ang="0">
                    <a:pos x="284" y="4"/>
                  </a:cxn>
                  <a:cxn ang="0">
                    <a:pos x="265" y="21"/>
                  </a:cxn>
                  <a:cxn ang="0">
                    <a:pos x="258" y="47"/>
                  </a:cxn>
                  <a:cxn ang="0">
                    <a:pos x="207" y="418"/>
                  </a:cxn>
                  <a:cxn ang="0">
                    <a:pos x="102" y="475"/>
                  </a:cxn>
                  <a:cxn ang="0">
                    <a:pos x="89" y="484"/>
                  </a:cxn>
                  <a:cxn ang="0">
                    <a:pos x="80" y="497"/>
                  </a:cxn>
                  <a:cxn ang="0">
                    <a:pos x="55" y="555"/>
                  </a:cxn>
                  <a:cxn ang="0">
                    <a:pos x="21" y="658"/>
                  </a:cxn>
                  <a:cxn ang="0">
                    <a:pos x="0" y="749"/>
                  </a:cxn>
                  <a:cxn ang="0">
                    <a:pos x="199" y="843"/>
                  </a:cxn>
                  <a:cxn ang="0">
                    <a:pos x="237" y="819"/>
                  </a:cxn>
                  <a:cxn ang="0">
                    <a:pos x="263" y="793"/>
                  </a:cxn>
                  <a:cxn ang="0">
                    <a:pos x="275" y="809"/>
                  </a:cxn>
                  <a:cxn ang="0">
                    <a:pos x="288" y="817"/>
                  </a:cxn>
                  <a:cxn ang="0">
                    <a:pos x="300" y="819"/>
                  </a:cxn>
                  <a:cxn ang="0">
                    <a:pos x="849" y="818"/>
                  </a:cxn>
                  <a:cxn ang="0">
                    <a:pos x="871" y="805"/>
                  </a:cxn>
                  <a:cxn ang="0">
                    <a:pos x="883" y="780"/>
                  </a:cxn>
                  <a:cxn ang="0">
                    <a:pos x="884" y="249"/>
                  </a:cxn>
                  <a:cxn ang="0">
                    <a:pos x="876" y="221"/>
                  </a:cxn>
                  <a:cxn ang="0">
                    <a:pos x="845" y="771"/>
                  </a:cxn>
                  <a:cxn ang="0">
                    <a:pos x="843" y="778"/>
                  </a:cxn>
                  <a:cxn ang="0">
                    <a:pos x="321" y="780"/>
                  </a:cxn>
                  <a:cxn ang="0">
                    <a:pos x="300" y="780"/>
                  </a:cxn>
                  <a:cxn ang="0">
                    <a:pos x="297" y="776"/>
                  </a:cxn>
                  <a:cxn ang="0">
                    <a:pos x="296" y="751"/>
                  </a:cxn>
                  <a:cxn ang="0">
                    <a:pos x="355" y="660"/>
                  </a:cxn>
                  <a:cxn ang="0">
                    <a:pos x="375" y="632"/>
                  </a:cxn>
                  <a:cxn ang="0">
                    <a:pos x="397" y="608"/>
                  </a:cxn>
                  <a:cxn ang="0">
                    <a:pos x="427" y="575"/>
                  </a:cxn>
                  <a:cxn ang="0">
                    <a:pos x="433" y="557"/>
                  </a:cxn>
                  <a:cxn ang="0">
                    <a:pos x="429" y="545"/>
                  </a:cxn>
                  <a:cxn ang="0">
                    <a:pos x="412" y="528"/>
                  </a:cxn>
                  <a:cxn ang="0">
                    <a:pos x="383" y="520"/>
                  </a:cxn>
                  <a:cxn ang="0">
                    <a:pos x="365" y="522"/>
                  </a:cxn>
                  <a:cxn ang="0">
                    <a:pos x="341" y="529"/>
                  </a:cxn>
                  <a:cxn ang="0">
                    <a:pos x="307" y="552"/>
                  </a:cxn>
                  <a:cxn ang="0">
                    <a:pos x="261" y="595"/>
                  </a:cxn>
                  <a:cxn ang="0">
                    <a:pos x="224" y="626"/>
                  </a:cxn>
                  <a:cxn ang="0">
                    <a:pos x="214" y="620"/>
                  </a:cxn>
                  <a:cxn ang="0">
                    <a:pos x="209" y="610"/>
                  </a:cxn>
                  <a:cxn ang="0">
                    <a:pos x="211" y="592"/>
                  </a:cxn>
                  <a:cxn ang="0">
                    <a:pos x="230" y="557"/>
                  </a:cxn>
                  <a:cxn ang="0">
                    <a:pos x="258" y="551"/>
                  </a:cxn>
                  <a:cxn ang="0">
                    <a:pos x="296" y="47"/>
                  </a:cxn>
                  <a:cxn ang="0">
                    <a:pos x="299" y="38"/>
                  </a:cxn>
                  <a:cxn ang="0">
                    <a:pos x="610" y="37"/>
                  </a:cxn>
                  <a:cxn ang="0">
                    <a:pos x="640" y="46"/>
                  </a:cxn>
                  <a:cxn ang="0">
                    <a:pos x="661" y="71"/>
                  </a:cxn>
                  <a:cxn ang="0">
                    <a:pos x="670" y="214"/>
                  </a:cxn>
                  <a:cxn ang="0">
                    <a:pos x="831" y="242"/>
                  </a:cxn>
                  <a:cxn ang="0">
                    <a:pos x="844" y="254"/>
                  </a:cxn>
                  <a:cxn ang="0">
                    <a:pos x="845" y="771"/>
                  </a:cxn>
                </a:cxnLst>
                <a:rect l="0" t="0" r="r" b="b"/>
                <a:pathLst>
                  <a:path w="884" h="844">
                    <a:moveTo>
                      <a:pt x="870" y="213"/>
                    </a:moveTo>
                    <a:lnTo>
                      <a:pt x="735" y="61"/>
                    </a:lnTo>
                    <a:lnTo>
                      <a:pt x="735" y="61"/>
                    </a:lnTo>
                    <a:lnTo>
                      <a:pt x="722" y="46"/>
                    </a:lnTo>
                    <a:lnTo>
                      <a:pt x="706" y="35"/>
                    </a:lnTo>
                    <a:lnTo>
                      <a:pt x="691" y="24"/>
                    </a:lnTo>
                    <a:lnTo>
                      <a:pt x="674" y="16"/>
                    </a:lnTo>
                    <a:lnTo>
                      <a:pt x="657" y="9"/>
                    </a:lnTo>
                    <a:lnTo>
                      <a:pt x="638" y="4"/>
                    </a:lnTo>
                    <a:lnTo>
                      <a:pt x="619" y="1"/>
                    </a:lnTo>
                    <a:lnTo>
                      <a:pt x="600" y="0"/>
                    </a:lnTo>
                    <a:lnTo>
                      <a:pt x="300" y="0"/>
                    </a:lnTo>
                    <a:lnTo>
                      <a:pt x="300" y="0"/>
                    </a:lnTo>
                    <a:lnTo>
                      <a:pt x="292" y="1"/>
                    </a:lnTo>
                    <a:lnTo>
                      <a:pt x="284" y="4"/>
                    </a:lnTo>
                    <a:lnTo>
                      <a:pt x="277" y="8"/>
                    </a:lnTo>
                    <a:lnTo>
                      <a:pt x="271" y="14"/>
                    </a:lnTo>
                    <a:lnTo>
                      <a:pt x="265" y="21"/>
                    </a:lnTo>
                    <a:lnTo>
                      <a:pt x="261" y="29"/>
                    </a:lnTo>
                    <a:lnTo>
                      <a:pt x="258" y="38"/>
                    </a:lnTo>
                    <a:lnTo>
                      <a:pt x="258" y="47"/>
                    </a:lnTo>
                    <a:lnTo>
                      <a:pt x="258" y="392"/>
                    </a:lnTo>
                    <a:lnTo>
                      <a:pt x="258" y="392"/>
                    </a:lnTo>
                    <a:lnTo>
                      <a:pt x="207" y="418"/>
                    </a:lnTo>
                    <a:lnTo>
                      <a:pt x="158" y="445"/>
                    </a:lnTo>
                    <a:lnTo>
                      <a:pt x="158" y="445"/>
                    </a:lnTo>
                    <a:lnTo>
                      <a:pt x="102" y="475"/>
                    </a:lnTo>
                    <a:lnTo>
                      <a:pt x="102" y="475"/>
                    </a:lnTo>
                    <a:lnTo>
                      <a:pt x="95" y="479"/>
                    </a:lnTo>
                    <a:lnTo>
                      <a:pt x="89" y="484"/>
                    </a:lnTo>
                    <a:lnTo>
                      <a:pt x="84" y="490"/>
                    </a:lnTo>
                    <a:lnTo>
                      <a:pt x="80" y="497"/>
                    </a:lnTo>
                    <a:lnTo>
                      <a:pt x="80" y="497"/>
                    </a:lnTo>
                    <a:lnTo>
                      <a:pt x="71" y="516"/>
                    </a:lnTo>
                    <a:lnTo>
                      <a:pt x="63" y="535"/>
                    </a:lnTo>
                    <a:lnTo>
                      <a:pt x="55" y="555"/>
                    </a:lnTo>
                    <a:lnTo>
                      <a:pt x="47" y="576"/>
                    </a:lnTo>
                    <a:lnTo>
                      <a:pt x="33" y="618"/>
                    </a:lnTo>
                    <a:lnTo>
                      <a:pt x="21" y="658"/>
                    </a:lnTo>
                    <a:lnTo>
                      <a:pt x="12" y="694"/>
                    </a:lnTo>
                    <a:lnTo>
                      <a:pt x="5" y="722"/>
                    </a:lnTo>
                    <a:lnTo>
                      <a:pt x="0" y="749"/>
                    </a:lnTo>
                    <a:lnTo>
                      <a:pt x="196" y="844"/>
                    </a:lnTo>
                    <a:lnTo>
                      <a:pt x="199" y="843"/>
                    </a:lnTo>
                    <a:lnTo>
                      <a:pt x="199" y="843"/>
                    </a:lnTo>
                    <a:lnTo>
                      <a:pt x="215" y="834"/>
                    </a:lnTo>
                    <a:lnTo>
                      <a:pt x="229" y="825"/>
                    </a:lnTo>
                    <a:lnTo>
                      <a:pt x="237" y="819"/>
                    </a:lnTo>
                    <a:lnTo>
                      <a:pt x="245" y="812"/>
                    </a:lnTo>
                    <a:lnTo>
                      <a:pt x="253" y="804"/>
                    </a:lnTo>
                    <a:lnTo>
                      <a:pt x="263" y="793"/>
                    </a:lnTo>
                    <a:lnTo>
                      <a:pt x="263" y="793"/>
                    </a:lnTo>
                    <a:lnTo>
                      <a:pt x="268" y="802"/>
                    </a:lnTo>
                    <a:lnTo>
                      <a:pt x="275" y="809"/>
                    </a:lnTo>
                    <a:lnTo>
                      <a:pt x="275" y="809"/>
                    </a:lnTo>
                    <a:lnTo>
                      <a:pt x="283" y="815"/>
                    </a:lnTo>
                    <a:lnTo>
                      <a:pt x="288" y="817"/>
                    </a:lnTo>
                    <a:lnTo>
                      <a:pt x="292" y="818"/>
                    </a:lnTo>
                    <a:lnTo>
                      <a:pt x="292" y="818"/>
                    </a:lnTo>
                    <a:lnTo>
                      <a:pt x="300" y="819"/>
                    </a:lnTo>
                    <a:lnTo>
                      <a:pt x="841" y="819"/>
                    </a:lnTo>
                    <a:lnTo>
                      <a:pt x="841" y="819"/>
                    </a:lnTo>
                    <a:lnTo>
                      <a:pt x="849" y="818"/>
                    </a:lnTo>
                    <a:lnTo>
                      <a:pt x="857" y="815"/>
                    </a:lnTo>
                    <a:lnTo>
                      <a:pt x="864" y="811"/>
                    </a:lnTo>
                    <a:lnTo>
                      <a:pt x="871" y="805"/>
                    </a:lnTo>
                    <a:lnTo>
                      <a:pt x="877" y="797"/>
                    </a:lnTo>
                    <a:lnTo>
                      <a:pt x="880" y="789"/>
                    </a:lnTo>
                    <a:lnTo>
                      <a:pt x="883" y="780"/>
                    </a:lnTo>
                    <a:lnTo>
                      <a:pt x="884" y="771"/>
                    </a:lnTo>
                    <a:lnTo>
                      <a:pt x="884" y="249"/>
                    </a:lnTo>
                    <a:lnTo>
                      <a:pt x="884" y="249"/>
                    </a:lnTo>
                    <a:lnTo>
                      <a:pt x="883" y="239"/>
                    </a:lnTo>
                    <a:lnTo>
                      <a:pt x="880" y="230"/>
                    </a:lnTo>
                    <a:lnTo>
                      <a:pt x="876" y="221"/>
                    </a:lnTo>
                    <a:lnTo>
                      <a:pt x="870" y="213"/>
                    </a:lnTo>
                    <a:lnTo>
                      <a:pt x="870" y="213"/>
                    </a:lnTo>
                    <a:close/>
                    <a:moveTo>
                      <a:pt x="845" y="771"/>
                    </a:moveTo>
                    <a:lnTo>
                      <a:pt x="845" y="771"/>
                    </a:lnTo>
                    <a:lnTo>
                      <a:pt x="845" y="775"/>
                    </a:lnTo>
                    <a:lnTo>
                      <a:pt x="843" y="778"/>
                    </a:lnTo>
                    <a:lnTo>
                      <a:pt x="842" y="780"/>
                    </a:lnTo>
                    <a:lnTo>
                      <a:pt x="841" y="780"/>
                    </a:lnTo>
                    <a:lnTo>
                      <a:pt x="321" y="780"/>
                    </a:lnTo>
                    <a:lnTo>
                      <a:pt x="321" y="780"/>
                    </a:lnTo>
                    <a:lnTo>
                      <a:pt x="302" y="781"/>
                    </a:lnTo>
                    <a:lnTo>
                      <a:pt x="300" y="780"/>
                    </a:lnTo>
                    <a:lnTo>
                      <a:pt x="299" y="779"/>
                    </a:lnTo>
                    <a:lnTo>
                      <a:pt x="299" y="779"/>
                    </a:lnTo>
                    <a:lnTo>
                      <a:pt x="297" y="776"/>
                    </a:lnTo>
                    <a:lnTo>
                      <a:pt x="296" y="771"/>
                    </a:lnTo>
                    <a:lnTo>
                      <a:pt x="296" y="751"/>
                    </a:lnTo>
                    <a:lnTo>
                      <a:pt x="296" y="751"/>
                    </a:lnTo>
                    <a:lnTo>
                      <a:pt x="311" y="729"/>
                    </a:lnTo>
                    <a:lnTo>
                      <a:pt x="326" y="705"/>
                    </a:lnTo>
                    <a:lnTo>
                      <a:pt x="355" y="660"/>
                    </a:lnTo>
                    <a:lnTo>
                      <a:pt x="355" y="660"/>
                    </a:lnTo>
                    <a:lnTo>
                      <a:pt x="365" y="645"/>
                    </a:lnTo>
                    <a:lnTo>
                      <a:pt x="375" y="632"/>
                    </a:lnTo>
                    <a:lnTo>
                      <a:pt x="387" y="619"/>
                    </a:lnTo>
                    <a:lnTo>
                      <a:pt x="397" y="608"/>
                    </a:lnTo>
                    <a:lnTo>
                      <a:pt x="397" y="608"/>
                    </a:lnTo>
                    <a:lnTo>
                      <a:pt x="411" y="594"/>
                    </a:lnTo>
                    <a:lnTo>
                      <a:pt x="423" y="581"/>
                    </a:lnTo>
                    <a:lnTo>
                      <a:pt x="427" y="575"/>
                    </a:lnTo>
                    <a:lnTo>
                      <a:pt x="430" y="568"/>
                    </a:lnTo>
                    <a:lnTo>
                      <a:pt x="432" y="562"/>
                    </a:lnTo>
                    <a:lnTo>
                      <a:pt x="433" y="557"/>
                    </a:lnTo>
                    <a:lnTo>
                      <a:pt x="433" y="557"/>
                    </a:lnTo>
                    <a:lnTo>
                      <a:pt x="432" y="551"/>
                    </a:lnTo>
                    <a:lnTo>
                      <a:pt x="429" y="545"/>
                    </a:lnTo>
                    <a:lnTo>
                      <a:pt x="425" y="539"/>
                    </a:lnTo>
                    <a:lnTo>
                      <a:pt x="420" y="533"/>
                    </a:lnTo>
                    <a:lnTo>
                      <a:pt x="412" y="528"/>
                    </a:lnTo>
                    <a:lnTo>
                      <a:pt x="404" y="524"/>
                    </a:lnTo>
                    <a:lnTo>
                      <a:pt x="394" y="521"/>
                    </a:lnTo>
                    <a:lnTo>
                      <a:pt x="383" y="520"/>
                    </a:lnTo>
                    <a:lnTo>
                      <a:pt x="383" y="520"/>
                    </a:lnTo>
                    <a:lnTo>
                      <a:pt x="374" y="521"/>
                    </a:lnTo>
                    <a:lnTo>
                      <a:pt x="365" y="522"/>
                    </a:lnTo>
                    <a:lnTo>
                      <a:pt x="357" y="524"/>
                    </a:lnTo>
                    <a:lnTo>
                      <a:pt x="349" y="526"/>
                    </a:lnTo>
                    <a:lnTo>
                      <a:pt x="341" y="529"/>
                    </a:lnTo>
                    <a:lnTo>
                      <a:pt x="334" y="532"/>
                    </a:lnTo>
                    <a:lnTo>
                      <a:pt x="320" y="541"/>
                    </a:lnTo>
                    <a:lnTo>
                      <a:pt x="307" y="552"/>
                    </a:lnTo>
                    <a:lnTo>
                      <a:pt x="293" y="565"/>
                    </a:lnTo>
                    <a:lnTo>
                      <a:pt x="261" y="595"/>
                    </a:lnTo>
                    <a:lnTo>
                      <a:pt x="261" y="595"/>
                    </a:lnTo>
                    <a:lnTo>
                      <a:pt x="249" y="606"/>
                    </a:lnTo>
                    <a:lnTo>
                      <a:pt x="238" y="615"/>
                    </a:lnTo>
                    <a:lnTo>
                      <a:pt x="224" y="626"/>
                    </a:lnTo>
                    <a:lnTo>
                      <a:pt x="224" y="626"/>
                    </a:lnTo>
                    <a:lnTo>
                      <a:pt x="219" y="624"/>
                    </a:lnTo>
                    <a:lnTo>
                      <a:pt x="214" y="620"/>
                    </a:lnTo>
                    <a:lnTo>
                      <a:pt x="211" y="616"/>
                    </a:lnTo>
                    <a:lnTo>
                      <a:pt x="209" y="610"/>
                    </a:lnTo>
                    <a:lnTo>
                      <a:pt x="209" y="610"/>
                    </a:lnTo>
                    <a:lnTo>
                      <a:pt x="208" y="606"/>
                    </a:lnTo>
                    <a:lnTo>
                      <a:pt x="208" y="601"/>
                    </a:lnTo>
                    <a:lnTo>
                      <a:pt x="211" y="592"/>
                    </a:lnTo>
                    <a:lnTo>
                      <a:pt x="215" y="581"/>
                    </a:lnTo>
                    <a:lnTo>
                      <a:pt x="222" y="569"/>
                    </a:lnTo>
                    <a:lnTo>
                      <a:pt x="230" y="557"/>
                    </a:lnTo>
                    <a:lnTo>
                      <a:pt x="239" y="545"/>
                    </a:lnTo>
                    <a:lnTo>
                      <a:pt x="258" y="520"/>
                    </a:lnTo>
                    <a:lnTo>
                      <a:pt x="258" y="551"/>
                    </a:lnTo>
                    <a:lnTo>
                      <a:pt x="296" y="505"/>
                    </a:lnTo>
                    <a:lnTo>
                      <a:pt x="296" y="47"/>
                    </a:lnTo>
                    <a:lnTo>
                      <a:pt x="296" y="47"/>
                    </a:lnTo>
                    <a:lnTo>
                      <a:pt x="296" y="43"/>
                    </a:lnTo>
                    <a:lnTo>
                      <a:pt x="298" y="40"/>
                    </a:lnTo>
                    <a:lnTo>
                      <a:pt x="299" y="38"/>
                    </a:lnTo>
                    <a:lnTo>
                      <a:pt x="300" y="37"/>
                    </a:lnTo>
                    <a:lnTo>
                      <a:pt x="610" y="37"/>
                    </a:lnTo>
                    <a:lnTo>
                      <a:pt x="610" y="37"/>
                    </a:lnTo>
                    <a:lnTo>
                      <a:pt x="621" y="39"/>
                    </a:lnTo>
                    <a:lnTo>
                      <a:pt x="631" y="42"/>
                    </a:lnTo>
                    <a:lnTo>
                      <a:pt x="640" y="46"/>
                    </a:lnTo>
                    <a:lnTo>
                      <a:pt x="649" y="54"/>
                    </a:lnTo>
                    <a:lnTo>
                      <a:pt x="656" y="62"/>
                    </a:lnTo>
                    <a:lnTo>
                      <a:pt x="661" y="71"/>
                    </a:lnTo>
                    <a:lnTo>
                      <a:pt x="665" y="81"/>
                    </a:lnTo>
                    <a:lnTo>
                      <a:pt x="666" y="91"/>
                    </a:lnTo>
                    <a:lnTo>
                      <a:pt x="670" y="214"/>
                    </a:lnTo>
                    <a:lnTo>
                      <a:pt x="827" y="241"/>
                    </a:lnTo>
                    <a:lnTo>
                      <a:pt x="827" y="241"/>
                    </a:lnTo>
                    <a:lnTo>
                      <a:pt x="831" y="242"/>
                    </a:lnTo>
                    <a:lnTo>
                      <a:pt x="834" y="243"/>
                    </a:lnTo>
                    <a:lnTo>
                      <a:pt x="839" y="248"/>
                    </a:lnTo>
                    <a:lnTo>
                      <a:pt x="844" y="254"/>
                    </a:lnTo>
                    <a:lnTo>
                      <a:pt x="845" y="258"/>
                    </a:lnTo>
                    <a:lnTo>
                      <a:pt x="845" y="261"/>
                    </a:lnTo>
                    <a:lnTo>
                      <a:pt x="845" y="7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4" name="Freeform 42">
                <a:extLst>
                  <a:ext uri="{FF2B5EF4-FFF2-40B4-BE49-F238E27FC236}">
                    <a16:creationId xmlns:a16="http://schemas.microsoft.com/office/drawing/2014/main" id="{2A106D2A-530A-1B00-65E6-CFA2B4FD4586}"/>
                  </a:ext>
                </a:extLst>
              </p:cNvPr>
              <p:cNvSpPr>
                <a:spLocks/>
              </p:cNvSpPr>
              <p:nvPr/>
            </p:nvSpPr>
            <p:spPr bwMode="auto">
              <a:xfrm>
                <a:off x="8843963" y="3336925"/>
                <a:ext cx="519113" cy="82550"/>
              </a:xfrm>
              <a:custGeom>
                <a:avLst/>
                <a:gdLst/>
                <a:ahLst/>
                <a:cxnLst>
                  <a:cxn ang="0">
                    <a:pos x="0" y="52"/>
                  </a:cxn>
                  <a:cxn ang="0">
                    <a:pos x="327" y="52"/>
                  </a:cxn>
                  <a:cxn ang="0">
                    <a:pos x="327" y="0"/>
                  </a:cxn>
                  <a:cxn ang="0">
                    <a:pos x="3" y="0"/>
                  </a:cxn>
                  <a:cxn ang="0">
                    <a:pos x="3" y="0"/>
                  </a:cxn>
                  <a:cxn ang="0">
                    <a:pos x="5" y="6"/>
                  </a:cxn>
                  <a:cxn ang="0">
                    <a:pos x="6" y="12"/>
                  </a:cxn>
                  <a:cxn ang="0">
                    <a:pos x="7" y="18"/>
                  </a:cxn>
                  <a:cxn ang="0">
                    <a:pos x="7" y="24"/>
                  </a:cxn>
                  <a:cxn ang="0">
                    <a:pos x="6" y="31"/>
                  </a:cxn>
                  <a:cxn ang="0">
                    <a:pos x="5" y="37"/>
                  </a:cxn>
                  <a:cxn ang="0">
                    <a:pos x="3" y="45"/>
                  </a:cxn>
                  <a:cxn ang="0">
                    <a:pos x="0" y="52"/>
                  </a:cxn>
                  <a:cxn ang="0">
                    <a:pos x="0" y="52"/>
                  </a:cxn>
                </a:cxnLst>
                <a:rect l="0" t="0" r="r" b="b"/>
                <a:pathLst>
                  <a:path w="327" h="52">
                    <a:moveTo>
                      <a:pt x="0" y="52"/>
                    </a:moveTo>
                    <a:lnTo>
                      <a:pt x="327" y="52"/>
                    </a:lnTo>
                    <a:lnTo>
                      <a:pt x="327" y="0"/>
                    </a:lnTo>
                    <a:lnTo>
                      <a:pt x="3" y="0"/>
                    </a:lnTo>
                    <a:lnTo>
                      <a:pt x="3" y="0"/>
                    </a:lnTo>
                    <a:lnTo>
                      <a:pt x="5" y="6"/>
                    </a:lnTo>
                    <a:lnTo>
                      <a:pt x="6" y="12"/>
                    </a:lnTo>
                    <a:lnTo>
                      <a:pt x="7" y="18"/>
                    </a:lnTo>
                    <a:lnTo>
                      <a:pt x="7" y="24"/>
                    </a:lnTo>
                    <a:lnTo>
                      <a:pt x="6" y="31"/>
                    </a:lnTo>
                    <a:lnTo>
                      <a:pt x="5" y="37"/>
                    </a:lnTo>
                    <a:lnTo>
                      <a:pt x="3" y="45"/>
                    </a:lnTo>
                    <a:lnTo>
                      <a:pt x="0" y="52"/>
                    </a:ln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5" name="Rectangle 43">
                <a:extLst>
                  <a:ext uri="{FF2B5EF4-FFF2-40B4-BE49-F238E27FC236}">
                    <a16:creationId xmlns:a16="http://schemas.microsoft.com/office/drawing/2014/main" id="{8BED11EA-157E-19ED-EB6D-9E3EF4DCF8E5}"/>
                  </a:ext>
                </a:extLst>
              </p:cNvPr>
              <p:cNvSpPr>
                <a:spLocks noChangeArrowheads="1"/>
              </p:cNvSpPr>
              <p:nvPr/>
            </p:nvSpPr>
            <p:spPr bwMode="auto">
              <a:xfrm>
                <a:off x="8666163" y="3149600"/>
                <a:ext cx="696913"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6" name="Freeform 44">
                <a:extLst>
                  <a:ext uri="{FF2B5EF4-FFF2-40B4-BE49-F238E27FC236}">
                    <a16:creationId xmlns:a16="http://schemas.microsoft.com/office/drawing/2014/main" id="{D12945F2-A219-EDA2-2C59-1D40B50E83AB}"/>
                  </a:ext>
                </a:extLst>
              </p:cNvPr>
              <p:cNvSpPr>
                <a:spLocks/>
              </p:cNvSpPr>
              <p:nvPr/>
            </p:nvSpPr>
            <p:spPr bwMode="auto">
              <a:xfrm>
                <a:off x="8694738" y="3529013"/>
                <a:ext cx="320675" cy="80963"/>
              </a:xfrm>
              <a:custGeom>
                <a:avLst/>
                <a:gdLst/>
                <a:ahLst/>
                <a:cxnLst>
                  <a:cxn ang="0">
                    <a:pos x="18" y="22"/>
                  </a:cxn>
                  <a:cxn ang="0">
                    <a:pos x="18" y="22"/>
                  </a:cxn>
                  <a:cxn ang="0">
                    <a:pos x="0" y="51"/>
                  </a:cxn>
                  <a:cxn ang="0">
                    <a:pos x="202" y="51"/>
                  </a:cxn>
                  <a:cxn ang="0">
                    <a:pos x="202" y="0"/>
                  </a:cxn>
                  <a:cxn ang="0">
                    <a:pos x="35" y="0"/>
                  </a:cxn>
                  <a:cxn ang="0">
                    <a:pos x="35" y="0"/>
                  </a:cxn>
                  <a:cxn ang="0">
                    <a:pos x="26" y="11"/>
                  </a:cxn>
                  <a:cxn ang="0">
                    <a:pos x="18" y="22"/>
                  </a:cxn>
                  <a:cxn ang="0">
                    <a:pos x="18" y="22"/>
                  </a:cxn>
                </a:cxnLst>
                <a:rect l="0" t="0" r="r" b="b"/>
                <a:pathLst>
                  <a:path w="202" h="51">
                    <a:moveTo>
                      <a:pt x="18" y="22"/>
                    </a:moveTo>
                    <a:lnTo>
                      <a:pt x="18" y="22"/>
                    </a:lnTo>
                    <a:lnTo>
                      <a:pt x="0" y="51"/>
                    </a:lnTo>
                    <a:lnTo>
                      <a:pt x="202" y="51"/>
                    </a:lnTo>
                    <a:lnTo>
                      <a:pt x="202" y="0"/>
                    </a:lnTo>
                    <a:lnTo>
                      <a:pt x="35" y="0"/>
                    </a:lnTo>
                    <a:lnTo>
                      <a:pt x="35" y="0"/>
                    </a:lnTo>
                    <a:lnTo>
                      <a:pt x="26" y="11"/>
                    </a:lnTo>
                    <a:lnTo>
                      <a:pt x="18" y="22"/>
                    </a:lnTo>
                    <a:lnTo>
                      <a:pt x="1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spTree>
    <p:extLst>
      <p:ext uri="{BB962C8B-B14F-4D97-AF65-F5344CB8AC3E}">
        <p14:creationId xmlns:p14="http://schemas.microsoft.com/office/powerpoint/2010/main" val="2531687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Plan A financials</a:t>
            </a:r>
          </a:p>
        </p:txBody>
      </p:sp>
      <p:pic>
        <p:nvPicPr>
          <p:cNvPr id="10" name="Picture 9">
            <a:extLst>
              <a:ext uri="{FF2B5EF4-FFF2-40B4-BE49-F238E27FC236}">
                <a16:creationId xmlns:a16="http://schemas.microsoft.com/office/drawing/2014/main" id="{A78BCBC7-A6DF-0977-58E3-3D5C4571C0CC}"/>
              </a:ext>
            </a:extLst>
          </p:cNvPr>
          <p:cNvPicPr>
            <a:picLocks noChangeAspect="1"/>
          </p:cNvPicPr>
          <p:nvPr/>
        </p:nvPicPr>
        <p:blipFill>
          <a:blip r:embed="rId3"/>
          <a:stretch>
            <a:fillRect/>
          </a:stretch>
        </p:blipFill>
        <p:spPr>
          <a:xfrm>
            <a:off x="335360" y="836712"/>
            <a:ext cx="6103711" cy="1415295"/>
          </a:xfrm>
          <a:prstGeom prst="rect">
            <a:avLst/>
          </a:prstGeom>
        </p:spPr>
      </p:pic>
      <p:sp>
        <p:nvSpPr>
          <p:cNvPr id="13" name="Rectangle 12">
            <a:extLst>
              <a:ext uri="{FF2B5EF4-FFF2-40B4-BE49-F238E27FC236}">
                <a16:creationId xmlns:a16="http://schemas.microsoft.com/office/drawing/2014/main" id="{45DD805E-2F6B-3D0C-E15A-51B6423DC4CB}"/>
              </a:ext>
            </a:extLst>
          </p:cNvPr>
          <p:cNvSpPr/>
          <p:nvPr/>
        </p:nvSpPr>
        <p:spPr>
          <a:xfrm>
            <a:off x="215121" y="764704"/>
            <a:ext cx="6312927" cy="5492586"/>
          </a:xfrm>
          <a:prstGeom prst="rect">
            <a:avLst/>
          </a:prstGeom>
          <a:noFill/>
          <a:ln w="6350">
            <a:solidFill>
              <a:srgbClr val="384044"/>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dirty="0"/>
          </a:p>
        </p:txBody>
      </p:sp>
      <p:sp>
        <p:nvSpPr>
          <p:cNvPr id="3" name="Footer Placeholder 11">
            <a:extLst>
              <a:ext uri="{FF2B5EF4-FFF2-40B4-BE49-F238E27FC236}">
                <a16:creationId xmlns:a16="http://schemas.microsoft.com/office/drawing/2014/main" id="{767639B7-95B6-B180-D832-AC91A11A11D7}"/>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
        <p:nvSpPr>
          <p:cNvPr id="4" name="Speech Bubble: Rectangle with Corners Rounded 3">
            <a:extLst>
              <a:ext uri="{FF2B5EF4-FFF2-40B4-BE49-F238E27FC236}">
                <a16:creationId xmlns:a16="http://schemas.microsoft.com/office/drawing/2014/main" id="{6985FF3C-DCA0-A956-BF9F-BA5C416C4F0F}"/>
              </a:ext>
            </a:extLst>
          </p:cNvPr>
          <p:cNvSpPr/>
          <p:nvPr/>
        </p:nvSpPr>
        <p:spPr>
          <a:xfrm>
            <a:off x="7913404" y="302078"/>
            <a:ext cx="2664296" cy="1008112"/>
          </a:xfrm>
          <a:prstGeom prst="wedgeRoundRectCallout">
            <a:avLst>
              <a:gd name="adj1" fmla="val -244322"/>
              <a:gd name="adj2" fmla="val 35242"/>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ast Furnace Restart in June with normal production in July </a:t>
            </a:r>
          </a:p>
        </p:txBody>
      </p:sp>
      <p:sp>
        <p:nvSpPr>
          <p:cNvPr id="6" name="Speech Bubble: Rectangle with Corners Rounded 5">
            <a:extLst>
              <a:ext uri="{FF2B5EF4-FFF2-40B4-BE49-F238E27FC236}">
                <a16:creationId xmlns:a16="http://schemas.microsoft.com/office/drawing/2014/main" id="{A0F6011F-7A00-4EC2-8384-1EE8419A4E96}"/>
              </a:ext>
            </a:extLst>
          </p:cNvPr>
          <p:cNvSpPr/>
          <p:nvPr/>
        </p:nvSpPr>
        <p:spPr>
          <a:xfrm>
            <a:off x="7913404" y="1544359"/>
            <a:ext cx="2664296" cy="1008112"/>
          </a:xfrm>
          <a:prstGeom prst="wedgeRoundRectCallout">
            <a:avLst>
              <a:gd name="adj1" fmla="val -242268"/>
              <a:gd name="adj2" fmla="val -57788"/>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hipments of finished goods from own slabs</a:t>
            </a:r>
          </a:p>
        </p:txBody>
      </p:sp>
      <p:sp>
        <p:nvSpPr>
          <p:cNvPr id="9" name="Speech Bubble: Rectangle with Corners Rounded 8">
            <a:extLst>
              <a:ext uri="{FF2B5EF4-FFF2-40B4-BE49-F238E27FC236}">
                <a16:creationId xmlns:a16="http://schemas.microsoft.com/office/drawing/2014/main" id="{0E2B9E1E-9196-2C57-130A-3343B1AC6F8E}"/>
              </a:ext>
            </a:extLst>
          </p:cNvPr>
          <p:cNvSpPr/>
          <p:nvPr/>
        </p:nvSpPr>
        <p:spPr>
          <a:xfrm>
            <a:off x="7919259" y="5197780"/>
            <a:ext cx="2664296" cy="1059510"/>
          </a:xfrm>
          <a:prstGeom prst="wedgeRoundRectCallout">
            <a:avLst>
              <a:gd name="adj1" fmla="val -111604"/>
              <a:gd name="adj2" fmla="val -3854"/>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Group support for the period June onwards Euro 115m. (Euro 45m before June  </a:t>
            </a:r>
          </a:p>
        </p:txBody>
      </p:sp>
      <p:sp>
        <p:nvSpPr>
          <p:cNvPr id="16" name="Speech Bubble: Rectangle with Corners Rounded 15">
            <a:extLst>
              <a:ext uri="{FF2B5EF4-FFF2-40B4-BE49-F238E27FC236}">
                <a16:creationId xmlns:a16="http://schemas.microsoft.com/office/drawing/2014/main" id="{A2155543-1FED-97ED-A843-66E58B7C8458}"/>
              </a:ext>
            </a:extLst>
          </p:cNvPr>
          <p:cNvSpPr/>
          <p:nvPr/>
        </p:nvSpPr>
        <p:spPr>
          <a:xfrm>
            <a:off x="7913404" y="3917387"/>
            <a:ext cx="2664296" cy="1008112"/>
          </a:xfrm>
          <a:prstGeom prst="wedgeRoundRectCallout">
            <a:avLst>
              <a:gd name="adj1" fmla="val -152414"/>
              <a:gd name="adj2" fmla="val 136913"/>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maining payments of outstanding debt  </a:t>
            </a:r>
          </a:p>
        </p:txBody>
      </p:sp>
      <p:pic>
        <p:nvPicPr>
          <p:cNvPr id="7" name="Picture 6">
            <a:extLst>
              <a:ext uri="{FF2B5EF4-FFF2-40B4-BE49-F238E27FC236}">
                <a16:creationId xmlns:a16="http://schemas.microsoft.com/office/drawing/2014/main" id="{D79BFAD3-8C87-4DA1-9B0F-B39275BCBD41}"/>
              </a:ext>
            </a:extLst>
          </p:cNvPr>
          <p:cNvPicPr>
            <a:picLocks noChangeAspect="1"/>
          </p:cNvPicPr>
          <p:nvPr/>
        </p:nvPicPr>
        <p:blipFill>
          <a:blip r:embed="rId4"/>
          <a:stretch>
            <a:fillRect/>
          </a:stretch>
        </p:blipFill>
        <p:spPr>
          <a:xfrm>
            <a:off x="335360" y="2324015"/>
            <a:ext cx="6109946" cy="3933275"/>
          </a:xfrm>
          <a:prstGeom prst="rect">
            <a:avLst/>
          </a:prstGeom>
        </p:spPr>
      </p:pic>
      <p:sp>
        <p:nvSpPr>
          <p:cNvPr id="8" name="Speech Bubble: Rectangle with Corners Rounded 7">
            <a:extLst>
              <a:ext uri="{FF2B5EF4-FFF2-40B4-BE49-F238E27FC236}">
                <a16:creationId xmlns:a16="http://schemas.microsoft.com/office/drawing/2014/main" id="{6995F404-FE1E-D36A-EC93-89A1C12AC38D}"/>
              </a:ext>
            </a:extLst>
          </p:cNvPr>
          <p:cNvSpPr/>
          <p:nvPr/>
        </p:nvSpPr>
        <p:spPr>
          <a:xfrm>
            <a:off x="7924873" y="2730873"/>
            <a:ext cx="2664296" cy="1008112"/>
          </a:xfrm>
          <a:prstGeom prst="wedgeRoundRectCallout">
            <a:avLst>
              <a:gd name="adj1" fmla="val -232295"/>
              <a:gd name="adj2" fmla="val 101913"/>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he first tranche of overdue payments </a:t>
            </a:r>
          </a:p>
        </p:txBody>
      </p:sp>
    </p:spTree>
    <p:extLst>
      <p:ext uri="{BB962C8B-B14F-4D97-AF65-F5344CB8AC3E}">
        <p14:creationId xmlns:p14="http://schemas.microsoft.com/office/powerpoint/2010/main" val="41836517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earing a hard hat and a helmet&#10;&#10;Description automatically generated">
            <a:extLst>
              <a:ext uri="{FF2B5EF4-FFF2-40B4-BE49-F238E27FC236}">
                <a16:creationId xmlns:a16="http://schemas.microsoft.com/office/drawing/2014/main" id="{83DE5D8C-2884-92CE-9EB3-BB8810CB65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6272"/>
          <a:stretch/>
        </p:blipFill>
        <p:spPr>
          <a:xfrm>
            <a:off x="-7640" y="-520"/>
            <a:ext cx="12179052" cy="6858520"/>
          </a:xfrm>
          <a:prstGeom prst="rect">
            <a:avLst/>
          </a:prstGeom>
        </p:spPr>
      </p:pic>
      <p:sp>
        <p:nvSpPr>
          <p:cNvPr id="5" name="Rectangle 4">
            <a:extLst>
              <a:ext uri="{FF2B5EF4-FFF2-40B4-BE49-F238E27FC236}">
                <a16:creationId xmlns:a16="http://schemas.microsoft.com/office/drawing/2014/main" id="{35B03DDB-9947-B89F-F2AB-555F812EA5F3}"/>
              </a:ext>
            </a:extLst>
          </p:cNvPr>
          <p:cNvSpPr/>
          <p:nvPr/>
        </p:nvSpPr>
        <p:spPr>
          <a:xfrm>
            <a:off x="0" y="0"/>
            <a:ext cx="12192000" cy="6858000"/>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1D5D8C84-5A62-4F9A-8498-4FA795CD3DF6}"/>
              </a:ext>
            </a:extLst>
          </p:cNvPr>
          <p:cNvSpPr txBox="1"/>
          <p:nvPr/>
        </p:nvSpPr>
        <p:spPr>
          <a:xfrm flipH="1">
            <a:off x="847740" y="2911876"/>
            <a:ext cx="75538" cy="887767"/>
          </a:xfrm>
          <a:prstGeom prst="rect">
            <a:avLst/>
          </a:prstGeom>
          <a:solidFill>
            <a:srgbClr val="00B0F0"/>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71066"/>
              </a:solidFill>
              <a:effectLst/>
              <a:uLnTx/>
              <a:uFillTx/>
              <a:latin typeface="Calibri" panose="020F0502020204030204"/>
              <a:ea typeface="+mn-ea"/>
              <a:cs typeface="+mn-cs"/>
            </a:endParaRPr>
          </a:p>
        </p:txBody>
      </p:sp>
      <p:sp>
        <p:nvSpPr>
          <p:cNvPr id="12" name="Title 7">
            <a:extLst>
              <a:ext uri="{FF2B5EF4-FFF2-40B4-BE49-F238E27FC236}">
                <a16:creationId xmlns:a16="http://schemas.microsoft.com/office/drawing/2014/main" id="{66449046-45CF-4FA3-8634-C2540490D9AD}"/>
              </a:ext>
            </a:extLst>
          </p:cNvPr>
          <p:cNvSpPr txBox="1">
            <a:spLocks/>
          </p:cNvSpPr>
          <p:nvPr/>
        </p:nvSpPr>
        <p:spPr>
          <a:xfrm>
            <a:off x="1211068" y="2392425"/>
            <a:ext cx="5125611" cy="19266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500" b="1" kern="1200">
                <a:solidFill>
                  <a:schemeClr val="bg1"/>
                </a:solidFill>
                <a:latin typeface="Century Gothic" panose="020B0502020202020204" pitchFamily="34" charset="0"/>
                <a:ea typeface="+mj-ea"/>
                <a:cs typeface="Calibri Light" panose="020F0302020204030204" pitchFamily="34" charset="0"/>
              </a:defRPr>
            </a:lvl1pPr>
          </a:lstStyle>
          <a:p>
            <a:r>
              <a:rPr lang="en-US" sz="3600" dirty="0"/>
              <a:t>Restructuring Plan B – New Energy Complex</a:t>
            </a:r>
            <a:endParaRPr lang="en-US" sz="3600" b="1" dirty="0"/>
          </a:p>
        </p:txBody>
      </p:sp>
      <p:pic>
        <p:nvPicPr>
          <p:cNvPr id="6" name="Picture 5" descr="A picture containing text, clipart&#10;&#10;Description automatically generated">
            <a:extLst>
              <a:ext uri="{FF2B5EF4-FFF2-40B4-BE49-F238E27FC236}">
                <a16:creationId xmlns:a16="http://schemas.microsoft.com/office/drawing/2014/main" id="{9E212641-EC0F-7410-2B16-D447E94DC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973" y="5805264"/>
            <a:ext cx="2024619" cy="480763"/>
          </a:xfrm>
          <a:prstGeom prst="rect">
            <a:avLst/>
          </a:prstGeom>
        </p:spPr>
      </p:pic>
    </p:spTree>
    <p:extLst>
      <p:ext uri="{BB962C8B-B14F-4D97-AF65-F5344CB8AC3E}">
        <p14:creationId xmlns:p14="http://schemas.microsoft.com/office/powerpoint/2010/main" val="2066237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Plan B - Overview</a:t>
            </a:r>
          </a:p>
        </p:txBody>
      </p:sp>
      <p:pic>
        <p:nvPicPr>
          <p:cNvPr id="6" name="Picture 5">
            <a:extLst>
              <a:ext uri="{FF2B5EF4-FFF2-40B4-BE49-F238E27FC236}">
                <a16:creationId xmlns:a16="http://schemas.microsoft.com/office/drawing/2014/main" id="{23798DA8-C75F-7371-DB3C-07F6FB3BBE46}"/>
              </a:ext>
            </a:extLst>
          </p:cNvPr>
          <p:cNvPicPr>
            <a:picLocks noChangeAspect="1"/>
          </p:cNvPicPr>
          <p:nvPr/>
        </p:nvPicPr>
        <p:blipFill rotWithShape="1">
          <a:blip r:embed="rId3">
            <a:extLst>
              <a:ext uri="{28A0092B-C50C-407E-A947-70E740481C1C}">
                <a14:useLocalDpi xmlns:a14="http://schemas.microsoft.com/office/drawing/2010/main" val="0"/>
              </a:ext>
            </a:extLst>
          </a:blip>
          <a:srcRect t="37550" b="20791"/>
          <a:stretch/>
        </p:blipFill>
        <p:spPr>
          <a:xfrm>
            <a:off x="830787" y="2566557"/>
            <a:ext cx="10647640" cy="1798547"/>
          </a:xfrm>
          <a:prstGeom prst="rect">
            <a:avLst/>
          </a:prstGeom>
        </p:spPr>
      </p:pic>
      <p:sp>
        <p:nvSpPr>
          <p:cNvPr id="7" name="Rectangle 6">
            <a:extLst>
              <a:ext uri="{FF2B5EF4-FFF2-40B4-BE49-F238E27FC236}">
                <a16:creationId xmlns:a16="http://schemas.microsoft.com/office/drawing/2014/main" id="{2235C851-0427-76DD-E4D7-7A3E31E304B7}"/>
              </a:ext>
            </a:extLst>
          </p:cNvPr>
          <p:cNvSpPr/>
          <p:nvPr/>
        </p:nvSpPr>
        <p:spPr>
          <a:xfrm>
            <a:off x="830788" y="2566557"/>
            <a:ext cx="10647640" cy="1798547"/>
          </a:xfrm>
          <a:prstGeom prst="rect">
            <a:avLst/>
          </a:prstGeom>
          <a:solidFill>
            <a:schemeClr val="tx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32868943-B1FF-7D5C-BF1C-868C806119D2}"/>
              </a:ext>
            </a:extLst>
          </p:cNvPr>
          <p:cNvSpPr/>
          <p:nvPr/>
        </p:nvSpPr>
        <p:spPr>
          <a:xfrm>
            <a:off x="839415" y="4482987"/>
            <a:ext cx="5544617" cy="1754325"/>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4D201F81-8942-3EA5-799F-E5BE5DBAD2CB}"/>
              </a:ext>
            </a:extLst>
          </p:cNvPr>
          <p:cNvSpPr txBox="1"/>
          <p:nvPr/>
        </p:nvSpPr>
        <p:spPr>
          <a:xfrm>
            <a:off x="851684" y="4482987"/>
            <a:ext cx="5566219" cy="1797928"/>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Pct val="75000"/>
              <a:buFontTx/>
              <a:buNone/>
              <a:tabLst/>
              <a:defRPr/>
            </a:pPr>
            <a:r>
              <a:rPr lang="en-GB" sz="1500" dirty="0">
                <a:solidFill>
                  <a:prstClr val="black"/>
                </a:solidFill>
                <a:latin typeface="Calibri" panose="020F0502020204030204" pitchFamily="34" charset="0"/>
                <a:cs typeface="Calibri" panose="020F0502020204030204" pitchFamily="34" charset="0"/>
              </a:rPr>
              <a:t>The new Electric Blower solution has been developed over the last number of months in parallel with the </a:t>
            </a:r>
            <a:r>
              <a:rPr lang="en-GB" sz="1500" dirty="0" err="1">
                <a:solidFill>
                  <a:prstClr val="black"/>
                </a:solidFill>
                <a:latin typeface="Calibri" panose="020F0502020204030204" pitchFamily="34" charset="0"/>
                <a:cs typeface="Calibri" panose="020F0502020204030204" pitchFamily="34" charset="0"/>
              </a:rPr>
              <a:t>Tameh</a:t>
            </a:r>
            <a:r>
              <a:rPr lang="en-GB" sz="1500" dirty="0">
                <a:solidFill>
                  <a:prstClr val="black"/>
                </a:solidFill>
                <a:latin typeface="Calibri" panose="020F0502020204030204" pitchFamily="34" charset="0"/>
                <a:cs typeface="Calibri" panose="020F0502020204030204" pitchFamily="34" charset="0"/>
              </a:rPr>
              <a:t> discussion</a:t>
            </a: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a:p>
            <a:pPr marL="285750" marR="0" lvl="0" indent="-28575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e have already received OEM (Original Equipment Manufacturer) quotes based on detail specifications. </a:t>
            </a:r>
          </a:p>
          <a:p>
            <a:pPr marL="285750" marR="0" lvl="0" indent="-28575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lang="en-GB" sz="1500" dirty="0">
                <a:solidFill>
                  <a:prstClr val="black"/>
                </a:solidFill>
                <a:latin typeface="Calibri" panose="020F0502020204030204" pitchFamily="34" charset="0"/>
                <a:cs typeface="Calibri" panose="020F0502020204030204" pitchFamily="34" charset="0"/>
              </a:rPr>
              <a:t>Delivery timelines as well as installation and commissioning is planned over an 8month period. </a:t>
            </a: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a:p>
            <a:pPr marL="285750" marR="0" lvl="0" indent="-28575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lang="en-GB" sz="1500" dirty="0">
                <a:solidFill>
                  <a:prstClr val="black"/>
                </a:solidFill>
                <a:latin typeface="Calibri" panose="020F0502020204030204" pitchFamily="34" charset="0"/>
                <a:cs typeface="Calibri" panose="020F0502020204030204" pitchFamily="34" charset="0"/>
              </a:rPr>
              <a:t>Existing similar machines are also available on the market</a:t>
            </a:r>
            <a:endPar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 name="Rectangle 13">
            <a:extLst>
              <a:ext uri="{FF2B5EF4-FFF2-40B4-BE49-F238E27FC236}">
                <a16:creationId xmlns:a16="http://schemas.microsoft.com/office/drawing/2014/main" id="{3C41584C-8ADF-1469-058A-8CEE9AC88F97}"/>
              </a:ext>
            </a:extLst>
          </p:cNvPr>
          <p:cNvSpPr/>
          <p:nvPr/>
        </p:nvSpPr>
        <p:spPr>
          <a:xfrm>
            <a:off x="817939" y="908720"/>
            <a:ext cx="3568700" cy="1431870"/>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DE9F390-CEB0-853E-E6D6-7272FF0EC244}"/>
              </a:ext>
            </a:extLst>
          </p:cNvPr>
          <p:cNvSpPr txBox="1"/>
          <p:nvPr/>
        </p:nvSpPr>
        <p:spPr>
          <a:xfrm>
            <a:off x="955972" y="996563"/>
            <a:ext cx="3555852"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ssumes no agreement with </a:t>
            </a:r>
            <a:r>
              <a:rPr kumimoji="0" lang="en-GB" sz="15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Tameh</a:t>
            </a: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or the provision of utilities with the exception of energy distribution.</a:t>
            </a:r>
          </a:p>
        </p:txBody>
      </p:sp>
      <p:sp>
        <p:nvSpPr>
          <p:cNvPr id="16" name="Rectangle 15">
            <a:extLst>
              <a:ext uri="{FF2B5EF4-FFF2-40B4-BE49-F238E27FC236}">
                <a16:creationId xmlns:a16="http://schemas.microsoft.com/office/drawing/2014/main" id="{2411B60F-343D-CAEE-AD97-EEF0CC9EBA0A}"/>
              </a:ext>
            </a:extLst>
          </p:cNvPr>
          <p:cNvSpPr/>
          <p:nvPr/>
        </p:nvSpPr>
        <p:spPr>
          <a:xfrm>
            <a:off x="4459679" y="908720"/>
            <a:ext cx="3568700"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087AD13-0BA3-48DC-5DC6-BA4256D93084}"/>
              </a:ext>
            </a:extLst>
          </p:cNvPr>
          <p:cNvSpPr/>
          <p:nvPr/>
        </p:nvSpPr>
        <p:spPr>
          <a:xfrm>
            <a:off x="8099376" y="908720"/>
            <a:ext cx="3357575"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D88E142-DA72-71FE-10FB-B0DAC553F717}"/>
              </a:ext>
            </a:extLst>
          </p:cNvPr>
          <p:cNvSpPr txBox="1"/>
          <p:nvPr/>
        </p:nvSpPr>
        <p:spPr>
          <a:xfrm>
            <a:off x="4711132" y="972408"/>
            <a:ext cx="3223676" cy="124649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urchasing of imported raw material to commence the rolling mills. This will continue to ramp up to 80Kt before the transition to own produced slabs by 31 December 2024.</a:t>
            </a:r>
          </a:p>
        </p:txBody>
      </p:sp>
      <p:sp>
        <p:nvSpPr>
          <p:cNvPr id="2" name="Rectangle 1">
            <a:extLst>
              <a:ext uri="{FF2B5EF4-FFF2-40B4-BE49-F238E27FC236}">
                <a16:creationId xmlns:a16="http://schemas.microsoft.com/office/drawing/2014/main" id="{80477788-C028-0AC3-148D-AB6B9274FC28}"/>
              </a:ext>
            </a:extLst>
          </p:cNvPr>
          <p:cNvSpPr/>
          <p:nvPr/>
        </p:nvSpPr>
        <p:spPr>
          <a:xfrm>
            <a:off x="6456040" y="4482987"/>
            <a:ext cx="5000911" cy="1754325"/>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A631CEA-4891-324C-2A48-FA6D676EE8A7}"/>
              </a:ext>
            </a:extLst>
          </p:cNvPr>
          <p:cNvSpPr txBox="1"/>
          <p:nvPr/>
        </p:nvSpPr>
        <p:spPr>
          <a:xfrm>
            <a:off x="8099376" y="903597"/>
            <a:ext cx="3274685" cy="124649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target date for the restart of the BF is before the end of Dec 2024. The Blast Furnace and other equipment will be provided with the required utilities from the newly installed equipment</a:t>
            </a:r>
          </a:p>
        </p:txBody>
      </p:sp>
      <p:sp>
        <p:nvSpPr>
          <p:cNvPr id="9" name="Footer Placeholder 11">
            <a:extLst>
              <a:ext uri="{FF2B5EF4-FFF2-40B4-BE49-F238E27FC236}">
                <a16:creationId xmlns:a16="http://schemas.microsoft.com/office/drawing/2014/main" id="{818CA669-6B7A-C754-B55A-4D5F07572B37}"/>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grpSp>
        <p:nvGrpSpPr>
          <p:cNvPr id="36" name="Group 35">
            <a:extLst>
              <a:ext uri="{FF2B5EF4-FFF2-40B4-BE49-F238E27FC236}">
                <a16:creationId xmlns:a16="http://schemas.microsoft.com/office/drawing/2014/main" id="{CD1CC98D-2A10-34A0-B066-7A9D551976BB}"/>
              </a:ext>
            </a:extLst>
          </p:cNvPr>
          <p:cNvGrpSpPr/>
          <p:nvPr/>
        </p:nvGrpSpPr>
        <p:grpSpPr>
          <a:xfrm>
            <a:off x="4691722" y="2871941"/>
            <a:ext cx="2628414" cy="1205131"/>
            <a:chOff x="4976816" y="2914532"/>
            <a:chExt cx="2628414" cy="1205131"/>
          </a:xfrm>
        </p:grpSpPr>
        <p:sp>
          <p:nvSpPr>
            <p:cNvPr id="37" name="TextBox 36">
              <a:extLst>
                <a:ext uri="{FF2B5EF4-FFF2-40B4-BE49-F238E27FC236}">
                  <a16:creationId xmlns:a16="http://schemas.microsoft.com/office/drawing/2014/main" id="{8871B3CE-58BB-BC0B-2EAD-899FBE567B0F}"/>
                </a:ext>
              </a:extLst>
            </p:cNvPr>
            <p:cNvSpPr txBox="1"/>
            <p:nvPr/>
          </p:nvSpPr>
          <p:spPr>
            <a:xfrm>
              <a:off x="4976816" y="3534888"/>
              <a:ext cx="26284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Plan B</a:t>
              </a:r>
            </a:p>
          </p:txBody>
        </p:sp>
        <p:grpSp>
          <p:nvGrpSpPr>
            <p:cNvPr id="38" name="Group 37">
              <a:extLst>
                <a:ext uri="{FF2B5EF4-FFF2-40B4-BE49-F238E27FC236}">
                  <a16:creationId xmlns:a16="http://schemas.microsoft.com/office/drawing/2014/main" id="{9241DE90-418A-0FDA-C114-8A1505579751}"/>
                </a:ext>
              </a:extLst>
            </p:cNvPr>
            <p:cNvGrpSpPr/>
            <p:nvPr/>
          </p:nvGrpSpPr>
          <p:grpSpPr>
            <a:xfrm>
              <a:off x="5936684" y="2914532"/>
              <a:ext cx="671380" cy="661338"/>
              <a:chOff x="8026400" y="2486025"/>
              <a:chExt cx="1485900" cy="1463676"/>
            </a:xfrm>
            <a:solidFill>
              <a:schemeClr val="bg1"/>
            </a:solidFill>
          </p:grpSpPr>
          <p:sp>
            <p:nvSpPr>
              <p:cNvPr id="39" name="Freeform 38">
                <a:extLst>
                  <a:ext uri="{FF2B5EF4-FFF2-40B4-BE49-F238E27FC236}">
                    <a16:creationId xmlns:a16="http://schemas.microsoft.com/office/drawing/2014/main" id="{90560D3E-5758-522B-0227-4FDEC291923F}"/>
                  </a:ext>
                </a:extLst>
              </p:cNvPr>
              <p:cNvSpPr>
                <a:spLocks/>
              </p:cNvSpPr>
              <p:nvPr/>
            </p:nvSpPr>
            <p:spPr bwMode="auto">
              <a:xfrm>
                <a:off x="8026400" y="3697288"/>
                <a:ext cx="420688" cy="252413"/>
              </a:xfrm>
              <a:custGeom>
                <a:avLst/>
                <a:gdLst/>
                <a:ahLst/>
                <a:cxnLst>
                  <a:cxn ang="0">
                    <a:pos x="0" y="88"/>
                  </a:cxn>
                  <a:cxn ang="0">
                    <a:pos x="245" y="159"/>
                  </a:cxn>
                  <a:cxn ang="0">
                    <a:pos x="265" y="120"/>
                  </a:cxn>
                  <a:cxn ang="0">
                    <a:pos x="19" y="0"/>
                  </a:cxn>
                  <a:cxn ang="0">
                    <a:pos x="0" y="88"/>
                  </a:cxn>
                </a:cxnLst>
                <a:rect l="0" t="0" r="r" b="b"/>
                <a:pathLst>
                  <a:path w="265" h="159">
                    <a:moveTo>
                      <a:pt x="0" y="88"/>
                    </a:moveTo>
                    <a:lnTo>
                      <a:pt x="245" y="159"/>
                    </a:lnTo>
                    <a:lnTo>
                      <a:pt x="265" y="120"/>
                    </a:lnTo>
                    <a:lnTo>
                      <a:pt x="19"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0" name="Rectangle 39">
                <a:extLst>
                  <a:ext uri="{FF2B5EF4-FFF2-40B4-BE49-F238E27FC236}">
                    <a16:creationId xmlns:a16="http://schemas.microsoft.com/office/drawing/2014/main" id="{6C4F8522-B930-256E-62DE-05C9E1DCF8B8}"/>
                  </a:ext>
                </a:extLst>
              </p:cNvPr>
              <p:cNvSpPr>
                <a:spLocks noChangeArrowheads="1"/>
              </p:cNvSpPr>
              <p:nvPr/>
            </p:nvSpPr>
            <p:spPr bwMode="auto">
              <a:xfrm>
                <a:off x="8743950" y="2959100"/>
                <a:ext cx="619125"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1" name="Rectangle 40">
                <a:extLst>
                  <a:ext uri="{FF2B5EF4-FFF2-40B4-BE49-F238E27FC236}">
                    <a16:creationId xmlns:a16="http://schemas.microsoft.com/office/drawing/2014/main" id="{83E0C226-0177-3CC1-2E90-498170206BCC}"/>
                  </a:ext>
                </a:extLst>
              </p:cNvPr>
              <p:cNvSpPr>
                <a:spLocks noChangeArrowheads="1"/>
              </p:cNvSpPr>
              <p:nvPr/>
            </p:nvSpPr>
            <p:spPr bwMode="auto">
              <a:xfrm>
                <a:off x="8743950" y="2770188"/>
                <a:ext cx="271463" cy="825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2" name="Freeform 41">
                <a:extLst>
                  <a:ext uri="{FF2B5EF4-FFF2-40B4-BE49-F238E27FC236}">
                    <a16:creationId xmlns:a16="http://schemas.microsoft.com/office/drawing/2014/main" id="{2A1F8656-7B8C-93B0-4848-FC1B136DB4F9}"/>
                  </a:ext>
                </a:extLst>
              </p:cNvPr>
              <p:cNvSpPr>
                <a:spLocks noEditPoints="1"/>
              </p:cNvSpPr>
              <p:nvPr/>
            </p:nvSpPr>
            <p:spPr bwMode="auto">
              <a:xfrm>
                <a:off x="8108950" y="2486025"/>
                <a:ext cx="1403350" cy="1339850"/>
              </a:xfrm>
              <a:custGeom>
                <a:avLst/>
                <a:gdLst/>
                <a:ahLst/>
                <a:cxnLst>
                  <a:cxn ang="0">
                    <a:pos x="735" y="61"/>
                  </a:cxn>
                  <a:cxn ang="0">
                    <a:pos x="691" y="24"/>
                  </a:cxn>
                  <a:cxn ang="0">
                    <a:pos x="638" y="4"/>
                  </a:cxn>
                  <a:cxn ang="0">
                    <a:pos x="300" y="0"/>
                  </a:cxn>
                  <a:cxn ang="0">
                    <a:pos x="284" y="4"/>
                  </a:cxn>
                  <a:cxn ang="0">
                    <a:pos x="265" y="21"/>
                  </a:cxn>
                  <a:cxn ang="0">
                    <a:pos x="258" y="47"/>
                  </a:cxn>
                  <a:cxn ang="0">
                    <a:pos x="207" y="418"/>
                  </a:cxn>
                  <a:cxn ang="0">
                    <a:pos x="102" y="475"/>
                  </a:cxn>
                  <a:cxn ang="0">
                    <a:pos x="89" y="484"/>
                  </a:cxn>
                  <a:cxn ang="0">
                    <a:pos x="80" y="497"/>
                  </a:cxn>
                  <a:cxn ang="0">
                    <a:pos x="55" y="555"/>
                  </a:cxn>
                  <a:cxn ang="0">
                    <a:pos x="21" y="658"/>
                  </a:cxn>
                  <a:cxn ang="0">
                    <a:pos x="0" y="749"/>
                  </a:cxn>
                  <a:cxn ang="0">
                    <a:pos x="199" y="843"/>
                  </a:cxn>
                  <a:cxn ang="0">
                    <a:pos x="237" y="819"/>
                  </a:cxn>
                  <a:cxn ang="0">
                    <a:pos x="263" y="793"/>
                  </a:cxn>
                  <a:cxn ang="0">
                    <a:pos x="275" y="809"/>
                  </a:cxn>
                  <a:cxn ang="0">
                    <a:pos x="288" y="817"/>
                  </a:cxn>
                  <a:cxn ang="0">
                    <a:pos x="300" y="819"/>
                  </a:cxn>
                  <a:cxn ang="0">
                    <a:pos x="849" y="818"/>
                  </a:cxn>
                  <a:cxn ang="0">
                    <a:pos x="871" y="805"/>
                  </a:cxn>
                  <a:cxn ang="0">
                    <a:pos x="883" y="780"/>
                  </a:cxn>
                  <a:cxn ang="0">
                    <a:pos x="884" y="249"/>
                  </a:cxn>
                  <a:cxn ang="0">
                    <a:pos x="876" y="221"/>
                  </a:cxn>
                  <a:cxn ang="0">
                    <a:pos x="845" y="771"/>
                  </a:cxn>
                  <a:cxn ang="0">
                    <a:pos x="843" y="778"/>
                  </a:cxn>
                  <a:cxn ang="0">
                    <a:pos x="321" y="780"/>
                  </a:cxn>
                  <a:cxn ang="0">
                    <a:pos x="300" y="780"/>
                  </a:cxn>
                  <a:cxn ang="0">
                    <a:pos x="297" y="776"/>
                  </a:cxn>
                  <a:cxn ang="0">
                    <a:pos x="296" y="751"/>
                  </a:cxn>
                  <a:cxn ang="0">
                    <a:pos x="355" y="660"/>
                  </a:cxn>
                  <a:cxn ang="0">
                    <a:pos x="375" y="632"/>
                  </a:cxn>
                  <a:cxn ang="0">
                    <a:pos x="397" y="608"/>
                  </a:cxn>
                  <a:cxn ang="0">
                    <a:pos x="427" y="575"/>
                  </a:cxn>
                  <a:cxn ang="0">
                    <a:pos x="433" y="557"/>
                  </a:cxn>
                  <a:cxn ang="0">
                    <a:pos x="429" y="545"/>
                  </a:cxn>
                  <a:cxn ang="0">
                    <a:pos x="412" y="528"/>
                  </a:cxn>
                  <a:cxn ang="0">
                    <a:pos x="383" y="520"/>
                  </a:cxn>
                  <a:cxn ang="0">
                    <a:pos x="365" y="522"/>
                  </a:cxn>
                  <a:cxn ang="0">
                    <a:pos x="341" y="529"/>
                  </a:cxn>
                  <a:cxn ang="0">
                    <a:pos x="307" y="552"/>
                  </a:cxn>
                  <a:cxn ang="0">
                    <a:pos x="261" y="595"/>
                  </a:cxn>
                  <a:cxn ang="0">
                    <a:pos x="224" y="626"/>
                  </a:cxn>
                  <a:cxn ang="0">
                    <a:pos x="214" y="620"/>
                  </a:cxn>
                  <a:cxn ang="0">
                    <a:pos x="209" y="610"/>
                  </a:cxn>
                  <a:cxn ang="0">
                    <a:pos x="211" y="592"/>
                  </a:cxn>
                  <a:cxn ang="0">
                    <a:pos x="230" y="557"/>
                  </a:cxn>
                  <a:cxn ang="0">
                    <a:pos x="258" y="551"/>
                  </a:cxn>
                  <a:cxn ang="0">
                    <a:pos x="296" y="47"/>
                  </a:cxn>
                  <a:cxn ang="0">
                    <a:pos x="299" y="38"/>
                  </a:cxn>
                  <a:cxn ang="0">
                    <a:pos x="610" y="37"/>
                  </a:cxn>
                  <a:cxn ang="0">
                    <a:pos x="640" y="46"/>
                  </a:cxn>
                  <a:cxn ang="0">
                    <a:pos x="661" y="71"/>
                  </a:cxn>
                  <a:cxn ang="0">
                    <a:pos x="670" y="214"/>
                  </a:cxn>
                  <a:cxn ang="0">
                    <a:pos x="831" y="242"/>
                  </a:cxn>
                  <a:cxn ang="0">
                    <a:pos x="844" y="254"/>
                  </a:cxn>
                  <a:cxn ang="0">
                    <a:pos x="845" y="771"/>
                  </a:cxn>
                </a:cxnLst>
                <a:rect l="0" t="0" r="r" b="b"/>
                <a:pathLst>
                  <a:path w="884" h="844">
                    <a:moveTo>
                      <a:pt x="870" y="213"/>
                    </a:moveTo>
                    <a:lnTo>
                      <a:pt x="735" y="61"/>
                    </a:lnTo>
                    <a:lnTo>
                      <a:pt x="735" y="61"/>
                    </a:lnTo>
                    <a:lnTo>
                      <a:pt x="722" y="46"/>
                    </a:lnTo>
                    <a:lnTo>
                      <a:pt x="706" y="35"/>
                    </a:lnTo>
                    <a:lnTo>
                      <a:pt x="691" y="24"/>
                    </a:lnTo>
                    <a:lnTo>
                      <a:pt x="674" y="16"/>
                    </a:lnTo>
                    <a:lnTo>
                      <a:pt x="657" y="9"/>
                    </a:lnTo>
                    <a:lnTo>
                      <a:pt x="638" y="4"/>
                    </a:lnTo>
                    <a:lnTo>
                      <a:pt x="619" y="1"/>
                    </a:lnTo>
                    <a:lnTo>
                      <a:pt x="600" y="0"/>
                    </a:lnTo>
                    <a:lnTo>
                      <a:pt x="300" y="0"/>
                    </a:lnTo>
                    <a:lnTo>
                      <a:pt x="300" y="0"/>
                    </a:lnTo>
                    <a:lnTo>
                      <a:pt x="292" y="1"/>
                    </a:lnTo>
                    <a:lnTo>
                      <a:pt x="284" y="4"/>
                    </a:lnTo>
                    <a:lnTo>
                      <a:pt x="277" y="8"/>
                    </a:lnTo>
                    <a:lnTo>
                      <a:pt x="271" y="14"/>
                    </a:lnTo>
                    <a:lnTo>
                      <a:pt x="265" y="21"/>
                    </a:lnTo>
                    <a:lnTo>
                      <a:pt x="261" y="29"/>
                    </a:lnTo>
                    <a:lnTo>
                      <a:pt x="258" y="38"/>
                    </a:lnTo>
                    <a:lnTo>
                      <a:pt x="258" y="47"/>
                    </a:lnTo>
                    <a:lnTo>
                      <a:pt x="258" y="392"/>
                    </a:lnTo>
                    <a:lnTo>
                      <a:pt x="258" y="392"/>
                    </a:lnTo>
                    <a:lnTo>
                      <a:pt x="207" y="418"/>
                    </a:lnTo>
                    <a:lnTo>
                      <a:pt x="158" y="445"/>
                    </a:lnTo>
                    <a:lnTo>
                      <a:pt x="158" y="445"/>
                    </a:lnTo>
                    <a:lnTo>
                      <a:pt x="102" y="475"/>
                    </a:lnTo>
                    <a:lnTo>
                      <a:pt x="102" y="475"/>
                    </a:lnTo>
                    <a:lnTo>
                      <a:pt x="95" y="479"/>
                    </a:lnTo>
                    <a:lnTo>
                      <a:pt x="89" y="484"/>
                    </a:lnTo>
                    <a:lnTo>
                      <a:pt x="84" y="490"/>
                    </a:lnTo>
                    <a:lnTo>
                      <a:pt x="80" y="497"/>
                    </a:lnTo>
                    <a:lnTo>
                      <a:pt x="80" y="497"/>
                    </a:lnTo>
                    <a:lnTo>
                      <a:pt x="71" y="516"/>
                    </a:lnTo>
                    <a:lnTo>
                      <a:pt x="63" y="535"/>
                    </a:lnTo>
                    <a:lnTo>
                      <a:pt x="55" y="555"/>
                    </a:lnTo>
                    <a:lnTo>
                      <a:pt x="47" y="576"/>
                    </a:lnTo>
                    <a:lnTo>
                      <a:pt x="33" y="618"/>
                    </a:lnTo>
                    <a:lnTo>
                      <a:pt x="21" y="658"/>
                    </a:lnTo>
                    <a:lnTo>
                      <a:pt x="12" y="694"/>
                    </a:lnTo>
                    <a:lnTo>
                      <a:pt x="5" y="722"/>
                    </a:lnTo>
                    <a:lnTo>
                      <a:pt x="0" y="749"/>
                    </a:lnTo>
                    <a:lnTo>
                      <a:pt x="196" y="844"/>
                    </a:lnTo>
                    <a:lnTo>
                      <a:pt x="199" y="843"/>
                    </a:lnTo>
                    <a:lnTo>
                      <a:pt x="199" y="843"/>
                    </a:lnTo>
                    <a:lnTo>
                      <a:pt x="215" y="834"/>
                    </a:lnTo>
                    <a:lnTo>
                      <a:pt x="229" y="825"/>
                    </a:lnTo>
                    <a:lnTo>
                      <a:pt x="237" y="819"/>
                    </a:lnTo>
                    <a:lnTo>
                      <a:pt x="245" y="812"/>
                    </a:lnTo>
                    <a:lnTo>
                      <a:pt x="253" y="804"/>
                    </a:lnTo>
                    <a:lnTo>
                      <a:pt x="263" y="793"/>
                    </a:lnTo>
                    <a:lnTo>
                      <a:pt x="263" y="793"/>
                    </a:lnTo>
                    <a:lnTo>
                      <a:pt x="268" y="802"/>
                    </a:lnTo>
                    <a:lnTo>
                      <a:pt x="275" y="809"/>
                    </a:lnTo>
                    <a:lnTo>
                      <a:pt x="275" y="809"/>
                    </a:lnTo>
                    <a:lnTo>
                      <a:pt x="283" y="815"/>
                    </a:lnTo>
                    <a:lnTo>
                      <a:pt x="288" y="817"/>
                    </a:lnTo>
                    <a:lnTo>
                      <a:pt x="292" y="818"/>
                    </a:lnTo>
                    <a:lnTo>
                      <a:pt x="292" y="818"/>
                    </a:lnTo>
                    <a:lnTo>
                      <a:pt x="300" y="819"/>
                    </a:lnTo>
                    <a:lnTo>
                      <a:pt x="841" y="819"/>
                    </a:lnTo>
                    <a:lnTo>
                      <a:pt x="841" y="819"/>
                    </a:lnTo>
                    <a:lnTo>
                      <a:pt x="849" y="818"/>
                    </a:lnTo>
                    <a:lnTo>
                      <a:pt x="857" y="815"/>
                    </a:lnTo>
                    <a:lnTo>
                      <a:pt x="864" y="811"/>
                    </a:lnTo>
                    <a:lnTo>
                      <a:pt x="871" y="805"/>
                    </a:lnTo>
                    <a:lnTo>
                      <a:pt x="877" y="797"/>
                    </a:lnTo>
                    <a:lnTo>
                      <a:pt x="880" y="789"/>
                    </a:lnTo>
                    <a:lnTo>
                      <a:pt x="883" y="780"/>
                    </a:lnTo>
                    <a:lnTo>
                      <a:pt x="884" y="771"/>
                    </a:lnTo>
                    <a:lnTo>
                      <a:pt x="884" y="249"/>
                    </a:lnTo>
                    <a:lnTo>
                      <a:pt x="884" y="249"/>
                    </a:lnTo>
                    <a:lnTo>
                      <a:pt x="883" y="239"/>
                    </a:lnTo>
                    <a:lnTo>
                      <a:pt x="880" y="230"/>
                    </a:lnTo>
                    <a:lnTo>
                      <a:pt x="876" y="221"/>
                    </a:lnTo>
                    <a:lnTo>
                      <a:pt x="870" y="213"/>
                    </a:lnTo>
                    <a:lnTo>
                      <a:pt x="870" y="213"/>
                    </a:lnTo>
                    <a:close/>
                    <a:moveTo>
                      <a:pt x="845" y="771"/>
                    </a:moveTo>
                    <a:lnTo>
                      <a:pt x="845" y="771"/>
                    </a:lnTo>
                    <a:lnTo>
                      <a:pt x="845" y="775"/>
                    </a:lnTo>
                    <a:lnTo>
                      <a:pt x="843" y="778"/>
                    </a:lnTo>
                    <a:lnTo>
                      <a:pt x="842" y="780"/>
                    </a:lnTo>
                    <a:lnTo>
                      <a:pt x="841" y="780"/>
                    </a:lnTo>
                    <a:lnTo>
                      <a:pt x="321" y="780"/>
                    </a:lnTo>
                    <a:lnTo>
                      <a:pt x="321" y="780"/>
                    </a:lnTo>
                    <a:lnTo>
                      <a:pt x="302" y="781"/>
                    </a:lnTo>
                    <a:lnTo>
                      <a:pt x="300" y="780"/>
                    </a:lnTo>
                    <a:lnTo>
                      <a:pt x="299" y="779"/>
                    </a:lnTo>
                    <a:lnTo>
                      <a:pt x="299" y="779"/>
                    </a:lnTo>
                    <a:lnTo>
                      <a:pt x="297" y="776"/>
                    </a:lnTo>
                    <a:lnTo>
                      <a:pt x="296" y="771"/>
                    </a:lnTo>
                    <a:lnTo>
                      <a:pt x="296" y="751"/>
                    </a:lnTo>
                    <a:lnTo>
                      <a:pt x="296" y="751"/>
                    </a:lnTo>
                    <a:lnTo>
                      <a:pt x="311" y="729"/>
                    </a:lnTo>
                    <a:lnTo>
                      <a:pt x="326" y="705"/>
                    </a:lnTo>
                    <a:lnTo>
                      <a:pt x="355" y="660"/>
                    </a:lnTo>
                    <a:lnTo>
                      <a:pt x="355" y="660"/>
                    </a:lnTo>
                    <a:lnTo>
                      <a:pt x="365" y="645"/>
                    </a:lnTo>
                    <a:lnTo>
                      <a:pt x="375" y="632"/>
                    </a:lnTo>
                    <a:lnTo>
                      <a:pt x="387" y="619"/>
                    </a:lnTo>
                    <a:lnTo>
                      <a:pt x="397" y="608"/>
                    </a:lnTo>
                    <a:lnTo>
                      <a:pt x="397" y="608"/>
                    </a:lnTo>
                    <a:lnTo>
                      <a:pt x="411" y="594"/>
                    </a:lnTo>
                    <a:lnTo>
                      <a:pt x="423" y="581"/>
                    </a:lnTo>
                    <a:lnTo>
                      <a:pt x="427" y="575"/>
                    </a:lnTo>
                    <a:lnTo>
                      <a:pt x="430" y="568"/>
                    </a:lnTo>
                    <a:lnTo>
                      <a:pt x="432" y="562"/>
                    </a:lnTo>
                    <a:lnTo>
                      <a:pt x="433" y="557"/>
                    </a:lnTo>
                    <a:lnTo>
                      <a:pt x="433" y="557"/>
                    </a:lnTo>
                    <a:lnTo>
                      <a:pt x="432" y="551"/>
                    </a:lnTo>
                    <a:lnTo>
                      <a:pt x="429" y="545"/>
                    </a:lnTo>
                    <a:lnTo>
                      <a:pt x="425" y="539"/>
                    </a:lnTo>
                    <a:lnTo>
                      <a:pt x="420" y="533"/>
                    </a:lnTo>
                    <a:lnTo>
                      <a:pt x="412" y="528"/>
                    </a:lnTo>
                    <a:lnTo>
                      <a:pt x="404" y="524"/>
                    </a:lnTo>
                    <a:lnTo>
                      <a:pt x="394" y="521"/>
                    </a:lnTo>
                    <a:lnTo>
                      <a:pt x="383" y="520"/>
                    </a:lnTo>
                    <a:lnTo>
                      <a:pt x="383" y="520"/>
                    </a:lnTo>
                    <a:lnTo>
                      <a:pt x="374" y="521"/>
                    </a:lnTo>
                    <a:lnTo>
                      <a:pt x="365" y="522"/>
                    </a:lnTo>
                    <a:lnTo>
                      <a:pt x="357" y="524"/>
                    </a:lnTo>
                    <a:lnTo>
                      <a:pt x="349" y="526"/>
                    </a:lnTo>
                    <a:lnTo>
                      <a:pt x="341" y="529"/>
                    </a:lnTo>
                    <a:lnTo>
                      <a:pt x="334" y="532"/>
                    </a:lnTo>
                    <a:lnTo>
                      <a:pt x="320" y="541"/>
                    </a:lnTo>
                    <a:lnTo>
                      <a:pt x="307" y="552"/>
                    </a:lnTo>
                    <a:lnTo>
                      <a:pt x="293" y="565"/>
                    </a:lnTo>
                    <a:lnTo>
                      <a:pt x="261" y="595"/>
                    </a:lnTo>
                    <a:lnTo>
                      <a:pt x="261" y="595"/>
                    </a:lnTo>
                    <a:lnTo>
                      <a:pt x="249" y="606"/>
                    </a:lnTo>
                    <a:lnTo>
                      <a:pt x="238" y="615"/>
                    </a:lnTo>
                    <a:lnTo>
                      <a:pt x="224" y="626"/>
                    </a:lnTo>
                    <a:lnTo>
                      <a:pt x="224" y="626"/>
                    </a:lnTo>
                    <a:lnTo>
                      <a:pt x="219" y="624"/>
                    </a:lnTo>
                    <a:lnTo>
                      <a:pt x="214" y="620"/>
                    </a:lnTo>
                    <a:lnTo>
                      <a:pt x="211" y="616"/>
                    </a:lnTo>
                    <a:lnTo>
                      <a:pt x="209" y="610"/>
                    </a:lnTo>
                    <a:lnTo>
                      <a:pt x="209" y="610"/>
                    </a:lnTo>
                    <a:lnTo>
                      <a:pt x="208" y="606"/>
                    </a:lnTo>
                    <a:lnTo>
                      <a:pt x="208" y="601"/>
                    </a:lnTo>
                    <a:lnTo>
                      <a:pt x="211" y="592"/>
                    </a:lnTo>
                    <a:lnTo>
                      <a:pt x="215" y="581"/>
                    </a:lnTo>
                    <a:lnTo>
                      <a:pt x="222" y="569"/>
                    </a:lnTo>
                    <a:lnTo>
                      <a:pt x="230" y="557"/>
                    </a:lnTo>
                    <a:lnTo>
                      <a:pt x="239" y="545"/>
                    </a:lnTo>
                    <a:lnTo>
                      <a:pt x="258" y="520"/>
                    </a:lnTo>
                    <a:lnTo>
                      <a:pt x="258" y="551"/>
                    </a:lnTo>
                    <a:lnTo>
                      <a:pt x="296" y="505"/>
                    </a:lnTo>
                    <a:lnTo>
                      <a:pt x="296" y="47"/>
                    </a:lnTo>
                    <a:lnTo>
                      <a:pt x="296" y="47"/>
                    </a:lnTo>
                    <a:lnTo>
                      <a:pt x="296" y="43"/>
                    </a:lnTo>
                    <a:lnTo>
                      <a:pt x="298" y="40"/>
                    </a:lnTo>
                    <a:lnTo>
                      <a:pt x="299" y="38"/>
                    </a:lnTo>
                    <a:lnTo>
                      <a:pt x="300" y="37"/>
                    </a:lnTo>
                    <a:lnTo>
                      <a:pt x="610" y="37"/>
                    </a:lnTo>
                    <a:lnTo>
                      <a:pt x="610" y="37"/>
                    </a:lnTo>
                    <a:lnTo>
                      <a:pt x="621" y="39"/>
                    </a:lnTo>
                    <a:lnTo>
                      <a:pt x="631" y="42"/>
                    </a:lnTo>
                    <a:lnTo>
                      <a:pt x="640" y="46"/>
                    </a:lnTo>
                    <a:lnTo>
                      <a:pt x="649" y="54"/>
                    </a:lnTo>
                    <a:lnTo>
                      <a:pt x="656" y="62"/>
                    </a:lnTo>
                    <a:lnTo>
                      <a:pt x="661" y="71"/>
                    </a:lnTo>
                    <a:lnTo>
                      <a:pt x="665" y="81"/>
                    </a:lnTo>
                    <a:lnTo>
                      <a:pt x="666" y="91"/>
                    </a:lnTo>
                    <a:lnTo>
                      <a:pt x="670" y="214"/>
                    </a:lnTo>
                    <a:lnTo>
                      <a:pt x="827" y="241"/>
                    </a:lnTo>
                    <a:lnTo>
                      <a:pt x="827" y="241"/>
                    </a:lnTo>
                    <a:lnTo>
                      <a:pt x="831" y="242"/>
                    </a:lnTo>
                    <a:lnTo>
                      <a:pt x="834" y="243"/>
                    </a:lnTo>
                    <a:lnTo>
                      <a:pt x="839" y="248"/>
                    </a:lnTo>
                    <a:lnTo>
                      <a:pt x="844" y="254"/>
                    </a:lnTo>
                    <a:lnTo>
                      <a:pt x="845" y="258"/>
                    </a:lnTo>
                    <a:lnTo>
                      <a:pt x="845" y="261"/>
                    </a:lnTo>
                    <a:lnTo>
                      <a:pt x="845" y="7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3" name="Freeform 42">
                <a:extLst>
                  <a:ext uri="{FF2B5EF4-FFF2-40B4-BE49-F238E27FC236}">
                    <a16:creationId xmlns:a16="http://schemas.microsoft.com/office/drawing/2014/main" id="{BD0AA54A-2300-66E6-7018-7F4A4AF48E17}"/>
                  </a:ext>
                </a:extLst>
              </p:cNvPr>
              <p:cNvSpPr>
                <a:spLocks/>
              </p:cNvSpPr>
              <p:nvPr/>
            </p:nvSpPr>
            <p:spPr bwMode="auto">
              <a:xfrm>
                <a:off x="8843963" y="3336925"/>
                <a:ext cx="519113" cy="82550"/>
              </a:xfrm>
              <a:custGeom>
                <a:avLst/>
                <a:gdLst/>
                <a:ahLst/>
                <a:cxnLst>
                  <a:cxn ang="0">
                    <a:pos x="0" y="52"/>
                  </a:cxn>
                  <a:cxn ang="0">
                    <a:pos x="327" y="52"/>
                  </a:cxn>
                  <a:cxn ang="0">
                    <a:pos x="327" y="0"/>
                  </a:cxn>
                  <a:cxn ang="0">
                    <a:pos x="3" y="0"/>
                  </a:cxn>
                  <a:cxn ang="0">
                    <a:pos x="3" y="0"/>
                  </a:cxn>
                  <a:cxn ang="0">
                    <a:pos x="5" y="6"/>
                  </a:cxn>
                  <a:cxn ang="0">
                    <a:pos x="6" y="12"/>
                  </a:cxn>
                  <a:cxn ang="0">
                    <a:pos x="7" y="18"/>
                  </a:cxn>
                  <a:cxn ang="0">
                    <a:pos x="7" y="24"/>
                  </a:cxn>
                  <a:cxn ang="0">
                    <a:pos x="6" y="31"/>
                  </a:cxn>
                  <a:cxn ang="0">
                    <a:pos x="5" y="37"/>
                  </a:cxn>
                  <a:cxn ang="0">
                    <a:pos x="3" y="45"/>
                  </a:cxn>
                  <a:cxn ang="0">
                    <a:pos x="0" y="52"/>
                  </a:cxn>
                  <a:cxn ang="0">
                    <a:pos x="0" y="52"/>
                  </a:cxn>
                </a:cxnLst>
                <a:rect l="0" t="0" r="r" b="b"/>
                <a:pathLst>
                  <a:path w="327" h="52">
                    <a:moveTo>
                      <a:pt x="0" y="52"/>
                    </a:moveTo>
                    <a:lnTo>
                      <a:pt x="327" y="52"/>
                    </a:lnTo>
                    <a:lnTo>
                      <a:pt x="327" y="0"/>
                    </a:lnTo>
                    <a:lnTo>
                      <a:pt x="3" y="0"/>
                    </a:lnTo>
                    <a:lnTo>
                      <a:pt x="3" y="0"/>
                    </a:lnTo>
                    <a:lnTo>
                      <a:pt x="5" y="6"/>
                    </a:lnTo>
                    <a:lnTo>
                      <a:pt x="6" y="12"/>
                    </a:lnTo>
                    <a:lnTo>
                      <a:pt x="7" y="18"/>
                    </a:lnTo>
                    <a:lnTo>
                      <a:pt x="7" y="24"/>
                    </a:lnTo>
                    <a:lnTo>
                      <a:pt x="6" y="31"/>
                    </a:lnTo>
                    <a:lnTo>
                      <a:pt x="5" y="37"/>
                    </a:lnTo>
                    <a:lnTo>
                      <a:pt x="3" y="45"/>
                    </a:lnTo>
                    <a:lnTo>
                      <a:pt x="0" y="52"/>
                    </a:ln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4" name="Rectangle 43">
                <a:extLst>
                  <a:ext uri="{FF2B5EF4-FFF2-40B4-BE49-F238E27FC236}">
                    <a16:creationId xmlns:a16="http://schemas.microsoft.com/office/drawing/2014/main" id="{C1948AC8-3D41-0EFF-8C47-2D15CF04386A}"/>
                  </a:ext>
                </a:extLst>
              </p:cNvPr>
              <p:cNvSpPr>
                <a:spLocks noChangeArrowheads="1"/>
              </p:cNvSpPr>
              <p:nvPr/>
            </p:nvSpPr>
            <p:spPr bwMode="auto">
              <a:xfrm>
                <a:off x="8666163" y="3149600"/>
                <a:ext cx="696913"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5" name="Freeform 44">
                <a:extLst>
                  <a:ext uri="{FF2B5EF4-FFF2-40B4-BE49-F238E27FC236}">
                    <a16:creationId xmlns:a16="http://schemas.microsoft.com/office/drawing/2014/main" id="{D20D1ACF-7BA0-6C06-6AD6-ECB6CB6CC2C9}"/>
                  </a:ext>
                </a:extLst>
              </p:cNvPr>
              <p:cNvSpPr>
                <a:spLocks/>
              </p:cNvSpPr>
              <p:nvPr/>
            </p:nvSpPr>
            <p:spPr bwMode="auto">
              <a:xfrm>
                <a:off x="8694738" y="3529013"/>
                <a:ext cx="320675" cy="80963"/>
              </a:xfrm>
              <a:custGeom>
                <a:avLst/>
                <a:gdLst/>
                <a:ahLst/>
                <a:cxnLst>
                  <a:cxn ang="0">
                    <a:pos x="18" y="22"/>
                  </a:cxn>
                  <a:cxn ang="0">
                    <a:pos x="18" y="22"/>
                  </a:cxn>
                  <a:cxn ang="0">
                    <a:pos x="0" y="51"/>
                  </a:cxn>
                  <a:cxn ang="0">
                    <a:pos x="202" y="51"/>
                  </a:cxn>
                  <a:cxn ang="0">
                    <a:pos x="202" y="0"/>
                  </a:cxn>
                  <a:cxn ang="0">
                    <a:pos x="35" y="0"/>
                  </a:cxn>
                  <a:cxn ang="0">
                    <a:pos x="35" y="0"/>
                  </a:cxn>
                  <a:cxn ang="0">
                    <a:pos x="26" y="11"/>
                  </a:cxn>
                  <a:cxn ang="0">
                    <a:pos x="18" y="22"/>
                  </a:cxn>
                  <a:cxn ang="0">
                    <a:pos x="18" y="22"/>
                  </a:cxn>
                </a:cxnLst>
                <a:rect l="0" t="0" r="r" b="b"/>
                <a:pathLst>
                  <a:path w="202" h="51">
                    <a:moveTo>
                      <a:pt x="18" y="22"/>
                    </a:moveTo>
                    <a:lnTo>
                      <a:pt x="18" y="22"/>
                    </a:lnTo>
                    <a:lnTo>
                      <a:pt x="0" y="51"/>
                    </a:lnTo>
                    <a:lnTo>
                      <a:pt x="202" y="51"/>
                    </a:lnTo>
                    <a:lnTo>
                      <a:pt x="202" y="0"/>
                    </a:lnTo>
                    <a:lnTo>
                      <a:pt x="35" y="0"/>
                    </a:lnTo>
                    <a:lnTo>
                      <a:pt x="35" y="0"/>
                    </a:lnTo>
                    <a:lnTo>
                      <a:pt x="26" y="11"/>
                    </a:lnTo>
                    <a:lnTo>
                      <a:pt x="18" y="22"/>
                    </a:lnTo>
                    <a:lnTo>
                      <a:pt x="1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sp>
        <p:nvSpPr>
          <p:cNvPr id="4" name="TextBox 3">
            <a:extLst>
              <a:ext uri="{FF2B5EF4-FFF2-40B4-BE49-F238E27FC236}">
                <a16:creationId xmlns:a16="http://schemas.microsoft.com/office/drawing/2014/main" id="{6C9E86FD-C0FB-4482-68B6-CC7197A365A7}"/>
              </a:ext>
            </a:extLst>
          </p:cNvPr>
          <p:cNvSpPr txBox="1"/>
          <p:nvPr/>
        </p:nvSpPr>
        <p:spPr>
          <a:xfrm>
            <a:off x="6457564" y="4503937"/>
            <a:ext cx="4999387" cy="1754326"/>
          </a:xfrm>
          <a:prstGeom prst="rect">
            <a:avLst/>
          </a:prstGeom>
          <a:noFill/>
        </p:spPr>
        <p:txBody>
          <a:bodyPr wrap="square" rtlCol="0">
            <a:spAutoFit/>
          </a:bodyPr>
          <a:lstStyle/>
          <a:p>
            <a:r>
              <a:rPr lang="en-US" sz="1500" dirty="0"/>
              <a:t>The new Energy complex will consist of: </a:t>
            </a:r>
          </a:p>
          <a:p>
            <a:pPr marL="285750" indent="-285750">
              <a:buFont typeface="Arial" panose="020B0604020202020204" pitchFamily="34" charset="0"/>
              <a:buChar char="•"/>
            </a:pPr>
            <a:r>
              <a:rPr lang="en-US" sz="1500" dirty="0"/>
              <a:t>Will start with mobile boilers that will eventually be replaced with permanent Boilers</a:t>
            </a:r>
          </a:p>
          <a:p>
            <a:pPr marL="285750" indent="-285750">
              <a:buFont typeface="Arial" panose="020B0604020202020204" pitchFamily="34" charset="0"/>
              <a:buChar char="•"/>
            </a:pPr>
            <a:r>
              <a:rPr lang="en-US" sz="1500" dirty="0"/>
              <a:t>Will include the Electric Blowers with Motor, gearbox, blower and drive</a:t>
            </a:r>
          </a:p>
          <a:p>
            <a:pPr marL="285750" indent="-285750">
              <a:buFont typeface="Arial" panose="020B0604020202020204" pitchFamily="34" charset="0"/>
              <a:buChar char="•"/>
            </a:pPr>
            <a:r>
              <a:rPr lang="en-US" sz="1500" dirty="0"/>
              <a:t>Smaller air compressors to provide compressed air</a:t>
            </a:r>
          </a:p>
          <a:p>
            <a:endParaRPr lang="en-US" dirty="0"/>
          </a:p>
        </p:txBody>
      </p:sp>
    </p:spTree>
    <p:extLst>
      <p:ext uri="{BB962C8B-B14F-4D97-AF65-F5344CB8AC3E}">
        <p14:creationId xmlns:p14="http://schemas.microsoft.com/office/powerpoint/2010/main" val="1582283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Plan B – Key Assumptions</a:t>
            </a:r>
          </a:p>
        </p:txBody>
      </p:sp>
      <p:pic>
        <p:nvPicPr>
          <p:cNvPr id="6" name="Picture 5">
            <a:extLst>
              <a:ext uri="{FF2B5EF4-FFF2-40B4-BE49-F238E27FC236}">
                <a16:creationId xmlns:a16="http://schemas.microsoft.com/office/drawing/2014/main" id="{23798DA8-C75F-7371-DB3C-07F6FB3BBE46}"/>
              </a:ext>
            </a:extLst>
          </p:cNvPr>
          <p:cNvPicPr>
            <a:picLocks noChangeAspect="1"/>
          </p:cNvPicPr>
          <p:nvPr/>
        </p:nvPicPr>
        <p:blipFill rotWithShape="1">
          <a:blip r:embed="rId3">
            <a:extLst>
              <a:ext uri="{28A0092B-C50C-407E-A947-70E740481C1C}">
                <a14:useLocalDpi xmlns:a14="http://schemas.microsoft.com/office/drawing/2010/main" val="0"/>
              </a:ext>
            </a:extLst>
          </a:blip>
          <a:srcRect t="37550" b="20791"/>
          <a:stretch/>
        </p:blipFill>
        <p:spPr>
          <a:xfrm>
            <a:off x="830787" y="2566557"/>
            <a:ext cx="10647640" cy="1798547"/>
          </a:xfrm>
          <a:prstGeom prst="rect">
            <a:avLst/>
          </a:prstGeom>
        </p:spPr>
      </p:pic>
      <p:sp>
        <p:nvSpPr>
          <p:cNvPr id="7" name="Rectangle 6">
            <a:extLst>
              <a:ext uri="{FF2B5EF4-FFF2-40B4-BE49-F238E27FC236}">
                <a16:creationId xmlns:a16="http://schemas.microsoft.com/office/drawing/2014/main" id="{2235C851-0427-76DD-E4D7-7A3E31E304B7}"/>
              </a:ext>
            </a:extLst>
          </p:cNvPr>
          <p:cNvSpPr/>
          <p:nvPr/>
        </p:nvSpPr>
        <p:spPr>
          <a:xfrm>
            <a:off x="830788" y="2566557"/>
            <a:ext cx="10647640" cy="1798547"/>
          </a:xfrm>
          <a:prstGeom prst="rect">
            <a:avLst/>
          </a:prstGeom>
          <a:solidFill>
            <a:schemeClr val="tx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C41584C-8ADF-1469-058A-8CEE9AC88F97}"/>
              </a:ext>
            </a:extLst>
          </p:cNvPr>
          <p:cNvSpPr/>
          <p:nvPr/>
        </p:nvSpPr>
        <p:spPr>
          <a:xfrm>
            <a:off x="817939" y="966546"/>
            <a:ext cx="3568700"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DE9F390-CEB0-853E-E6D6-7272FF0EC244}"/>
              </a:ext>
            </a:extLst>
          </p:cNvPr>
          <p:cNvSpPr txBox="1"/>
          <p:nvPr/>
        </p:nvSpPr>
        <p:spPr>
          <a:xfrm>
            <a:off x="851684" y="983851"/>
            <a:ext cx="366014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undamentally similar to Plan A – key changes are:</a:t>
            </a:r>
          </a:p>
          <a:p>
            <a:pPr marL="285750" marR="0" lvl="0" indent="-285750" algn="l" defTabSz="914400" rtl="0" eaLnBrk="1" fontAlgn="auto" latinLnBrk="0" hangingPunct="1">
              <a:lnSpc>
                <a:spcPct val="100000"/>
              </a:lnSpc>
              <a:spcBef>
                <a:spcPts val="300"/>
              </a:spcBef>
              <a:spcAft>
                <a:spcPts val="300"/>
              </a:spcAft>
              <a:buClrTx/>
              <a:buSzPct val="75000"/>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igher initial costs to the plan while the transition project is completed. </a:t>
            </a:r>
          </a:p>
          <a:p>
            <a:pPr marL="285750" marR="0" lvl="0" indent="-285750" algn="l" defTabSz="914400" rtl="0" eaLnBrk="1" fontAlgn="auto" latinLnBrk="0" hangingPunct="1">
              <a:lnSpc>
                <a:spcPct val="100000"/>
              </a:lnSpc>
              <a:spcBef>
                <a:spcPts val="300"/>
              </a:spcBef>
              <a:spcAft>
                <a:spcPts val="300"/>
              </a:spcAft>
              <a:buClrTx/>
              <a:buSzPct val="75000"/>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onger cash burn rate to the end of 2024.</a:t>
            </a:r>
          </a:p>
        </p:txBody>
      </p:sp>
      <p:sp>
        <p:nvSpPr>
          <p:cNvPr id="16" name="Rectangle 15">
            <a:extLst>
              <a:ext uri="{FF2B5EF4-FFF2-40B4-BE49-F238E27FC236}">
                <a16:creationId xmlns:a16="http://schemas.microsoft.com/office/drawing/2014/main" id="{2411B60F-343D-CAEE-AD97-EEF0CC9EBA0A}"/>
              </a:ext>
            </a:extLst>
          </p:cNvPr>
          <p:cNvSpPr/>
          <p:nvPr/>
        </p:nvSpPr>
        <p:spPr>
          <a:xfrm>
            <a:off x="4459679" y="966546"/>
            <a:ext cx="3568700"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C748752-968C-4102-12BD-CE050FDD1ADB}"/>
              </a:ext>
            </a:extLst>
          </p:cNvPr>
          <p:cNvSpPr txBox="1"/>
          <p:nvPr/>
        </p:nvSpPr>
        <p:spPr>
          <a:xfrm>
            <a:off x="4463164" y="1047983"/>
            <a:ext cx="3649060"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Cash requirements peak at €160 million (CAPEX, contingency &amp; higher operating losses) - assumed to be covered by a combination of Group support, working capital and, potentially, fixed asset finance.</a:t>
            </a:r>
          </a:p>
        </p:txBody>
      </p:sp>
      <p:sp>
        <p:nvSpPr>
          <p:cNvPr id="17" name="Rectangle 16">
            <a:extLst>
              <a:ext uri="{FF2B5EF4-FFF2-40B4-BE49-F238E27FC236}">
                <a16:creationId xmlns:a16="http://schemas.microsoft.com/office/drawing/2014/main" id="{1087AD13-0BA3-48DC-5DC6-BA4256D93084}"/>
              </a:ext>
            </a:extLst>
          </p:cNvPr>
          <p:cNvSpPr/>
          <p:nvPr/>
        </p:nvSpPr>
        <p:spPr>
          <a:xfrm>
            <a:off x="8099376" y="966546"/>
            <a:ext cx="3357575" cy="1454342"/>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D88E142-DA72-71FE-10FB-B0DAC553F717}"/>
              </a:ext>
            </a:extLst>
          </p:cNvPr>
          <p:cNvSpPr txBox="1"/>
          <p:nvPr/>
        </p:nvSpPr>
        <p:spPr>
          <a:xfrm>
            <a:off x="8200916" y="1038554"/>
            <a:ext cx="322367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Once the Blast Furnace is up and running, the same operating assumptions continue but 9 months later than Plan A.</a:t>
            </a:r>
          </a:p>
        </p:txBody>
      </p:sp>
      <p:sp>
        <p:nvSpPr>
          <p:cNvPr id="4" name="Rectangle 3">
            <a:extLst>
              <a:ext uri="{FF2B5EF4-FFF2-40B4-BE49-F238E27FC236}">
                <a16:creationId xmlns:a16="http://schemas.microsoft.com/office/drawing/2014/main" id="{F1E2E692-D57A-CFDD-6CEB-A7F9C7127814}"/>
              </a:ext>
            </a:extLst>
          </p:cNvPr>
          <p:cNvSpPr/>
          <p:nvPr/>
        </p:nvSpPr>
        <p:spPr>
          <a:xfrm>
            <a:off x="858852" y="4564867"/>
            <a:ext cx="2572852" cy="160043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AAC444D-84A7-33AC-137B-BA500273AB1A}"/>
              </a:ext>
            </a:extLst>
          </p:cNvPr>
          <p:cNvSpPr txBox="1"/>
          <p:nvPr/>
        </p:nvSpPr>
        <p:spPr>
          <a:xfrm>
            <a:off x="858852" y="4564866"/>
            <a:ext cx="257285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ixed &amp; variable cost base is significantly reduced.</a:t>
            </a:r>
          </a:p>
        </p:txBody>
      </p:sp>
      <p:sp>
        <p:nvSpPr>
          <p:cNvPr id="8" name="Rectangle 7">
            <a:extLst>
              <a:ext uri="{FF2B5EF4-FFF2-40B4-BE49-F238E27FC236}">
                <a16:creationId xmlns:a16="http://schemas.microsoft.com/office/drawing/2014/main" id="{534E843E-7DAA-BEDD-1398-02BEF17B24D6}"/>
              </a:ext>
            </a:extLst>
          </p:cNvPr>
          <p:cNvSpPr/>
          <p:nvPr/>
        </p:nvSpPr>
        <p:spPr>
          <a:xfrm>
            <a:off x="3491542" y="4564867"/>
            <a:ext cx="2572852" cy="160043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EB604CDE-C2C2-42BB-F6E8-C973E488493C}"/>
              </a:ext>
            </a:extLst>
          </p:cNvPr>
          <p:cNvSpPr txBox="1"/>
          <p:nvPr/>
        </p:nvSpPr>
        <p:spPr>
          <a:xfrm>
            <a:off x="3446954" y="4564866"/>
            <a:ext cx="2636175"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The Blast Furnace will not operate until the conversion to electric compressors is completed – the assumption is that the Blast Furnace will restart by 31st Dec 2024 and will ramp up by February 2025.</a:t>
            </a:r>
          </a:p>
        </p:txBody>
      </p:sp>
      <p:sp>
        <p:nvSpPr>
          <p:cNvPr id="10" name="Rectangle 9">
            <a:extLst>
              <a:ext uri="{FF2B5EF4-FFF2-40B4-BE49-F238E27FC236}">
                <a16:creationId xmlns:a16="http://schemas.microsoft.com/office/drawing/2014/main" id="{0DA142A4-B598-C087-B90A-769FADDD64E7}"/>
              </a:ext>
            </a:extLst>
          </p:cNvPr>
          <p:cNvSpPr/>
          <p:nvPr/>
        </p:nvSpPr>
        <p:spPr>
          <a:xfrm>
            <a:off x="6149677" y="4564867"/>
            <a:ext cx="2572852" cy="160043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58289025-8198-A71D-50B0-7E8A0D80076A}"/>
              </a:ext>
            </a:extLst>
          </p:cNvPr>
          <p:cNvSpPr txBox="1"/>
          <p:nvPr/>
        </p:nvSpPr>
        <p:spPr>
          <a:xfrm>
            <a:off x="6218554" y="4564866"/>
            <a:ext cx="2572852"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Under Plan B underlying variable costs of operating once production is full are materially lower, contribution is higher and free cash generation greater .</a:t>
            </a:r>
          </a:p>
        </p:txBody>
      </p:sp>
      <p:sp>
        <p:nvSpPr>
          <p:cNvPr id="11" name="Rectangle 10">
            <a:extLst>
              <a:ext uri="{FF2B5EF4-FFF2-40B4-BE49-F238E27FC236}">
                <a16:creationId xmlns:a16="http://schemas.microsoft.com/office/drawing/2014/main" id="{0CCD1447-B8B8-A246-3B10-7DB583DE4CD9}"/>
              </a:ext>
            </a:extLst>
          </p:cNvPr>
          <p:cNvSpPr/>
          <p:nvPr/>
        </p:nvSpPr>
        <p:spPr>
          <a:xfrm>
            <a:off x="8832304" y="4564867"/>
            <a:ext cx="2572852" cy="1600437"/>
          </a:xfrm>
          <a:prstGeom prst="rect">
            <a:avLst/>
          </a:prstGeom>
          <a:noFill/>
          <a:ln w="6350">
            <a:solidFill>
              <a:srgbClr val="38404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C4A05D95-C07F-CC16-D776-EAE7E7407233}"/>
              </a:ext>
            </a:extLst>
          </p:cNvPr>
          <p:cNvSpPr txBox="1"/>
          <p:nvPr/>
        </p:nvSpPr>
        <p:spPr>
          <a:xfrm>
            <a:off x="8872158" y="4564866"/>
            <a:ext cx="2572852"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Pct val="75000"/>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lan B means Creditors repaid in a 9-month period between April – Dec 2025.</a:t>
            </a:r>
          </a:p>
        </p:txBody>
      </p:sp>
      <p:sp>
        <p:nvSpPr>
          <p:cNvPr id="9" name="Footer Placeholder 11">
            <a:extLst>
              <a:ext uri="{FF2B5EF4-FFF2-40B4-BE49-F238E27FC236}">
                <a16:creationId xmlns:a16="http://schemas.microsoft.com/office/drawing/2014/main" id="{B9E8D5F9-D777-9015-44DE-FB654119B21A}"/>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grpSp>
        <p:nvGrpSpPr>
          <p:cNvPr id="30" name="Group 29">
            <a:extLst>
              <a:ext uri="{FF2B5EF4-FFF2-40B4-BE49-F238E27FC236}">
                <a16:creationId xmlns:a16="http://schemas.microsoft.com/office/drawing/2014/main" id="{7F68B861-918F-6642-087A-F262022FD743}"/>
              </a:ext>
            </a:extLst>
          </p:cNvPr>
          <p:cNvGrpSpPr/>
          <p:nvPr/>
        </p:nvGrpSpPr>
        <p:grpSpPr>
          <a:xfrm>
            <a:off x="4691722" y="2871941"/>
            <a:ext cx="2628414" cy="1205131"/>
            <a:chOff x="4976816" y="2914532"/>
            <a:chExt cx="2628414" cy="1205131"/>
          </a:xfrm>
        </p:grpSpPr>
        <p:sp>
          <p:nvSpPr>
            <p:cNvPr id="31" name="TextBox 30">
              <a:extLst>
                <a:ext uri="{FF2B5EF4-FFF2-40B4-BE49-F238E27FC236}">
                  <a16:creationId xmlns:a16="http://schemas.microsoft.com/office/drawing/2014/main" id="{57EF9243-2215-D162-1038-953B242DCA82}"/>
                </a:ext>
              </a:extLst>
            </p:cNvPr>
            <p:cNvSpPr txBox="1"/>
            <p:nvPr/>
          </p:nvSpPr>
          <p:spPr>
            <a:xfrm>
              <a:off x="4976816" y="3534888"/>
              <a:ext cx="26284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Plan B</a:t>
              </a:r>
            </a:p>
          </p:txBody>
        </p:sp>
        <p:grpSp>
          <p:nvGrpSpPr>
            <p:cNvPr id="32" name="Group 31">
              <a:extLst>
                <a:ext uri="{FF2B5EF4-FFF2-40B4-BE49-F238E27FC236}">
                  <a16:creationId xmlns:a16="http://schemas.microsoft.com/office/drawing/2014/main" id="{66602C93-C9F0-D852-9678-6C18D753F457}"/>
                </a:ext>
              </a:extLst>
            </p:cNvPr>
            <p:cNvGrpSpPr/>
            <p:nvPr/>
          </p:nvGrpSpPr>
          <p:grpSpPr>
            <a:xfrm>
              <a:off x="5936684" y="2914532"/>
              <a:ext cx="671380" cy="661338"/>
              <a:chOff x="8026400" y="2486025"/>
              <a:chExt cx="1485900" cy="1463676"/>
            </a:xfrm>
            <a:solidFill>
              <a:schemeClr val="bg1"/>
            </a:solidFill>
          </p:grpSpPr>
          <p:sp>
            <p:nvSpPr>
              <p:cNvPr id="33" name="Freeform 38">
                <a:extLst>
                  <a:ext uri="{FF2B5EF4-FFF2-40B4-BE49-F238E27FC236}">
                    <a16:creationId xmlns:a16="http://schemas.microsoft.com/office/drawing/2014/main" id="{55C543F7-F8B8-18B9-B1F0-ED09DFD79453}"/>
                  </a:ext>
                </a:extLst>
              </p:cNvPr>
              <p:cNvSpPr>
                <a:spLocks/>
              </p:cNvSpPr>
              <p:nvPr/>
            </p:nvSpPr>
            <p:spPr bwMode="auto">
              <a:xfrm>
                <a:off x="8026400" y="3697288"/>
                <a:ext cx="420688" cy="252413"/>
              </a:xfrm>
              <a:custGeom>
                <a:avLst/>
                <a:gdLst/>
                <a:ahLst/>
                <a:cxnLst>
                  <a:cxn ang="0">
                    <a:pos x="0" y="88"/>
                  </a:cxn>
                  <a:cxn ang="0">
                    <a:pos x="245" y="159"/>
                  </a:cxn>
                  <a:cxn ang="0">
                    <a:pos x="265" y="120"/>
                  </a:cxn>
                  <a:cxn ang="0">
                    <a:pos x="19" y="0"/>
                  </a:cxn>
                  <a:cxn ang="0">
                    <a:pos x="0" y="88"/>
                  </a:cxn>
                </a:cxnLst>
                <a:rect l="0" t="0" r="r" b="b"/>
                <a:pathLst>
                  <a:path w="265" h="159">
                    <a:moveTo>
                      <a:pt x="0" y="88"/>
                    </a:moveTo>
                    <a:lnTo>
                      <a:pt x="245" y="159"/>
                    </a:lnTo>
                    <a:lnTo>
                      <a:pt x="265" y="120"/>
                    </a:lnTo>
                    <a:lnTo>
                      <a:pt x="19"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4" name="Rectangle 39">
                <a:extLst>
                  <a:ext uri="{FF2B5EF4-FFF2-40B4-BE49-F238E27FC236}">
                    <a16:creationId xmlns:a16="http://schemas.microsoft.com/office/drawing/2014/main" id="{082F59A7-B4D9-4362-0918-7D67642FF1B5}"/>
                  </a:ext>
                </a:extLst>
              </p:cNvPr>
              <p:cNvSpPr>
                <a:spLocks noChangeArrowheads="1"/>
              </p:cNvSpPr>
              <p:nvPr/>
            </p:nvSpPr>
            <p:spPr bwMode="auto">
              <a:xfrm>
                <a:off x="8743950" y="2959100"/>
                <a:ext cx="619125"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5" name="Rectangle 40">
                <a:extLst>
                  <a:ext uri="{FF2B5EF4-FFF2-40B4-BE49-F238E27FC236}">
                    <a16:creationId xmlns:a16="http://schemas.microsoft.com/office/drawing/2014/main" id="{647DEA25-2B01-AFAB-2B29-E5AA954C77CB}"/>
                  </a:ext>
                </a:extLst>
              </p:cNvPr>
              <p:cNvSpPr>
                <a:spLocks noChangeArrowheads="1"/>
              </p:cNvSpPr>
              <p:nvPr/>
            </p:nvSpPr>
            <p:spPr bwMode="auto">
              <a:xfrm>
                <a:off x="8743950" y="2770188"/>
                <a:ext cx="271463" cy="825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6" name="Freeform 41">
                <a:extLst>
                  <a:ext uri="{FF2B5EF4-FFF2-40B4-BE49-F238E27FC236}">
                    <a16:creationId xmlns:a16="http://schemas.microsoft.com/office/drawing/2014/main" id="{1079FEE7-94ED-F84F-BD7F-1950D02BEF02}"/>
                  </a:ext>
                </a:extLst>
              </p:cNvPr>
              <p:cNvSpPr>
                <a:spLocks noEditPoints="1"/>
              </p:cNvSpPr>
              <p:nvPr/>
            </p:nvSpPr>
            <p:spPr bwMode="auto">
              <a:xfrm>
                <a:off x="8108950" y="2486025"/>
                <a:ext cx="1403350" cy="1339850"/>
              </a:xfrm>
              <a:custGeom>
                <a:avLst/>
                <a:gdLst/>
                <a:ahLst/>
                <a:cxnLst>
                  <a:cxn ang="0">
                    <a:pos x="735" y="61"/>
                  </a:cxn>
                  <a:cxn ang="0">
                    <a:pos x="691" y="24"/>
                  </a:cxn>
                  <a:cxn ang="0">
                    <a:pos x="638" y="4"/>
                  </a:cxn>
                  <a:cxn ang="0">
                    <a:pos x="300" y="0"/>
                  </a:cxn>
                  <a:cxn ang="0">
                    <a:pos x="284" y="4"/>
                  </a:cxn>
                  <a:cxn ang="0">
                    <a:pos x="265" y="21"/>
                  </a:cxn>
                  <a:cxn ang="0">
                    <a:pos x="258" y="47"/>
                  </a:cxn>
                  <a:cxn ang="0">
                    <a:pos x="207" y="418"/>
                  </a:cxn>
                  <a:cxn ang="0">
                    <a:pos x="102" y="475"/>
                  </a:cxn>
                  <a:cxn ang="0">
                    <a:pos x="89" y="484"/>
                  </a:cxn>
                  <a:cxn ang="0">
                    <a:pos x="80" y="497"/>
                  </a:cxn>
                  <a:cxn ang="0">
                    <a:pos x="55" y="555"/>
                  </a:cxn>
                  <a:cxn ang="0">
                    <a:pos x="21" y="658"/>
                  </a:cxn>
                  <a:cxn ang="0">
                    <a:pos x="0" y="749"/>
                  </a:cxn>
                  <a:cxn ang="0">
                    <a:pos x="199" y="843"/>
                  </a:cxn>
                  <a:cxn ang="0">
                    <a:pos x="237" y="819"/>
                  </a:cxn>
                  <a:cxn ang="0">
                    <a:pos x="263" y="793"/>
                  </a:cxn>
                  <a:cxn ang="0">
                    <a:pos x="275" y="809"/>
                  </a:cxn>
                  <a:cxn ang="0">
                    <a:pos x="288" y="817"/>
                  </a:cxn>
                  <a:cxn ang="0">
                    <a:pos x="300" y="819"/>
                  </a:cxn>
                  <a:cxn ang="0">
                    <a:pos x="849" y="818"/>
                  </a:cxn>
                  <a:cxn ang="0">
                    <a:pos x="871" y="805"/>
                  </a:cxn>
                  <a:cxn ang="0">
                    <a:pos x="883" y="780"/>
                  </a:cxn>
                  <a:cxn ang="0">
                    <a:pos x="884" y="249"/>
                  </a:cxn>
                  <a:cxn ang="0">
                    <a:pos x="876" y="221"/>
                  </a:cxn>
                  <a:cxn ang="0">
                    <a:pos x="845" y="771"/>
                  </a:cxn>
                  <a:cxn ang="0">
                    <a:pos x="843" y="778"/>
                  </a:cxn>
                  <a:cxn ang="0">
                    <a:pos x="321" y="780"/>
                  </a:cxn>
                  <a:cxn ang="0">
                    <a:pos x="300" y="780"/>
                  </a:cxn>
                  <a:cxn ang="0">
                    <a:pos x="297" y="776"/>
                  </a:cxn>
                  <a:cxn ang="0">
                    <a:pos x="296" y="751"/>
                  </a:cxn>
                  <a:cxn ang="0">
                    <a:pos x="355" y="660"/>
                  </a:cxn>
                  <a:cxn ang="0">
                    <a:pos x="375" y="632"/>
                  </a:cxn>
                  <a:cxn ang="0">
                    <a:pos x="397" y="608"/>
                  </a:cxn>
                  <a:cxn ang="0">
                    <a:pos x="427" y="575"/>
                  </a:cxn>
                  <a:cxn ang="0">
                    <a:pos x="433" y="557"/>
                  </a:cxn>
                  <a:cxn ang="0">
                    <a:pos x="429" y="545"/>
                  </a:cxn>
                  <a:cxn ang="0">
                    <a:pos x="412" y="528"/>
                  </a:cxn>
                  <a:cxn ang="0">
                    <a:pos x="383" y="520"/>
                  </a:cxn>
                  <a:cxn ang="0">
                    <a:pos x="365" y="522"/>
                  </a:cxn>
                  <a:cxn ang="0">
                    <a:pos x="341" y="529"/>
                  </a:cxn>
                  <a:cxn ang="0">
                    <a:pos x="307" y="552"/>
                  </a:cxn>
                  <a:cxn ang="0">
                    <a:pos x="261" y="595"/>
                  </a:cxn>
                  <a:cxn ang="0">
                    <a:pos x="224" y="626"/>
                  </a:cxn>
                  <a:cxn ang="0">
                    <a:pos x="214" y="620"/>
                  </a:cxn>
                  <a:cxn ang="0">
                    <a:pos x="209" y="610"/>
                  </a:cxn>
                  <a:cxn ang="0">
                    <a:pos x="211" y="592"/>
                  </a:cxn>
                  <a:cxn ang="0">
                    <a:pos x="230" y="557"/>
                  </a:cxn>
                  <a:cxn ang="0">
                    <a:pos x="258" y="551"/>
                  </a:cxn>
                  <a:cxn ang="0">
                    <a:pos x="296" y="47"/>
                  </a:cxn>
                  <a:cxn ang="0">
                    <a:pos x="299" y="38"/>
                  </a:cxn>
                  <a:cxn ang="0">
                    <a:pos x="610" y="37"/>
                  </a:cxn>
                  <a:cxn ang="0">
                    <a:pos x="640" y="46"/>
                  </a:cxn>
                  <a:cxn ang="0">
                    <a:pos x="661" y="71"/>
                  </a:cxn>
                  <a:cxn ang="0">
                    <a:pos x="670" y="214"/>
                  </a:cxn>
                  <a:cxn ang="0">
                    <a:pos x="831" y="242"/>
                  </a:cxn>
                  <a:cxn ang="0">
                    <a:pos x="844" y="254"/>
                  </a:cxn>
                  <a:cxn ang="0">
                    <a:pos x="845" y="771"/>
                  </a:cxn>
                </a:cxnLst>
                <a:rect l="0" t="0" r="r" b="b"/>
                <a:pathLst>
                  <a:path w="884" h="844">
                    <a:moveTo>
                      <a:pt x="870" y="213"/>
                    </a:moveTo>
                    <a:lnTo>
                      <a:pt x="735" y="61"/>
                    </a:lnTo>
                    <a:lnTo>
                      <a:pt x="735" y="61"/>
                    </a:lnTo>
                    <a:lnTo>
                      <a:pt x="722" y="46"/>
                    </a:lnTo>
                    <a:lnTo>
                      <a:pt x="706" y="35"/>
                    </a:lnTo>
                    <a:lnTo>
                      <a:pt x="691" y="24"/>
                    </a:lnTo>
                    <a:lnTo>
                      <a:pt x="674" y="16"/>
                    </a:lnTo>
                    <a:lnTo>
                      <a:pt x="657" y="9"/>
                    </a:lnTo>
                    <a:lnTo>
                      <a:pt x="638" y="4"/>
                    </a:lnTo>
                    <a:lnTo>
                      <a:pt x="619" y="1"/>
                    </a:lnTo>
                    <a:lnTo>
                      <a:pt x="600" y="0"/>
                    </a:lnTo>
                    <a:lnTo>
                      <a:pt x="300" y="0"/>
                    </a:lnTo>
                    <a:lnTo>
                      <a:pt x="300" y="0"/>
                    </a:lnTo>
                    <a:lnTo>
                      <a:pt x="292" y="1"/>
                    </a:lnTo>
                    <a:lnTo>
                      <a:pt x="284" y="4"/>
                    </a:lnTo>
                    <a:lnTo>
                      <a:pt x="277" y="8"/>
                    </a:lnTo>
                    <a:lnTo>
                      <a:pt x="271" y="14"/>
                    </a:lnTo>
                    <a:lnTo>
                      <a:pt x="265" y="21"/>
                    </a:lnTo>
                    <a:lnTo>
                      <a:pt x="261" y="29"/>
                    </a:lnTo>
                    <a:lnTo>
                      <a:pt x="258" y="38"/>
                    </a:lnTo>
                    <a:lnTo>
                      <a:pt x="258" y="47"/>
                    </a:lnTo>
                    <a:lnTo>
                      <a:pt x="258" y="392"/>
                    </a:lnTo>
                    <a:lnTo>
                      <a:pt x="258" y="392"/>
                    </a:lnTo>
                    <a:lnTo>
                      <a:pt x="207" y="418"/>
                    </a:lnTo>
                    <a:lnTo>
                      <a:pt x="158" y="445"/>
                    </a:lnTo>
                    <a:lnTo>
                      <a:pt x="158" y="445"/>
                    </a:lnTo>
                    <a:lnTo>
                      <a:pt x="102" y="475"/>
                    </a:lnTo>
                    <a:lnTo>
                      <a:pt x="102" y="475"/>
                    </a:lnTo>
                    <a:lnTo>
                      <a:pt x="95" y="479"/>
                    </a:lnTo>
                    <a:lnTo>
                      <a:pt x="89" y="484"/>
                    </a:lnTo>
                    <a:lnTo>
                      <a:pt x="84" y="490"/>
                    </a:lnTo>
                    <a:lnTo>
                      <a:pt x="80" y="497"/>
                    </a:lnTo>
                    <a:lnTo>
                      <a:pt x="80" y="497"/>
                    </a:lnTo>
                    <a:lnTo>
                      <a:pt x="71" y="516"/>
                    </a:lnTo>
                    <a:lnTo>
                      <a:pt x="63" y="535"/>
                    </a:lnTo>
                    <a:lnTo>
                      <a:pt x="55" y="555"/>
                    </a:lnTo>
                    <a:lnTo>
                      <a:pt x="47" y="576"/>
                    </a:lnTo>
                    <a:lnTo>
                      <a:pt x="33" y="618"/>
                    </a:lnTo>
                    <a:lnTo>
                      <a:pt x="21" y="658"/>
                    </a:lnTo>
                    <a:lnTo>
                      <a:pt x="12" y="694"/>
                    </a:lnTo>
                    <a:lnTo>
                      <a:pt x="5" y="722"/>
                    </a:lnTo>
                    <a:lnTo>
                      <a:pt x="0" y="749"/>
                    </a:lnTo>
                    <a:lnTo>
                      <a:pt x="196" y="844"/>
                    </a:lnTo>
                    <a:lnTo>
                      <a:pt x="199" y="843"/>
                    </a:lnTo>
                    <a:lnTo>
                      <a:pt x="199" y="843"/>
                    </a:lnTo>
                    <a:lnTo>
                      <a:pt x="215" y="834"/>
                    </a:lnTo>
                    <a:lnTo>
                      <a:pt x="229" y="825"/>
                    </a:lnTo>
                    <a:lnTo>
                      <a:pt x="237" y="819"/>
                    </a:lnTo>
                    <a:lnTo>
                      <a:pt x="245" y="812"/>
                    </a:lnTo>
                    <a:lnTo>
                      <a:pt x="253" y="804"/>
                    </a:lnTo>
                    <a:lnTo>
                      <a:pt x="263" y="793"/>
                    </a:lnTo>
                    <a:lnTo>
                      <a:pt x="263" y="793"/>
                    </a:lnTo>
                    <a:lnTo>
                      <a:pt x="268" y="802"/>
                    </a:lnTo>
                    <a:lnTo>
                      <a:pt x="275" y="809"/>
                    </a:lnTo>
                    <a:lnTo>
                      <a:pt x="275" y="809"/>
                    </a:lnTo>
                    <a:lnTo>
                      <a:pt x="283" y="815"/>
                    </a:lnTo>
                    <a:lnTo>
                      <a:pt x="288" y="817"/>
                    </a:lnTo>
                    <a:lnTo>
                      <a:pt x="292" y="818"/>
                    </a:lnTo>
                    <a:lnTo>
                      <a:pt x="292" y="818"/>
                    </a:lnTo>
                    <a:lnTo>
                      <a:pt x="300" y="819"/>
                    </a:lnTo>
                    <a:lnTo>
                      <a:pt x="841" y="819"/>
                    </a:lnTo>
                    <a:lnTo>
                      <a:pt x="841" y="819"/>
                    </a:lnTo>
                    <a:lnTo>
                      <a:pt x="849" y="818"/>
                    </a:lnTo>
                    <a:lnTo>
                      <a:pt x="857" y="815"/>
                    </a:lnTo>
                    <a:lnTo>
                      <a:pt x="864" y="811"/>
                    </a:lnTo>
                    <a:lnTo>
                      <a:pt x="871" y="805"/>
                    </a:lnTo>
                    <a:lnTo>
                      <a:pt x="877" y="797"/>
                    </a:lnTo>
                    <a:lnTo>
                      <a:pt x="880" y="789"/>
                    </a:lnTo>
                    <a:lnTo>
                      <a:pt x="883" y="780"/>
                    </a:lnTo>
                    <a:lnTo>
                      <a:pt x="884" y="771"/>
                    </a:lnTo>
                    <a:lnTo>
                      <a:pt x="884" y="249"/>
                    </a:lnTo>
                    <a:lnTo>
                      <a:pt x="884" y="249"/>
                    </a:lnTo>
                    <a:lnTo>
                      <a:pt x="883" y="239"/>
                    </a:lnTo>
                    <a:lnTo>
                      <a:pt x="880" y="230"/>
                    </a:lnTo>
                    <a:lnTo>
                      <a:pt x="876" y="221"/>
                    </a:lnTo>
                    <a:lnTo>
                      <a:pt x="870" y="213"/>
                    </a:lnTo>
                    <a:lnTo>
                      <a:pt x="870" y="213"/>
                    </a:lnTo>
                    <a:close/>
                    <a:moveTo>
                      <a:pt x="845" y="771"/>
                    </a:moveTo>
                    <a:lnTo>
                      <a:pt x="845" y="771"/>
                    </a:lnTo>
                    <a:lnTo>
                      <a:pt x="845" y="775"/>
                    </a:lnTo>
                    <a:lnTo>
                      <a:pt x="843" y="778"/>
                    </a:lnTo>
                    <a:lnTo>
                      <a:pt x="842" y="780"/>
                    </a:lnTo>
                    <a:lnTo>
                      <a:pt x="841" y="780"/>
                    </a:lnTo>
                    <a:lnTo>
                      <a:pt x="321" y="780"/>
                    </a:lnTo>
                    <a:lnTo>
                      <a:pt x="321" y="780"/>
                    </a:lnTo>
                    <a:lnTo>
                      <a:pt x="302" y="781"/>
                    </a:lnTo>
                    <a:lnTo>
                      <a:pt x="300" y="780"/>
                    </a:lnTo>
                    <a:lnTo>
                      <a:pt x="299" y="779"/>
                    </a:lnTo>
                    <a:lnTo>
                      <a:pt x="299" y="779"/>
                    </a:lnTo>
                    <a:lnTo>
                      <a:pt x="297" y="776"/>
                    </a:lnTo>
                    <a:lnTo>
                      <a:pt x="296" y="771"/>
                    </a:lnTo>
                    <a:lnTo>
                      <a:pt x="296" y="751"/>
                    </a:lnTo>
                    <a:lnTo>
                      <a:pt x="296" y="751"/>
                    </a:lnTo>
                    <a:lnTo>
                      <a:pt x="311" y="729"/>
                    </a:lnTo>
                    <a:lnTo>
                      <a:pt x="326" y="705"/>
                    </a:lnTo>
                    <a:lnTo>
                      <a:pt x="355" y="660"/>
                    </a:lnTo>
                    <a:lnTo>
                      <a:pt x="355" y="660"/>
                    </a:lnTo>
                    <a:lnTo>
                      <a:pt x="365" y="645"/>
                    </a:lnTo>
                    <a:lnTo>
                      <a:pt x="375" y="632"/>
                    </a:lnTo>
                    <a:lnTo>
                      <a:pt x="387" y="619"/>
                    </a:lnTo>
                    <a:lnTo>
                      <a:pt x="397" y="608"/>
                    </a:lnTo>
                    <a:lnTo>
                      <a:pt x="397" y="608"/>
                    </a:lnTo>
                    <a:lnTo>
                      <a:pt x="411" y="594"/>
                    </a:lnTo>
                    <a:lnTo>
                      <a:pt x="423" y="581"/>
                    </a:lnTo>
                    <a:lnTo>
                      <a:pt x="427" y="575"/>
                    </a:lnTo>
                    <a:lnTo>
                      <a:pt x="430" y="568"/>
                    </a:lnTo>
                    <a:lnTo>
                      <a:pt x="432" y="562"/>
                    </a:lnTo>
                    <a:lnTo>
                      <a:pt x="433" y="557"/>
                    </a:lnTo>
                    <a:lnTo>
                      <a:pt x="433" y="557"/>
                    </a:lnTo>
                    <a:lnTo>
                      <a:pt x="432" y="551"/>
                    </a:lnTo>
                    <a:lnTo>
                      <a:pt x="429" y="545"/>
                    </a:lnTo>
                    <a:lnTo>
                      <a:pt x="425" y="539"/>
                    </a:lnTo>
                    <a:lnTo>
                      <a:pt x="420" y="533"/>
                    </a:lnTo>
                    <a:lnTo>
                      <a:pt x="412" y="528"/>
                    </a:lnTo>
                    <a:lnTo>
                      <a:pt x="404" y="524"/>
                    </a:lnTo>
                    <a:lnTo>
                      <a:pt x="394" y="521"/>
                    </a:lnTo>
                    <a:lnTo>
                      <a:pt x="383" y="520"/>
                    </a:lnTo>
                    <a:lnTo>
                      <a:pt x="383" y="520"/>
                    </a:lnTo>
                    <a:lnTo>
                      <a:pt x="374" y="521"/>
                    </a:lnTo>
                    <a:lnTo>
                      <a:pt x="365" y="522"/>
                    </a:lnTo>
                    <a:lnTo>
                      <a:pt x="357" y="524"/>
                    </a:lnTo>
                    <a:lnTo>
                      <a:pt x="349" y="526"/>
                    </a:lnTo>
                    <a:lnTo>
                      <a:pt x="341" y="529"/>
                    </a:lnTo>
                    <a:lnTo>
                      <a:pt x="334" y="532"/>
                    </a:lnTo>
                    <a:lnTo>
                      <a:pt x="320" y="541"/>
                    </a:lnTo>
                    <a:lnTo>
                      <a:pt x="307" y="552"/>
                    </a:lnTo>
                    <a:lnTo>
                      <a:pt x="293" y="565"/>
                    </a:lnTo>
                    <a:lnTo>
                      <a:pt x="261" y="595"/>
                    </a:lnTo>
                    <a:lnTo>
                      <a:pt x="261" y="595"/>
                    </a:lnTo>
                    <a:lnTo>
                      <a:pt x="249" y="606"/>
                    </a:lnTo>
                    <a:lnTo>
                      <a:pt x="238" y="615"/>
                    </a:lnTo>
                    <a:lnTo>
                      <a:pt x="224" y="626"/>
                    </a:lnTo>
                    <a:lnTo>
                      <a:pt x="224" y="626"/>
                    </a:lnTo>
                    <a:lnTo>
                      <a:pt x="219" y="624"/>
                    </a:lnTo>
                    <a:lnTo>
                      <a:pt x="214" y="620"/>
                    </a:lnTo>
                    <a:lnTo>
                      <a:pt x="211" y="616"/>
                    </a:lnTo>
                    <a:lnTo>
                      <a:pt x="209" y="610"/>
                    </a:lnTo>
                    <a:lnTo>
                      <a:pt x="209" y="610"/>
                    </a:lnTo>
                    <a:lnTo>
                      <a:pt x="208" y="606"/>
                    </a:lnTo>
                    <a:lnTo>
                      <a:pt x="208" y="601"/>
                    </a:lnTo>
                    <a:lnTo>
                      <a:pt x="211" y="592"/>
                    </a:lnTo>
                    <a:lnTo>
                      <a:pt x="215" y="581"/>
                    </a:lnTo>
                    <a:lnTo>
                      <a:pt x="222" y="569"/>
                    </a:lnTo>
                    <a:lnTo>
                      <a:pt x="230" y="557"/>
                    </a:lnTo>
                    <a:lnTo>
                      <a:pt x="239" y="545"/>
                    </a:lnTo>
                    <a:lnTo>
                      <a:pt x="258" y="520"/>
                    </a:lnTo>
                    <a:lnTo>
                      <a:pt x="258" y="551"/>
                    </a:lnTo>
                    <a:lnTo>
                      <a:pt x="296" y="505"/>
                    </a:lnTo>
                    <a:lnTo>
                      <a:pt x="296" y="47"/>
                    </a:lnTo>
                    <a:lnTo>
                      <a:pt x="296" y="47"/>
                    </a:lnTo>
                    <a:lnTo>
                      <a:pt x="296" y="43"/>
                    </a:lnTo>
                    <a:lnTo>
                      <a:pt x="298" y="40"/>
                    </a:lnTo>
                    <a:lnTo>
                      <a:pt x="299" y="38"/>
                    </a:lnTo>
                    <a:lnTo>
                      <a:pt x="300" y="37"/>
                    </a:lnTo>
                    <a:lnTo>
                      <a:pt x="610" y="37"/>
                    </a:lnTo>
                    <a:lnTo>
                      <a:pt x="610" y="37"/>
                    </a:lnTo>
                    <a:lnTo>
                      <a:pt x="621" y="39"/>
                    </a:lnTo>
                    <a:lnTo>
                      <a:pt x="631" y="42"/>
                    </a:lnTo>
                    <a:lnTo>
                      <a:pt x="640" y="46"/>
                    </a:lnTo>
                    <a:lnTo>
                      <a:pt x="649" y="54"/>
                    </a:lnTo>
                    <a:lnTo>
                      <a:pt x="656" y="62"/>
                    </a:lnTo>
                    <a:lnTo>
                      <a:pt x="661" y="71"/>
                    </a:lnTo>
                    <a:lnTo>
                      <a:pt x="665" y="81"/>
                    </a:lnTo>
                    <a:lnTo>
                      <a:pt x="666" y="91"/>
                    </a:lnTo>
                    <a:lnTo>
                      <a:pt x="670" y="214"/>
                    </a:lnTo>
                    <a:lnTo>
                      <a:pt x="827" y="241"/>
                    </a:lnTo>
                    <a:lnTo>
                      <a:pt x="827" y="241"/>
                    </a:lnTo>
                    <a:lnTo>
                      <a:pt x="831" y="242"/>
                    </a:lnTo>
                    <a:lnTo>
                      <a:pt x="834" y="243"/>
                    </a:lnTo>
                    <a:lnTo>
                      <a:pt x="839" y="248"/>
                    </a:lnTo>
                    <a:lnTo>
                      <a:pt x="844" y="254"/>
                    </a:lnTo>
                    <a:lnTo>
                      <a:pt x="845" y="258"/>
                    </a:lnTo>
                    <a:lnTo>
                      <a:pt x="845" y="261"/>
                    </a:lnTo>
                    <a:lnTo>
                      <a:pt x="845" y="7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7" name="Freeform 42">
                <a:extLst>
                  <a:ext uri="{FF2B5EF4-FFF2-40B4-BE49-F238E27FC236}">
                    <a16:creationId xmlns:a16="http://schemas.microsoft.com/office/drawing/2014/main" id="{BBBE1D28-B5DB-A8F7-CD92-8BC7E55DFD42}"/>
                  </a:ext>
                </a:extLst>
              </p:cNvPr>
              <p:cNvSpPr>
                <a:spLocks/>
              </p:cNvSpPr>
              <p:nvPr/>
            </p:nvSpPr>
            <p:spPr bwMode="auto">
              <a:xfrm>
                <a:off x="8843963" y="3336925"/>
                <a:ext cx="519113" cy="82550"/>
              </a:xfrm>
              <a:custGeom>
                <a:avLst/>
                <a:gdLst/>
                <a:ahLst/>
                <a:cxnLst>
                  <a:cxn ang="0">
                    <a:pos x="0" y="52"/>
                  </a:cxn>
                  <a:cxn ang="0">
                    <a:pos x="327" y="52"/>
                  </a:cxn>
                  <a:cxn ang="0">
                    <a:pos x="327" y="0"/>
                  </a:cxn>
                  <a:cxn ang="0">
                    <a:pos x="3" y="0"/>
                  </a:cxn>
                  <a:cxn ang="0">
                    <a:pos x="3" y="0"/>
                  </a:cxn>
                  <a:cxn ang="0">
                    <a:pos x="5" y="6"/>
                  </a:cxn>
                  <a:cxn ang="0">
                    <a:pos x="6" y="12"/>
                  </a:cxn>
                  <a:cxn ang="0">
                    <a:pos x="7" y="18"/>
                  </a:cxn>
                  <a:cxn ang="0">
                    <a:pos x="7" y="24"/>
                  </a:cxn>
                  <a:cxn ang="0">
                    <a:pos x="6" y="31"/>
                  </a:cxn>
                  <a:cxn ang="0">
                    <a:pos x="5" y="37"/>
                  </a:cxn>
                  <a:cxn ang="0">
                    <a:pos x="3" y="45"/>
                  </a:cxn>
                  <a:cxn ang="0">
                    <a:pos x="0" y="52"/>
                  </a:cxn>
                  <a:cxn ang="0">
                    <a:pos x="0" y="52"/>
                  </a:cxn>
                </a:cxnLst>
                <a:rect l="0" t="0" r="r" b="b"/>
                <a:pathLst>
                  <a:path w="327" h="52">
                    <a:moveTo>
                      <a:pt x="0" y="52"/>
                    </a:moveTo>
                    <a:lnTo>
                      <a:pt x="327" y="52"/>
                    </a:lnTo>
                    <a:lnTo>
                      <a:pt x="327" y="0"/>
                    </a:lnTo>
                    <a:lnTo>
                      <a:pt x="3" y="0"/>
                    </a:lnTo>
                    <a:lnTo>
                      <a:pt x="3" y="0"/>
                    </a:lnTo>
                    <a:lnTo>
                      <a:pt x="5" y="6"/>
                    </a:lnTo>
                    <a:lnTo>
                      <a:pt x="6" y="12"/>
                    </a:lnTo>
                    <a:lnTo>
                      <a:pt x="7" y="18"/>
                    </a:lnTo>
                    <a:lnTo>
                      <a:pt x="7" y="24"/>
                    </a:lnTo>
                    <a:lnTo>
                      <a:pt x="6" y="31"/>
                    </a:lnTo>
                    <a:lnTo>
                      <a:pt x="5" y="37"/>
                    </a:lnTo>
                    <a:lnTo>
                      <a:pt x="3" y="45"/>
                    </a:lnTo>
                    <a:lnTo>
                      <a:pt x="0" y="52"/>
                    </a:ln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8" name="Rectangle 43">
                <a:extLst>
                  <a:ext uri="{FF2B5EF4-FFF2-40B4-BE49-F238E27FC236}">
                    <a16:creationId xmlns:a16="http://schemas.microsoft.com/office/drawing/2014/main" id="{F44559A4-07C7-7719-BB75-7AE9A957C6FE}"/>
                  </a:ext>
                </a:extLst>
              </p:cNvPr>
              <p:cNvSpPr>
                <a:spLocks noChangeArrowheads="1"/>
              </p:cNvSpPr>
              <p:nvPr/>
            </p:nvSpPr>
            <p:spPr bwMode="auto">
              <a:xfrm>
                <a:off x="8666163" y="3149600"/>
                <a:ext cx="696913"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9" name="Freeform 44">
                <a:extLst>
                  <a:ext uri="{FF2B5EF4-FFF2-40B4-BE49-F238E27FC236}">
                    <a16:creationId xmlns:a16="http://schemas.microsoft.com/office/drawing/2014/main" id="{07A9AD0C-21BA-14B7-99E9-62BC316A768A}"/>
                  </a:ext>
                </a:extLst>
              </p:cNvPr>
              <p:cNvSpPr>
                <a:spLocks/>
              </p:cNvSpPr>
              <p:nvPr/>
            </p:nvSpPr>
            <p:spPr bwMode="auto">
              <a:xfrm>
                <a:off x="8694738" y="3529013"/>
                <a:ext cx="320675" cy="80963"/>
              </a:xfrm>
              <a:custGeom>
                <a:avLst/>
                <a:gdLst/>
                <a:ahLst/>
                <a:cxnLst>
                  <a:cxn ang="0">
                    <a:pos x="18" y="22"/>
                  </a:cxn>
                  <a:cxn ang="0">
                    <a:pos x="18" y="22"/>
                  </a:cxn>
                  <a:cxn ang="0">
                    <a:pos x="0" y="51"/>
                  </a:cxn>
                  <a:cxn ang="0">
                    <a:pos x="202" y="51"/>
                  </a:cxn>
                  <a:cxn ang="0">
                    <a:pos x="202" y="0"/>
                  </a:cxn>
                  <a:cxn ang="0">
                    <a:pos x="35" y="0"/>
                  </a:cxn>
                  <a:cxn ang="0">
                    <a:pos x="35" y="0"/>
                  </a:cxn>
                  <a:cxn ang="0">
                    <a:pos x="26" y="11"/>
                  </a:cxn>
                  <a:cxn ang="0">
                    <a:pos x="18" y="22"/>
                  </a:cxn>
                  <a:cxn ang="0">
                    <a:pos x="18" y="22"/>
                  </a:cxn>
                </a:cxnLst>
                <a:rect l="0" t="0" r="r" b="b"/>
                <a:pathLst>
                  <a:path w="202" h="51">
                    <a:moveTo>
                      <a:pt x="18" y="22"/>
                    </a:moveTo>
                    <a:lnTo>
                      <a:pt x="18" y="22"/>
                    </a:lnTo>
                    <a:lnTo>
                      <a:pt x="0" y="51"/>
                    </a:lnTo>
                    <a:lnTo>
                      <a:pt x="202" y="51"/>
                    </a:lnTo>
                    <a:lnTo>
                      <a:pt x="202" y="0"/>
                    </a:lnTo>
                    <a:lnTo>
                      <a:pt x="35" y="0"/>
                    </a:lnTo>
                    <a:lnTo>
                      <a:pt x="35" y="0"/>
                    </a:lnTo>
                    <a:lnTo>
                      <a:pt x="26" y="11"/>
                    </a:lnTo>
                    <a:lnTo>
                      <a:pt x="18" y="22"/>
                    </a:lnTo>
                    <a:lnTo>
                      <a:pt x="1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spTree>
    <p:extLst>
      <p:ext uri="{BB962C8B-B14F-4D97-AF65-F5344CB8AC3E}">
        <p14:creationId xmlns:p14="http://schemas.microsoft.com/office/powerpoint/2010/main" val="4014183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Plan B financials</a:t>
            </a:r>
          </a:p>
        </p:txBody>
      </p:sp>
      <p:grpSp>
        <p:nvGrpSpPr>
          <p:cNvPr id="24" name="Group 23">
            <a:extLst>
              <a:ext uri="{FF2B5EF4-FFF2-40B4-BE49-F238E27FC236}">
                <a16:creationId xmlns:a16="http://schemas.microsoft.com/office/drawing/2014/main" id="{5FEBB592-0721-E89F-56E9-13D23AF0F540}"/>
              </a:ext>
            </a:extLst>
          </p:cNvPr>
          <p:cNvGrpSpPr/>
          <p:nvPr/>
        </p:nvGrpSpPr>
        <p:grpSpPr>
          <a:xfrm>
            <a:off x="215122" y="692696"/>
            <a:ext cx="11778444" cy="5583442"/>
            <a:chOff x="215122" y="673848"/>
            <a:chExt cx="11778444" cy="5583442"/>
          </a:xfrm>
        </p:grpSpPr>
        <p:sp>
          <p:nvSpPr>
            <p:cNvPr id="13" name="Rectangle 12">
              <a:extLst>
                <a:ext uri="{FF2B5EF4-FFF2-40B4-BE49-F238E27FC236}">
                  <a16:creationId xmlns:a16="http://schemas.microsoft.com/office/drawing/2014/main" id="{45DD805E-2F6B-3D0C-E15A-51B6423DC4CB}"/>
                </a:ext>
              </a:extLst>
            </p:cNvPr>
            <p:cNvSpPr/>
            <p:nvPr/>
          </p:nvSpPr>
          <p:spPr>
            <a:xfrm>
              <a:off x="215122" y="673848"/>
              <a:ext cx="7465054" cy="5583442"/>
            </a:xfrm>
            <a:prstGeom prst="rect">
              <a:avLst/>
            </a:prstGeom>
            <a:noFill/>
            <a:ln w="6350">
              <a:solidFill>
                <a:srgbClr val="384044"/>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dirty="0"/>
            </a:p>
          </p:txBody>
        </p:sp>
        <p:sp>
          <p:nvSpPr>
            <p:cNvPr id="14" name="Rectangle 13">
              <a:extLst>
                <a:ext uri="{FF2B5EF4-FFF2-40B4-BE49-F238E27FC236}">
                  <a16:creationId xmlns:a16="http://schemas.microsoft.com/office/drawing/2014/main" id="{C274BEB9-0FDE-4B03-08AD-69D038BF3035}"/>
                </a:ext>
              </a:extLst>
            </p:cNvPr>
            <p:cNvSpPr/>
            <p:nvPr/>
          </p:nvSpPr>
          <p:spPr>
            <a:xfrm>
              <a:off x="7851620" y="673848"/>
              <a:ext cx="4141946" cy="5583442"/>
            </a:xfrm>
            <a:prstGeom prst="rect">
              <a:avLst/>
            </a:prstGeom>
            <a:solidFill>
              <a:srgbClr val="323E48"/>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dirty="0"/>
            </a:p>
          </p:txBody>
        </p:sp>
        <p:sp>
          <p:nvSpPr>
            <p:cNvPr id="15" name="타원 2">
              <a:extLst>
                <a:ext uri="{FF2B5EF4-FFF2-40B4-BE49-F238E27FC236}">
                  <a16:creationId xmlns:a16="http://schemas.microsoft.com/office/drawing/2014/main" id="{1234D8FF-9656-2F95-515E-E1D830289880}"/>
                </a:ext>
              </a:extLst>
            </p:cNvPr>
            <p:cNvSpPr/>
            <p:nvPr/>
          </p:nvSpPr>
          <p:spPr>
            <a:xfrm>
              <a:off x="7465208" y="2986962"/>
              <a:ext cx="586053" cy="586053"/>
            </a:xfrm>
            <a:prstGeom prst="ellipse">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ko-Kore-KR" altLang="en-US" sz="1800" b="1" i="0" u="none" strike="noStrike" kern="0" cap="none" spc="0" normalizeH="0" baseline="0" noProof="0" dirty="0">
                <a:ln>
                  <a:noFill/>
                </a:ln>
                <a:solidFill>
                  <a:srgbClr val="FFFFFF"/>
                </a:solidFill>
                <a:effectLst/>
                <a:uLnTx/>
                <a:uFillTx/>
                <a:latin typeface="Century Gothic" panose="020B0502020202020204" pitchFamily="34" charset="0"/>
                <a:ea typeface="맑은 고딕"/>
              </a:endParaRPr>
            </a:p>
          </p:txBody>
        </p:sp>
        <p:pic>
          <p:nvPicPr>
            <p:cNvPr id="3" name="Picture 2">
              <a:extLst>
                <a:ext uri="{FF2B5EF4-FFF2-40B4-BE49-F238E27FC236}">
                  <a16:creationId xmlns:a16="http://schemas.microsoft.com/office/drawing/2014/main" id="{DA61FBB6-CDC9-A633-590F-121422096E7B}"/>
                </a:ext>
              </a:extLst>
            </p:cNvPr>
            <p:cNvPicPr>
              <a:picLocks noChangeAspect="1"/>
            </p:cNvPicPr>
            <p:nvPr/>
          </p:nvPicPr>
          <p:blipFill>
            <a:blip r:embed="rId3"/>
            <a:stretch>
              <a:fillRect/>
            </a:stretch>
          </p:blipFill>
          <p:spPr>
            <a:xfrm>
              <a:off x="335360" y="764704"/>
              <a:ext cx="7010400" cy="5441950"/>
            </a:xfrm>
            <a:prstGeom prst="rect">
              <a:avLst/>
            </a:prstGeom>
          </p:spPr>
        </p:pic>
        <p:sp>
          <p:nvSpPr>
            <p:cNvPr id="6" name="TextBox 5">
              <a:extLst>
                <a:ext uri="{FF2B5EF4-FFF2-40B4-BE49-F238E27FC236}">
                  <a16:creationId xmlns:a16="http://schemas.microsoft.com/office/drawing/2014/main" id="{B672BCE8-9E98-4817-B5C2-5C75556C891D}"/>
                </a:ext>
              </a:extLst>
            </p:cNvPr>
            <p:cNvSpPr txBox="1"/>
            <p:nvPr/>
          </p:nvSpPr>
          <p:spPr>
            <a:xfrm>
              <a:off x="8051261" y="1641078"/>
              <a:ext cx="3881377" cy="3277820"/>
            </a:xfrm>
            <a:prstGeom prst="rect">
              <a:avLst/>
            </a:prstGeom>
            <a:noFill/>
          </p:spPr>
          <p:txBody>
            <a:bodyPr wrap="square">
              <a:spAutoFit/>
            </a:bodyPr>
            <a:lstStyle/>
            <a:p>
              <a:pPr marL="342900" lvl="0" indent="-342900">
                <a:spcBef>
                  <a:spcPts val="300"/>
                </a:spcBef>
                <a:spcAft>
                  <a:spcPts val="300"/>
                </a:spcAft>
                <a:buFont typeface="Arial" panose="020B0604020202020204" pitchFamily="34" charset="0"/>
                <a:buChar char="•"/>
              </a:pPr>
              <a:r>
                <a:rPr lang="en-GB" sz="1600" dirty="0">
                  <a:solidFill>
                    <a:schemeClr val="bg1"/>
                  </a:solidFill>
                  <a:effectLst/>
                  <a:latin typeface="Calibri" panose="020F0502020204030204" pitchFamily="34" charset="0"/>
                  <a:ea typeface="Times New Roman" panose="02020603050405020304" pitchFamily="18" charset="0"/>
                </a:rPr>
                <a:t>Tameh is discontinued, </a:t>
              </a:r>
              <a:r>
                <a:rPr lang="en-GB" sz="1600" dirty="0">
                  <a:solidFill>
                    <a:schemeClr val="bg1"/>
                  </a:solidFill>
                  <a:latin typeface="Calibri" panose="020F0502020204030204" pitchFamily="34" charset="0"/>
                  <a:ea typeface="Times New Roman" panose="02020603050405020304" pitchFamily="18" charset="0"/>
                </a:rPr>
                <a:t>and Ostrava</a:t>
              </a:r>
              <a:r>
                <a:rPr lang="en-GB" sz="1600" dirty="0">
                  <a:solidFill>
                    <a:schemeClr val="bg1"/>
                  </a:solidFill>
                  <a:effectLst/>
                  <a:latin typeface="Calibri" panose="020F0502020204030204" pitchFamily="34" charset="0"/>
                  <a:ea typeface="Times New Roman" panose="02020603050405020304" pitchFamily="18" charset="0"/>
                </a:rPr>
                <a:t> spends €40mn in capex for its effective replacement. </a:t>
              </a:r>
              <a:endParaRPr lang="en-AE" sz="1600" dirty="0">
                <a:solidFill>
                  <a:schemeClr val="bg1"/>
                </a:solidFill>
                <a:effectLst/>
                <a:latin typeface="Calibri" panose="020F0502020204030204" pitchFamily="34" charset="0"/>
                <a:ea typeface="Calibri" panose="020F0502020204030204" pitchFamily="34" charset="0"/>
              </a:endParaRPr>
            </a:p>
            <a:p>
              <a:pPr marL="342900" lvl="0" indent="-342900">
                <a:spcBef>
                  <a:spcPts val="300"/>
                </a:spcBef>
                <a:spcAft>
                  <a:spcPts val="300"/>
                </a:spcAft>
                <a:buFont typeface="Arial" panose="020B0604020202020204" pitchFamily="34" charset="0"/>
                <a:buChar char="•"/>
              </a:pPr>
              <a:r>
                <a:rPr lang="en-GB" sz="1600" dirty="0">
                  <a:solidFill>
                    <a:schemeClr val="bg1"/>
                  </a:solidFill>
                  <a:effectLst/>
                  <a:latin typeface="Calibri" panose="020F0502020204030204" pitchFamily="34" charset="0"/>
                  <a:ea typeface="Times New Roman" panose="02020603050405020304" pitchFamily="18" charset="0"/>
                </a:rPr>
                <a:t>The benefit of this capex is cost reduction of c. €</a:t>
              </a:r>
              <a:r>
                <a:rPr lang="en-GB" sz="1600" dirty="0">
                  <a:solidFill>
                    <a:schemeClr val="bg1"/>
                  </a:solidFill>
                  <a:latin typeface="Calibri" panose="020F0502020204030204" pitchFamily="34" charset="0"/>
                  <a:ea typeface="Times New Roman" panose="02020603050405020304" pitchFamily="18" charset="0"/>
                </a:rPr>
                <a:t>45</a:t>
              </a:r>
              <a:r>
                <a:rPr lang="en-GB" sz="1600" dirty="0">
                  <a:solidFill>
                    <a:schemeClr val="bg1"/>
                  </a:solidFill>
                  <a:effectLst/>
                  <a:latin typeface="Calibri" panose="020F0502020204030204" pitchFamily="34" charset="0"/>
                  <a:ea typeface="Times New Roman" panose="02020603050405020304" pitchFamily="18" charset="0"/>
                </a:rPr>
                <a:t>mn per annum. </a:t>
              </a:r>
              <a:endParaRPr lang="en-AE" sz="1600" dirty="0">
                <a:solidFill>
                  <a:schemeClr val="bg1"/>
                </a:solidFill>
                <a:effectLst/>
                <a:latin typeface="Calibri" panose="020F0502020204030204" pitchFamily="34" charset="0"/>
                <a:ea typeface="Calibri" panose="020F0502020204030204" pitchFamily="34" charset="0"/>
              </a:endParaRPr>
            </a:p>
            <a:p>
              <a:pPr marL="342900" lvl="0" indent="-342900">
                <a:spcBef>
                  <a:spcPts val="300"/>
                </a:spcBef>
                <a:spcAft>
                  <a:spcPts val="300"/>
                </a:spcAft>
                <a:buFont typeface="Arial" panose="020B0604020202020204" pitchFamily="34" charset="0"/>
                <a:buChar char="•"/>
              </a:pPr>
              <a:r>
                <a:rPr lang="en-GB" sz="1600" dirty="0">
                  <a:solidFill>
                    <a:schemeClr val="bg1"/>
                  </a:solidFill>
                  <a:effectLst/>
                  <a:latin typeface="Calibri" panose="020F0502020204030204" pitchFamily="34" charset="0"/>
                  <a:ea typeface="Times New Roman" panose="02020603050405020304" pitchFamily="18" charset="0"/>
                </a:rPr>
                <a:t>The BF restarts in Jan’25, Inventory finance of €25mn assumed in Jun with the Company purchasing slabs from the market.</a:t>
              </a:r>
            </a:p>
            <a:p>
              <a:pPr marL="342900" lvl="0" indent="-342900">
                <a:spcBef>
                  <a:spcPts val="300"/>
                </a:spcBef>
                <a:spcAft>
                  <a:spcPts val="300"/>
                </a:spcAft>
                <a:buFont typeface="Arial" panose="020B0604020202020204" pitchFamily="34" charset="0"/>
                <a:buChar char="•"/>
              </a:pPr>
              <a:r>
                <a:rPr lang="en-GB" sz="1600" dirty="0">
                  <a:solidFill>
                    <a:schemeClr val="bg1"/>
                  </a:solidFill>
                  <a:effectLst/>
                  <a:latin typeface="Calibri" panose="020F0502020204030204" pitchFamily="34" charset="0"/>
                  <a:ea typeface="Calibri" panose="020F0502020204030204" pitchFamily="34" charset="0"/>
                </a:rPr>
                <a:t>Ost</a:t>
              </a:r>
              <a:r>
                <a:rPr lang="en-GB" sz="1600" dirty="0">
                  <a:solidFill>
                    <a:schemeClr val="bg1"/>
                  </a:solidFill>
                  <a:latin typeface="Calibri" panose="020F0502020204030204" pitchFamily="34" charset="0"/>
                  <a:ea typeface="Calibri" panose="020F0502020204030204" pitchFamily="34" charset="0"/>
                </a:rPr>
                <a:t>rava will repay 25% of its dues to Creditors before 31</a:t>
              </a:r>
              <a:r>
                <a:rPr lang="en-GB" sz="1600" baseline="30000" dirty="0">
                  <a:solidFill>
                    <a:schemeClr val="bg1"/>
                  </a:solidFill>
                  <a:latin typeface="Calibri" panose="020F0502020204030204" pitchFamily="34" charset="0"/>
                  <a:ea typeface="Calibri" panose="020F0502020204030204" pitchFamily="34" charset="0"/>
                </a:rPr>
                <a:t>st</a:t>
              </a:r>
              <a:r>
                <a:rPr lang="en-GB" sz="1600" dirty="0">
                  <a:solidFill>
                    <a:schemeClr val="bg1"/>
                  </a:solidFill>
                  <a:latin typeface="Calibri" panose="020F0502020204030204" pitchFamily="34" charset="0"/>
                  <a:ea typeface="Calibri" panose="020F0502020204030204" pitchFamily="34" charset="0"/>
                </a:rPr>
                <a:t> Dec’24 and the balance 75% before 31</a:t>
              </a:r>
              <a:r>
                <a:rPr lang="en-GB" sz="1600" baseline="30000" dirty="0">
                  <a:solidFill>
                    <a:schemeClr val="bg1"/>
                  </a:solidFill>
                  <a:latin typeface="Calibri" panose="020F0502020204030204" pitchFamily="34" charset="0"/>
                  <a:ea typeface="Calibri" panose="020F0502020204030204" pitchFamily="34" charset="0"/>
                </a:rPr>
                <a:t>st</a:t>
              </a:r>
              <a:r>
                <a:rPr lang="en-GB" sz="1600" dirty="0">
                  <a:solidFill>
                    <a:schemeClr val="bg1"/>
                  </a:solidFill>
                  <a:latin typeface="Calibri" panose="020F0502020204030204" pitchFamily="34" charset="0"/>
                  <a:ea typeface="Calibri" panose="020F0502020204030204" pitchFamily="34" charset="0"/>
                </a:rPr>
                <a:t> Dec’25.</a:t>
              </a:r>
              <a:endParaRPr lang="en-AE" sz="1600" dirty="0">
                <a:solidFill>
                  <a:schemeClr val="bg1"/>
                </a:solidFill>
                <a:effectLst/>
                <a:latin typeface="Calibri" panose="020F0502020204030204" pitchFamily="34" charset="0"/>
                <a:ea typeface="Calibri" panose="020F0502020204030204" pitchFamily="34" charset="0"/>
              </a:endParaRPr>
            </a:p>
          </p:txBody>
        </p:sp>
        <p:grpSp>
          <p:nvGrpSpPr>
            <p:cNvPr id="2" name="Group 1">
              <a:extLst>
                <a:ext uri="{FF2B5EF4-FFF2-40B4-BE49-F238E27FC236}">
                  <a16:creationId xmlns:a16="http://schemas.microsoft.com/office/drawing/2014/main" id="{7A670A6E-DF59-38E0-CBCF-2F1AD94374ED}"/>
                </a:ext>
              </a:extLst>
            </p:cNvPr>
            <p:cNvGrpSpPr/>
            <p:nvPr/>
          </p:nvGrpSpPr>
          <p:grpSpPr>
            <a:xfrm>
              <a:off x="7545401" y="3122362"/>
              <a:ext cx="407918" cy="308109"/>
              <a:chOff x="14173200" y="3667125"/>
              <a:chExt cx="1193800" cy="901700"/>
            </a:xfrm>
            <a:solidFill>
              <a:srgbClr val="323E48"/>
            </a:solidFill>
          </p:grpSpPr>
          <p:sp>
            <p:nvSpPr>
              <p:cNvPr id="4" name="Freeform 69">
                <a:extLst>
                  <a:ext uri="{FF2B5EF4-FFF2-40B4-BE49-F238E27FC236}">
                    <a16:creationId xmlns:a16="http://schemas.microsoft.com/office/drawing/2014/main" id="{9702B805-D01C-AB2E-C9C7-7276A0053F86}"/>
                  </a:ext>
                </a:extLst>
              </p:cNvPr>
              <p:cNvSpPr>
                <a:spLocks noEditPoints="1"/>
              </p:cNvSpPr>
              <p:nvPr/>
            </p:nvSpPr>
            <p:spPr bwMode="auto">
              <a:xfrm>
                <a:off x="14420850" y="3667125"/>
                <a:ext cx="473075" cy="241300"/>
              </a:xfrm>
              <a:custGeom>
                <a:avLst/>
                <a:gdLst>
                  <a:gd name="T0" fmla="*/ 178 w 298"/>
                  <a:gd name="T1" fmla="*/ 150 h 152"/>
                  <a:gd name="T2" fmla="*/ 252 w 298"/>
                  <a:gd name="T3" fmla="*/ 136 h 152"/>
                  <a:gd name="T4" fmla="*/ 294 w 298"/>
                  <a:gd name="T5" fmla="*/ 108 h 152"/>
                  <a:gd name="T6" fmla="*/ 298 w 298"/>
                  <a:gd name="T7" fmla="*/ 98 h 152"/>
                  <a:gd name="T8" fmla="*/ 298 w 298"/>
                  <a:gd name="T9" fmla="*/ 56 h 152"/>
                  <a:gd name="T10" fmla="*/ 294 w 298"/>
                  <a:gd name="T11" fmla="*/ 46 h 152"/>
                  <a:gd name="T12" fmla="*/ 254 w 298"/>
                  <a:gd name="T13" fmla="*/ 16 h 152"/>
                  <a:gd name="T14" fmla="*/ 178 w 298"/>
                  <a:gd name="T15" fmla="*/ 0 h 152"/>
                  <a:gd name="T16" fmla="*/ 118 w 298"/>
                  <a:gd name="T17" fmla="*/ 0 h 152"/>
                  <a:gd name="T18" fmla="*/ 44 w 298"/>
                  <a:gd name="T19" fmla="*/ 16 h 152"/>
                  <a:gd name="T20" fmla="*/ 2 w 298"/>
                  <a:gd name="T21" fmla="*/ 46 h 152"/>
                  <a:gd name="T22" fmla="*/ 0 w 298"/>
                  <a:gd name="T23" fmla="*/ 94 h 152"/>
                  <a:gd name="T24" fmla="*/ 0 w 298"/>
                  <a:gd name="T25" fmla="*/ 100 h 152"/>
                  <a:gd name="T26" fmla="*/ 26 w 298"/>
                  <a:gd name="T27" fmla="*/ 126 h 152"/>
                  <a:gd name="T28" fmla="*/ 90 w 298"/>
                  <a:gd name="T29" fmla="*/ 146 h 152"/>
                  <a:gd name="T30" fmla="*/ 148 w 298"/>
                  <a:gd name="T31" fmla="*/ 152 h 152"/>
                  <a:gd name="T32" fmla="*/ 56 w 298"/>
                  <a:gd name="T33" fmla="*/ 130 h 152"/>
                  <a:gd name="T34" fmla="*/ 76 w 298"/>
                  <a:gd name="T35" fmla="*/ 106 h 152"/>
                  <a:gd name="T36" fmla="*/ 116 w 298"/>
                  <a:gd name="T37" fmla="*/ 142 h 152"/>
                  <a:gd name="T38" fmla="*/ 96 w 298"/>
                  <a:gd name="T39" fmla="*/ 110 h 152"/>
                  <a:gd name="T40" fmla="*/ 158 w 298"/>
                  <a:gd name="T41" fmla="*/ 142 h 152"/>
                  <a:gd name="T42" fmla="*/ 148 w 298"/>
                  <a:gd name="T43" fmla="*/ 142 h 152"/>
                  <a:gd name="T44" fmla="*/ 136 w 298"/>
                  <a:gd name="T45" fmla="*/ 114 h 152"/>
                  <a:gd name="T46" fmla="*/ 158 w 298"/>
                  <a:gd name="T47" fmla="*/ 114 h 152"/>
                  <a:gd name="T48" fmla="*/ 280 w 298"/>
                  <a:gd name="T49" fmla="*/ 112 h 152"/>
                  <a:gd name="T50" fmla="*/ 264 w 298"/>
                  <a:gd name="T51" fmla="*/ 92 h 152"/>
                  <a:gd name="T52" fmla="*/ 280 w 298"/>
                  <a:gd name="T53" fmla="*/ 112 h 152"/>
                  <a:gd name="T54" fmla="*/ 174 w 298"/>
                  <a:gd name="T55" fmla="*/ 12 h 152"/>
                  <a:gd name="T56" fmla="*/ 240 w 298"/>
                  <a:gd name="T57" fmla="*/ 24 h 152"/>
                  <a:gd name="T58" fmla="*/ 274 w 298"/>
                  <a:gd name="T59" fmla="*/ 46 h 152"/>
                  <a:gd name="T60" fmla="*/ 278 w 298"/>
                  <a:gd name="T61" fmla="*/ 56 h 152"/>
                  <a:gd name="T62" fmla="*/ 268 w 298"/>
                  <a:gd name="T63" fmla="*/ 74 h 152"/>
                  <a:gd name="T64" fmla="*/ 220 w 298"/>
                  <a:gd name="T65" fmla="*/ 92 h 152"/>
                  <a:gd name="T66" fmla="*/ 148 w 298"/>
                  <a:gd name="T67" fmla="*/ 100 h 152"/>
                  <a:gd name="T68" fmla="*/ 98 w 298"/>
                  <a:gd name="T69" fmla="*/ 96 h 152"/>
                  <a:gd name="T70" fmla="*/ 42 w 298"/>
                  <a:gd name="T71" fmla="*/ 80 h 152"/>
                  <a:gd name="T72" fmla="*/ 20 w 298"/>
                  <a:gd name="T73" fmla="*/ 60 h 152"/>
                  <a:gd name="T74" fmla="*/ 20 w 298"/>
                  <a:gd name="T75" fmla="*/ 50 h 152"/>
                  <a:gd name="T76" fmla="*/ 42 w 298"/>
                  <a:gd name="T77" fmla="*/ 30 h 152"/>
                  <a:gd name="T78" fmla="*/ 98 w 298"/>
                  <a:gd name="T79" fmla="*/ 14 h 152"/>
                  <a:gd name="T80" fmla="*/ 148 w 298"/>
                  <a:gd name="T81" fmla="*/ 10 h 152"/>
                  <a:gd name="T82" fmla="*/ 24 w 298"/>
                  <a:gd name="T83" fmla="*/ 86 h 152"/>
                  <a:gd name="T84" fmla="*/ 34 w 298"/>
                  <a:gd name="T85" fmla="*/ 122 h 152"/>
                  <a:gd name="T86" fmla="*/ 14 w 298"/>
                  <a:gd name="T87" fmla="*/ 8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152">
                    <a:moveTo>
                      <a:pt x="148" y="152"/>
                    </a:moveTo>
                    <a:lnTo>
                      <a:pt x="148" y="152"/>
                    </a:lnTo>
                    <a:lnTo>
                      <a:pt x="178" y="150"/>
                    </a:lnTo>
                    <a:lnTo>
                      <a:pt x="206" y="146"/>
                    </a:lnTo>
                    <a:lnTo>
                      <a:pt x="230" y="142"/>
                    </a:lnTo>
                    <a:lnTo>
                      <a:pt x="252" y="136"/>
                    </a:lnTo>
                    <a:lnTo>
                      <a:pt x="270" y="128"/>
                    </a:lnTo>
                    <a:lnTo>
                      <a:pt x="284" y="118"/>
                    </a:lnTo>
                    <a:lnTo>
                      <a:pt x="294" y="108"/>
                    </a:lnTo>
                    <a:lnTo>
                      <a:pt x="296" y="102"/>
                    </a:lnTo>
                    <a:lnTo>
                      <a:pt x="298" y="98"/>
                    </a:lnTo>
                    <a:lnTo>
                      <a:pt x="298" y="98"/>
                    </a:lnTo>
                    <a:lnTo>
                      <a:pt x="298" y="94"/>
                    </a:lnTo>
                    <a:lnTo>
                      <a:pt x="298" y="94"/>
                    </a:lnTo>
                    <a:lnTo>
                      <a:pt x="298" y="56"/>
                    </a:lnTo>
                    <a:lnTo>
                      <a:pt x="298" y="56"/>
                    </a:lnTo>
                    <a:lnTo>
                      <a:pt x="298" y="50"/>
                    </a:lnTo>
                    <a:lnTo>
                      <a:pt x="294" y="46"/>
                    </a:lnTo>
                    <a:lnTo>
                      <a:pt x="286" y="34"/>
                    </a:lnTo>
                    <a:lnTo>
                      <a:pt x="272" y="24"/>
                    </a:lnTo>
                    <a:lnTo>
                      <a:pt x="254" y="16"/>
                    </a:lnTo>
                    <a:lnTo>
                      <a:pt x="232" y="10"/>
                    </a:lnTo>
                    <a:lnTo>
                      <a:pt x="206" y="4"/>
                    </a:lnTo>
                    <a:lnTo>
                      <a:pt x="178" y="0"/>
                    </a:lnTo>
                    <a:lnTo>
                      <a:pt x="148" y="0"/>
                    </a:lnTo>
                    <a:lnTo>
                      <a:pt x="148" y="0"/>
                    </a:lnTo>
                    <a:lnTo>
                      <a:pt x="118" y="0"/>
                    </a:lnTo>
                    <a:lnTo>
                      <a:pt x="90" y="4"/>
                    </a:lnTo>
                    <a:lnTo>
                      <a:pt x="66" y="10"/>
                    </a:lnTo>
                    <a:lnTo>
                      <a:pt x="44" y="16"/>
                    </a:lnTo>
                    <a:lnTo>
                      <a:pt x="26" y="24"/>
                    </a:lnTo>
                    <a:lnTo>
                      <a:pt x="12" y="34"/>
                    </a:lnTo>
                    <a:lnTo>
                      <a:pt x="2" y="46"/>
                    </a:lnTo>
                    <a:lnTo>
                      <a:pt x="0" y="50"/>
                    </a:lnTo>
                    <a:lnTo>
                      <a:pt x="0" y="56"/>
                    </a:lnTo>
                    <a:lnTo>
                      <a:pt x="0" y="94"/>
                    </a:lnTo>
                    <a:lnTo>
                      <a:pt x="0" y="94"/>
                    </a:lnTo>
                    <a:lnTo>
                      <a:pt x="0" y="94"/>
                    </a:lnTo>
                    <a:lnTo>
                      <a:pt x="0" y="100"/>
                    </a:lnTo>
                    <a:lnTo>
                      <a:pt x="2" y="106"/>
                    </a:lnTo>
                    <a:lnTo>
                      <a:pt x="12" y="116"/>
                    </a:lnTo>
                    <a:lnTo>
                      <a:pt x="26" y="126"/>
                    </a:lnTo>
                    <a:lnTo>
                      <a:pt x="44" y="134"/>
                    </a:lnTo>
                    <a:lnTo>
                      <a:pt x="66" y="142"/>
                    </a:lnTo>
                    <a:lnTo>
                      <a:pt x="90" y="146"/>
                    </a:lnTo>
                    <a:lnTo>
                      <a:pt x="118" y="150"/>
                    </a:lnTo>
                    <a:lnTo>
                      <a:pt x="148" y="152"/>
                    </a:lnTo>
                    <a:lnTo>
                      <a:pt x="148" y="152"/>
                    </a:lnTo>
                    <a:close/>
                    <a:moveTo>
                      <a:pt x="76" y="136"/>
                    </a:moveTo>
                    <a:lnTo>
                      <a:pt x="76" y="136"/>
                    </a:lnTo>
                    <a:lnTo>
                      <a:pt x="56" y="130"/>
                    </a:lnTo>
                    <a:lnTo>
                      <a:pt x="56" y="100"/>
                    </a:lnTo>
                    <a:lnTo>
                      <a:pt x="56" y="100"/>
                    </a:lnTo>
                    <a:lnTo>
                      <a:pt x="76" y="106"/>
                    </a:lnTo>
                    <a:lnTo>
                      <a:pt x="76" y="136"/>
                    </a:lnTo>
                    <a:close/>
                    <a:moveTo>
                      <a:pt x="116" y="142"/>
                    </a:moveTo>
                    <a:lnTo>
                      <a:pt x="116" y="142"/>
                    </a:lnTo>
                    <a:lnTo>
                      <a:pt x="96" y="140"/>
                    </a:lnTo>
                    <a:lnTo>
                      <a:pt x="96" y="110"/>
                    </a:lnTo>
                    <a:lnTo>
                      <a:pt x="96" y="110"/>
                    </a:lnTo>
                    <a:lnTo>
                      <a:pt x="116" y="112"/>
                    </a:lnTo>
                    <a:lnTo>
                      <a:pt x="116" y="142"/>
                    </a:lnTo>
                    <a:close/>
                    <a:moveTo>
                      <a:pt x="158" y="142"/>
                    </a:moveTo>
                    <a:lnTo>
                      <a:pt x="158" y="142"/>
                    </a:lnTo>
                    <a:lnTo>
                      <a:pt x="148" y="142"/>
                    </a:lnTo>
                    <a:lnTo>
                      <a:pt x="148" y="142"/>
                    </a:lnTo>
                    <a:lnTo>
                      <a:pt x="136" y="142"/>
                    </a:lnTo>
                    <a:lnTo>
                      <a:pt x="136" y="114"/>
                    </a:lnTo>
                    <a:lnTo>
                      <a:pt x="136" y="114"/>
                    </a:lnTo>
                    <a:lnTo>
                      <a:pt x="148" y="114"/>
                    </a:lnTo>
                    <a:lnTo>
                      <a:pt x="148" y="114"/>
                    </a:lnTo>
                    <a:lnTo>
                      <a:pt x="158" y="114"/>
                    </a:lnTo>
                    <a:lnTo>
                      <a:pt x="158" y="142"/>
                    </a:lnTo>
                    <a:close/>
                    <a:moveTo>
                      <a:pt x="280" y="112"/>
                    </a:moveTo>
                    <a:lnTo>
                      <a:pt x="280" y="112"/>
                    </a:lnTo>
                    <a:lnTo>
                      <a:pt x="272" y="118"/>
                    </a:lnTo>
                    <a:lnTo>
                      <a:pt x="264" y="122"/>
                    </a:lnTo>
                    <a:lnTo>
                      <a:pt x="264" y="92"/>
                    </a:lnTo>
                    <a:lnTo>
                      <a:pt x="264" y="92"/>
                    </a:lnTo>
                    <a:lnTo>
                      <a:pt x="280" y="82"/>
                    </a:lnTo>
                    <a:lnTo>
                      <a:pt x="280" y="112"/>
                    </a:lnTo>
                    <a:close/>
                    <a:moveTo>
                      <a:pt x="148" y="10"/>
                    </a:moveTo>
                    <a:lnTo>
                      <a:pt x="148" y="10"/>
                    </a:lnTo>
                    <a:lnTo>
                      <a:pt x="174" y="12"/>
                    </a:lnTo>
                    <a:lnTo>
                      <a:pt x="198" y="14"/>
                    </a:lnTo>
                    <a:lnTo>
                      <a:pt x="220" y="18"/>
                    </a:lnTo>
                    <a:lnTo>
                      <a:pt x="240" y="24"/>
                    </a:lnTo>
                    <a:lnTo>
                      <a:pt x="256" y="30"/>
                    </a:lnTo>
                    <a:lnTo>
                      <a:pt x="268" y="38"/>
                    </a:lnTo>
                    <a:lnTo>
                      <a:pt x="274" y="46"/>
                    </a:lnTo>
                    <a:lnTo>
                      <a:pt x="276" y="50"/>
                    </a:lnTo>
                    <a:lnTo>
                      <a:pt x="278" y="56"/>
                    </a:lnTo>
                    <a:lnTo>
                      <a:pt x="278" y="56"/>
                    </a:lnTo>
                    <a:lnTo>
                      <a:pt x="276" y="60"/>
                    </a:lnTo>
                    <a:lnTo>
                      <a:pt x="274" y="64"/>
                    </a:lnTo>
                    <a:lnTo>
                      <a:pt x="268" y="74"/>
                    </a:lnTo>
                    <a:lnTo>
                      <a:pt x="256" y="80"/>
                    </a:lnTo>
                    <a:lnTo>
                      <a:pt x="240" y="88"/>
                    </a:lnTo>
                    <a:lnTo>
                      <a:pt x="220" y="92"/>
                    </a:lnTo>
                    <a:lnTo>
                      <a:pt x="198" y="96"/>
                    </a:lnTo>
                    <a:lnTo>
                      <a:pt x="174" y="100"/>
                    </a:lnTo>
                    <a:lnTo>
                      <a:pt x="148" y="100"/>
                    </a:lnTo>
                    <a:lnTo>
                      <a:pt x="148" y="100"/>
                    </a:lnTo>
                    <a:lnTo>
                      <a:pt x="122" y="100"/>
                    </a:lnTo>
                    <a:lnTo>
                      <a:pt x="98" y="96"/>
                    </a:lnTo>
                    <a:lnTo>
                      <a:pt x="76" y="92"/>
                    </a:lnTo>
                    <a:lnTo>
                      <a:pt x="58" y="88"/>
                    </a:lnTo>
                    <a:lnTo>
                      <a:pt x="42" y="80"/>
                    </a:lnTo>
                    <a:lnTo>
                      <a:pt x="30" y="74"/>
                    </a:lnTo>
                    <a:lnTo>
                      <a:pt x="22" y="64"/>
                    </a:lnTo>
                    <a:lnTo>
                      <a:pt x="20" y="60"/>
                    </a:lnTo>
                    <a:lnTo>
                      <a:pt x="20" y="56"/>
                    </a:lnTo>
                    <a:lnTo>
                      <a:pt x="20" y="56"/>
                    </a:lnTo>
                    <a:lnTo>
                      <a:pt x="20" y="50"/>
                    </a:lnTo>
                    <a:lnTo>
                      <a:pt x="22" y="46"/>
                    </a:lnTo>
                    <a:lnTo>
                      <a:pt x="30" y="38"/>
                    </a:lnTo>
                    <a:lnTo>
                      <a:pt x="42" y="30"/>
                    </a:lnTo>
                    <a:lnTo>
                      <a:pt x="58" y="24"/>
                    </a:lnTo>
                    <a:lnTo>
                      <a:pt x="76" y="18"/>
                    </a:lnTo>
                    <a:lnTo>
                      <a:pt x="98" y="14"/>
                    </a:lnTo>
                    <a:lnTo>
                      <a:pt x="122" y="12"/>
                    </a:lnTo>
                    <a:lnTo>
                      <a:pt x="148" y="10"/>
                    </a:lnTo>
                    <a:lnTo>
                      <a:pt x="148" y="10"/>
                    </a:lnTo>
                    <a:close/>
                    <a:moveTo>
                      <a:pt x="14" y="80"/>
                    </a:moveTo>
                    <a:lnTo>
                      <a:pt x="14" y="80"/>
                    </a:lnTo>
                    <a:lnTo>
                      <a:pt x="24" y="86"/>
                    </a:lnTo>
                    <a:lnTo>
                      <a:pt x="34" y="92"/>
                    </a:lnTo>
                    <a:lnTo>
                      <a:pt x="34" y="122"/>
                    </a:lnTo>
                    <a:lnTo>
                      <a:pt x="34" y="122"/>
                    </a:lnTo>
                    <a:lnTo>
                      <a:pt x="22" y="116"/>
                    </a:lnTo>
                    <a:lnTo>
                      <a:pt x="14" y="110"/>
                    </a:lnTo>
                    <a:lnTo>
                      <a:pt x="1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7" name="Freeform 70">
                <a:extLst>
                  <a:ext uri="{FF2B5EF4-FFF2-40B4-BE49-F238E27FC236}">
                    <a16:creationId xmlns:a16="http://schemas.microsoft.com/office/drawing/2014/main" id="{300A33BF-DAB8-6C5A-F6CF-3E5131A7DCA3}"/>
                  </a:ext>
                </a:extLst>
              </p:cNvPr>
              <p:cNvSpPr>
                <a:spLocks noEditPoints="1"/>
              </p:cNvSpPr>
              <p:nvPr/>
            </p:nvSpPr>
            <p:spPr bwMode="auto">
              <a:xfrm>
                <a:off x="14573250" y="3689350"/>
                <a:ext cx="168275" cy="130175"/>
              </a:xfrm>
              <a:custGeom>
                <a:avLst/>
                <a:gdLst>
                  <a:gd name="T0" fmla="*/ 0 w 106"/>
                  <a:gd name="T1" fmla="*/ 66 h 82"/>
                  <a:gd name="T2" fmla="*/ 18 w 106"/>
                  <a:gd name="T3" fmla="*/ 72 h 82"/>
                  <a:gd name="T4" fmla="*/ 44 w 106"/>
                  <a:gd name="T5" fmla="*/ 80 h 82"/>
                  <a:gd name="T6" fmla="*/ 44 w 106"/>
                  <a:gd name="T7" fmla="*/ 82 h 82"/>
                  <a:gd name="T8" fmla="*/ 60 w 106"/>
                  <a:gd name="T9" fmla="*/ 82 h 82"/>
                  <a:gd name="T10" fmla="*/ 62 w 106"/>
                  <a:gd name="T11" fmla="*/ 82 h 82"/>
                  <a:gd name="T12" fmla="*/ 64 w 106"/>
                  <a:gd name="T13" fmla="*/ 76 h 82"/>
                  <a:gd name="T14" fmla="*/ 80 w 106"/>
                  <a:gd name="T15" fmla="*/ 74 h 82"/>
                  <a:gd name="T16" fmla="*/ 92 w 106"/>
                  <a:gd name="T17" fmla="*/ 70 h 82"/>
                  <a:gd name="T18" fmla="*/ 104 w 106"/>
                  <a:gd name="T19" fmla="*/ 62 h 82"/>
                  <a:gd name="T20" fmla="*/ 104 w 106"/>
                  <a:gd name="T21" fmla="*/ 52 h 82"/>
                  <a:gd name="T22" fmla="*/ 98 w 106"/>
                  <a:gd name="T23" fmla="*/ 48 h 82"/>
                  <a:gd name="T24" fmla="*/ 64 w 106"/>
                  <a:gd name="T25" fmla="*/ 38 h 82"/>
                  <a:gd name="T26" fmla="*/ 64 w 106"/>
                  <a:gd name="T27" fmla="*/ 16 h 82"/>
                  <a:gd name="T28" fmla="*/ 70 w 106"/>
                  <a:gd name="T29" fmla="*/ 16 h 82"/>
                  <a:gd name="T30" fmla="*/ 84 w 106"/>
                  <a:gd name="T31" fmla="*/ 20 h 82"/>
                  <a:gd name="T32" fmla="*/ 86 w 106"/>
                  <a:gd name="T33" fmla="*/ 22 h 82"/>
                  <a:gd name="T34" fmla="*/ 88 w 106"/>
                  <a:gd name="T35" fmla="*/ 22 h 82"/>
                  <a:gd name="T36" fmla="*/ 88 w 106"/>
                  <a:gd name="T37" fmla="*/ 22 h 82"/>
                  <a:gd name="T38" fmla="*/ 88 w 106"/>
                  <a:gd name="T39" fmla="*/ 22 h 82"/>
                  <a:gd name="T40" fmla="*/ 100 w 106"/>
                  <a:gd name="T41" fmla="*/ 22 h 82"/>
                  <a:gd name="T42" fmla="*/ 106 w 106"/>
                  <a:gd name="T43" fmla="*/ 18 h 82"/>
                  <a:gd name="T44" fmla="*/ 106 w 106"/>
                  <a:gd name="T45" fmla="*/ 16 h 82"/>
                  <a:gd name="T46" fmla="*/ 74 w 106"/>
                  <a:gd name="T47" fmla="*/ 8 h 82"/>
                  <a:gd name="T48" fmla="*/ 64 w 106"/>
                  <a:gd name="T49" fmla="*/ 8 h 82"/>
                  <a:gd name="T50" fmla="*/ 64 w 106"/>
                  <a:gd name="T51" fmla="*/ 2 h 82"/>
                  <a:gd name="T52" fmla="*/ 60 w 106"/>
                  <a:gd name="T53" fmla="*/ 0 h 82"/>
                  <a:gd name="T54" fmla="*/ 48 w 106"/>
                  <a:gd name="T55" fmla="*/ 0 h 82"/>
                  <a:gd name="T56" fmla="*/ 44 w 106"/>
                  <a:gd name="T57" fmla="*/ 2 h 82"/>
                  <a:gd name="T58" fmla="*/ 44 w 106"/>
                  <a:gd name="T59" fmla="*/ 8 h 82"/>
                  <a:gd name="T60" fmla="*/ 14 w 106"/>
                  <a:gd name="T61" fmla="*/ 14 h 82"/>
                  <a:gd name="T62" fmla="*/ 6 w 106"/>
                  <a:gd name="T63" fmla="*/ 18 h 82"/>
                  <a:gd name="T64" fmla="*/ 2 w 106"/>
                  <a:gd name="T65" fmla="*/ 28 h 82"/>
                  <a:gd name="T66" fmla="*/ 4 w 106"/>
                  <a:gd name="T67" fmla="*/ 32 h 82"/>
                  <a:gd name="T68" fmla="*/ 20 w 106"/>
                  <a:gd name="T69" fmla="*/ 40 h 82"/>
                  <a:gd name="T70" fmla="*/ 44 w 106"/>
                  <a:gd name="T71" fmla="*/ 44 h 82"/>
                  <a:gd name="T72" fmla="*/ 44 w 106"/>
                  <a:gd name="T73" fmla="*/ 68 h 82"/>
                  <a:gd name="T74" fmla="*/ 36 w 106"/>
                  <a:gd name="T75" fmla="*/ 66 h 82"/>
                  <a:gd name="T76" fmla="*/ 20 w 106"/>
                  <a:gd name="T77" fmla="*/ 62 h 82"/>
                  <a:gd name="T78" fmla="*/ 18 w 106"/>
                  <a:gd name="T79" fmla="*/ 62 h 82"/>
                  <a:gd name="T80" fmla="*/ 18 w 106"/>
                  <a:gd name="T81" fmla="*/ 62 h 82"/>
                  <a:gd name="T82" fmla="*/ 18 w 106"/>
                  <a:gd name="T83" fmla="*/ 62 h 82"/>
                  <a:gd name="T84" fmla="*/ 18 w 106"/>
                  <a:gd name="T85" fmla="*/ 60 h 82"/>
                  <a:gd name="T86" fmla="*/ 4 w 106"/>
                  <a:gd name="T87" fmla="*/ 60 h 82"/>
                  <a:gd name="T88" fmla="*/ 0 w 106"/>
                  <a:gd name="T89" fmla="*/ 64 h 82"/>
                  <a:gd name="T90" fmla="*/ 0 w 106"/>
                  <a:gd name="T91" fmla="*/ 66 h 82"/>
                  <a:gd name="T92" fmla="*/ 64 w 106"/>
                  <a:gd name="T93" fmla="*/ 48 h 82"/>
                  <a:gd name="T94" fmla="*/ 74 w 106"/>
                  <a:gd name="T95" fmla="*/ 50 h 82"/>
                  <a:gd name="T96" fmla="*/ 84 w 106"/>
                  <a:gd name="T97" fmla="*/ 56 h 82"/>
                  <a:gd name="T98" fmla="*/ 86 w 106"/>
                  <a:gd name="T99" fmla="*/ 58 h 82"/>
                  <a:gd name="T100" fmla="*/ 84 w 106"/>
                  <a:gd name="T101" fmla="*/ 64 h 82"/>
                  <a:gd name="T102" fmla="*/ 80 w 106"/>
                  <a:gd name="T103" fmla="*/ 66 h 82"/>
                  <a:gd name="T104" fmla="*/ 64 w 106"/>
                  <a:gd name="T105" fmla="*/ 68 h 82"/>
                  <a:gd name="T106" fmla="*/ 40 w 106"/>
                  <a:gd name="T107" fmla="*/ 34 h 82"/>
                  <a:gd name="T108" fmla="*/ 30 w 106"/>
                  <a:gd name="T109" fmla="*/ 32 h 82"/>
                  <a:gd name="T110" fmla="*/ 24 w 106"/>
                  <a:gd name="T111" fmla="*/ 28 h 82"/>
                  <a:gd name="T112" fmla="*/ 22 w 106"/>
                  <a:gd name="T113" fmla="*/ 24 h 82"/>
                  <a:gd name="T114" fmla="*/ 26 w 106"/>
                  <a:gd name="T115" fmla="*/ 18 h 82"/>
                  <a:gd name="T116" fmla="*/ 34 w 106"/>
                  <a:gd name="T117" fmla="*/ 16 h 82"/>
                  <a:gd name="T118" fmla="*/ 44 w 106"/>
                  <a:gd name="T119" fmla="*/ 34 h 82"/>
                  <a:gd name="T120" fmla="*/ 40 w 106"/>
                  <a:gd name="T121"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82">
                    <a:moveTo>
                      <a:pt x="0" y="66"/>
                    </a:moveTo>
                    <a:lnTo>
                      <a:pt x="0" y="66"/>
                    </a:lnTo>
                    <a:lnTo>
                      <a:pt x="8" y="70"/>
                    </a:lnTo>
                    <a:lnTo>
                      <a:pt x="18" y="72"/>
                    </a:lnTo>
                    <a:lnTo>
                      <a:pt x="44" y="76"/>
                    </a:lnTo>
                    <a:lnTo>
                      <a:pt x="44" y="80"/>
                    </a:lnTo>
                    <a:lnTo>
                      <a:pt x="44" y="80"/>
                    </a:lnTo>
                    <a:lnTo>
                      <a:pt x="44" y="82"/>
                    </a:lnTo>
                    <a:lnTo>
                      <a:pt x="48" y="82"/>
                    </a:lnTo>
                    <a:lnTo>
                      <a:pt x="60" y="82"/>
                    </a:lnTo>
                    <a:lnTo>
                      <a:pt x="60" y="82"/>
                    </a:lnTo>
                    <a:lnTo>
                      <a:pt x="62" y="82"/>
                    </a:lnTo>
                    <a:lnTo>
                      <a:pt x="64" y="80"/>
                    </a:lnTo>
                    <a:lnTo>
                      <a:pt x="64" y="76"/>
                    </a:lnTo>
                    <a:lnTo>
                      <a:pt x="64" y="76"/>
                    </a:lnTo>
                    <a:lnTo>
                      <a:pt x="80" y="74"/>
                    </a:lnTo>
                    <a:lnTo>
                      <a:pt x="92" y="70"/>
                    </a:lnTo>
                    <a:lnTo>
                      <a:pt x="92" y="70"/>
                    </a:lnTo>
                    <a:lnTo>
                      <a:pt x="100" y="66"/>
                    </a:lnTo>
                    <a:lnTo>
                      <a:pt x="104" y="62"/>
                    </a:lnTo>
                    <a:lnTo>
                      <a:pt x="106" y="56"/>
                    </a:lnTo>
                    <a:lnTo>
                      <a:pt x="104" y="52"/>
                    </a:lnTo>
                    <a:lnTo>
                      <a:pt x="104" y="52"/>
                    </a:lnTo>
                    <a:lnTo>
                      <a:pt x="98" y="48"/>
                    </a:lnTo>
                    <a:lnTo>
                      <a:pt x="88" y="44"/>
                    </a:lnTo>
                    <a:lnTo>
                      <a:pt x="64" y="38"/>
                    </a:lnTo>
                    <a:lnTo>
                      <a:pt x="64" y="16"/>
                    </a:lnTo>
                    <a:lnTo>
                      <a:pt x="64" y="16"/>
                    </a:lnTo>
                    <a:lnTo>
                      <a:pt x="70" y="16"/>
                    </a:lnTo>
                    <a:lnTo>
                      <a:pt x="70" y="16"/>
                    </a:lnTo>
                    <a:lnTo>
                      <a:pt x="84" y="20"/>
                    </a:lnTo>
                    <a:lnTo>
                      <a:pt x="84" y="20"/>
                    </a:lnTo>
                    <a:lnTo>
                      <a:pt x="86" y="22"/>
                    </a:lnTo>
                    <a:lnTo>
                      <a:pt x="86" y="22"/>
                    </a:lnTo>
                    <a:lnTo>
                      <a:pt x="88" y="22"/>
                    </a:lnTo>
                    <a:lnTo>
                      <a:pt x="88" y="22"/>
                    </a:lnTo>
                    <a:lnTo>
                      <a:pt x="88" y="22"/>
                    </a:lnTo>
                    <a:lnTo>
                      <a:pt x="88" y="22"/>
                    </a:lnTo>
                    <a:lnTo>
                      <a:pt x="88" y="22"/>
                    </a:lnTo>
                    <a:lnTo>
                      <a:pt x="88" y="22"/>
                    </a:lnTo>
                    <a:lnTo>
                      <a:pt x="94" y="24"/>
                    </a:lnTo>
                    <a:lnTo>
                      <a:pt x="100" y="22"/>
                    </a:lnTo>
                    <a:lnTo>
                      <a:pt x="106" y="20"/>
                    </a:lnTo>
                    <a:lnTo>
                      <a:pt x="106" y="18"/>
                    </a:lnTo>
                    <a:lnTo>
                      <a:pt x="106" y="16"/>
                    </a:lnTo>
                    <a:lnTo>
                      <a:pt x="106" y="16"/>
                    </a:lnTo>
                    <a:lnTo>
                      <a:pt x="92" y="12"/>
                    </a:lnTo>
                    <a:lnTo>
                      <a:pt x="74" y="8"/>
                    </a:lnTo>
                    <a:lnTo>
                      <a:pt x="74" y="8"/>
                    </a:lnTo>
                    <a:lnTo>
                      <a:pt x="64" y="8"/>
                    </a:lnTo>
                    <a:lnTo>
                      <a:pt x="64" y="2"/>
                    </a:lnTo>
                    <a:lnTo>
                      <a:pt x="64" y="2"/>
                    </a:lnTo>
                    <a:lnTo>
                      <a:pt x="62" y="2"/>
                    </a:lnTo>
                    <a:lnTo>
                      <a:pt x="60" y="0"/>
                    </a:lnTo>
                    <a:lnTo>
                      <a:pt x="48" y="0"/>
                    </a:lnTo>
                    <a:lnTo>
                      <a:pt x="48" y="0"/>
                    </a:lnTo>
                    <a:lnTo>
                      <a:pt x="44" y="2"/>
                    </a:lnTo>
                    <a:lnTo>
                      <a:pt x="44" y="2"/>
                    </a:lnTo>
                    <a:lnTo>
                      <a:pt x="44" y="8"/>
                    </a:lnTo>
                    <a:lnTo>
                      <a:pt x="44" y="8"/>
                    </a:lnTo>
                    <a:lnTo>
                      <a:pt x="28" y="10"/>
                    </a:lnTo>
                    <a:lnTo>
                      <a:pt x="14" y="14"/>
                    </a:lnTo>
                    <a:lnTo>
                      <a:pt x="14" y="14"/>
                    </a:lnTo>
                    <a:lnTo>
                      <a:pt x="6" y="18"/>
                    </a:lnTo>
                    <a:lnTo>
                      <a:pt x="2" y="22"/>
                    </a:lnTo>
                    <a:lnTo>
                      <a:pt x="2" y="28"/>
                    </a:lnTo>
                    <a:lnTo>
                      <a:pt x="4" y="32"/>
                    </a:lnTo>
                    <a:lnTo>
                      <a:pt x="4" y="32"/>
                    </a:lnTo>
                    <a:lnTo>
                      <a:pt x="10" y="36"/>
                    </a:lnTo>
                    <a:lnTo>
                      <a:pt x="20" y="40"/>
                    </a:lnTo>
                    <a:lnTo>
                      <a:pt x="20" y="40"/>
                    </a:lnTo>
                    <a:lnTo>
                      <a:pt x="44" y="44"/>
                    </a:lnTo>
                    <a:lnTo>
                      <a:pt x="44" y="68"/>
                    </a:lnTo>
                    <a:lnTo>
                      <a:pt x="44" y="68"/>
                    </a:lnTo>
                    <a:lnTo>
                      <a:pt x="36" y="66"/>
                    </a:lnTo>
                    <a:lnTo>
                      <a:pt x="36" y="66"/>
                    </a:lnTo>
                    <a:lnTo>
                      <a:pt x="20" y="62"/>
                    </a:lnTo>
                    <a:lnTo>
                      <a:pt x="20" y="62"/>
                    </a:lnTo>
                    <a:lnTo>
                      <a:pt x="18" y="62"/>
                    </a:lnTo>
                    <a:lnTo>
                      <a:pt x="18" y="62"/>
                    </a:lnTo>
                    <a:lnTo>
                      <a:pt x="18" y="62"/>
                    </a:lnTo>
                    <a:lnTo>
                      <a:pt x="18" y="62"/>
                    </a:lnTo>
                    <a:lnTo>
                      <a:pt x="18" y="62"/>
                    </a:lnTo>
                    <a:lnTo>
                      <a:pt x="18" y="62"/>
                    </a:lnTo>
                    <a:lnTo>
                      <a:pt x="18" y="60"/>
                    </a:lnTo>
                    <a:lnTo>
                      <a:pt x="18" y="60"/>
                    </a:lnTo>
                    <a:lnTo>
                      <a:pt x="12" y="60"/>
                    </a:lnTo>
                    <a:lnTo>
                      <a:pt x="4" y="60"/>
                    </a:lnTo>
                    <a:lnTo>
                      <a:pt x="0" y="64"/>
                    </a:lnTo>
                    <a:lnTo>
                      <a:pt x="0" y="64"/>
                    </a:lnTo>
                    <a:lnTo>
                      <a:pt x="0" y="66"/>
                    </a:lnTo>
                    <a:lnTo>
                      <a:pt x="0" y="66"/>
                    </a:lnTo>
                    <a:close/>
                    <a:moveTo>
                      <a:pt x="64" y="48"/>
                    </a:moveTo>
                    <a:lnTo>
                      <a:pt x="64" y="48"/>
                    </a:lnTo>
                    <a:lnTo>
                      <a:pt x="74" y="50"/>
                    </a:lnTo>
                    <a:lnTo>
                      <a:pt x="74" y="50"/>
                    </a:lnTo>
                    <a:lnTo>
                      <a:pt x="80" y="52"/>
                    </a:lnTo>
                    <a:lnTo>
                      <a:pt x="84" y="56"/>
                    </a:lnTo>
                    <a:lnTo>
                      <a:pt x="84" y="56"/>
                    </a:lnTo>
                    <a:lnTo>
                      <a:pt x="86" y="58"/>
                    </a:lnTo>
                    <a:lnTo>
                      <a:pt x="86" y="60"/>
                    </a:lnTo>
                    <a:lnTo>
                      <a:pt x="84" y="64"/>
                    </a:lnTo>
                    <a:lnTo>
                      <a:pt x="80" y="66"/>
                    </a:lnTo>
                    <a:lnTo>
                      <a:pt x="80" y="66"/>
                    </a:lnTo>
                    <a:lnTo>
                      <a:pt x="72" y="68"/>
                    </a:lnTo>
                    <a:lnTo>
                      <a:pt x="64" y="68"/>
                    </a:lnTo>
                    <a:lnTo>
                      <a:pt x="64" y="48"/>
                    </a:lnTo>
                    <a:close/>
                    <a:moveTo>
                      <a:pt x="40" y="34"/>
                    </a:moveTo>
                    <a:lnTo>
                      <a:pt x="40" y="34"/>
                    </a:lnTo>
                    <a:lnTo>
                      <a:pt x="30" y="32"/>
                    </a:lnTo>
                    <a:lnTo>
                      <a:pt x="24" y="28"/>
                    </a:lnTo>
                    <a:lnTo>
                      <a:pt x="24" y="28"/>
                    </a:lnTo>
                    <a:lnTo>
                      <a:pt x="22" y="26"/>
                    </a:lnTo>
                    <a:lnTo>
                      <a:pt x="22" y="24"/>
                    </a:lnTo>
                    <a:lnTo>
                      <a:pt x="22" y="20"/>
                    </a:lnTo>
                    <a:lnTo>
                      <a:pt x="26" y="18"/>
                    </a:lnTo>
                    <a:lnTo>
                      <a:pt x="26" y="18"/>
                    </a:lnTo>
                    <a:lnTo>
                      <a:pt x="34" y="16"/>
                    </a:lnTo>
                    <a:lnTo>
                      <a:pt x="44" y="16"/>
                    </a:lnTo>
                    <a:lnTo>
                      <a:pt x="44" y="34"/>
                    </a:lnTo>
                    <a:lnTo>
                      <a:pt x="44" y="34"/>
                    </a:lnTo>
                    <a:lnTo>
                      <a:pt x="40" y="34"/>
                    </a:lnTo>
                    <a:lnTo>
                      <a:pt x="4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8" name="Freeform 71">
                <a:extLst>
                  <a:ext uri="{FF2B5EF4-FFF2-40B4-BE49-F238E27FC236}">
                    <a16:creationId xmlns:a16="http://schemas.microsoft.com/office/drawing/2014/main" id="{EF9D7D54-9628-652B-074F-7EA8322586F8}"/>
                  </a:ext>
                </a:extLst>
              </p:cNvPr>
              <p:cNvSpPr>
                <a:spLocks noEditPoints="1"/>
              </p:cNvSpPr>
              <p:nvPr/>
            </p:nvSpPr>
            <p:spPr bwMode="auto">
              <a:xfrm>
                <a:off x="14411325" y="3844925"/>
                <a:ext cx="473075" cy="155575"/>
              </a:xfrm>
              <a:custGeom>
                <a:avLst/>
                <a:gdLst>
                  <a:gd name="T0" fmla="*/ 0 w 298"/>
                  <a:gd name="T1" fmla="*/ 42 h 98"/>
                  <a:gd name="T2" fmla="*/ 0 w 298"/>
                  <a:gd name="T3" fmla="*/ 48 h 98"/>
                  <a:gd name="T4" fmla="*/ 10 w 298"/>
                  <a:gd name="T5" fmla="*/ 62 h 98"/>
                  <a:gd name="T6" fmla="*/ 38 w 298"/>
                  <a:gd name="T7" fmla="*/ 80 h 98"/>
                  <a:gd name="T8" fmla="*/ 52 w 298"/>
                  <a:gd name="T9" fmla="*/ 66 h 98"/>
                  <a:gd name="T10" fmla="*/ 54 w 298"/>
                  <a:gd name="T11" fmla="*/ 48 h 98"/>
                  <a:gd name="T12" fmla="*/ 74 w 298"/>
                  <a:gd name="T13" fmla="*/ 54 h 98"/>
                  <a:gd name="T14" fmla="*/ 84 w 298"/>
                  <a:gd name="T15" fmla="*/ 52 h 98"/>
                  <a:gd name="T16" fmla="*/ 96 w 298"/>
                  <a:gd name="T17" fmla="*/ 54 h 98"/>
                  <a:gd name="T18" fmla="*/ 108 w 298"/>
                  <a:gd name="T19" fmla="*/ 60 h 98"/>
                  <a:gd name="T20" fmla="*/ 116 w 298"/>
                  <a:gd name="T21" fmla="*/ 66 h 98"/>
                  <a:gd name="T22" fmla="*/ 136 w 298"/>
                  <a:gd name="T23" fmla="*/ 62 h 98"/>
                  <a:gd name="T24" fmla="*/ 148 w 298"/>
                  <a:gd name="T25" fmla="*/ 62 h 98"/>
                  <a:gd name="T26" fmla="*/ 156 w 298"/>
                  <a:gd name="T27" fmla="*/ 62 h 98"/>
                  <a:gd name="T28" fmla="*/ 156 w 298"/>
                  <a:gd name="T29" fmla="*/ 90 h 98"/>
                  <a:gd name="T30" fmla="*/ 148 w 298"/>
                  <a:gd name="T31" fmla="*/ 90 h 98"/>
                  <a:gd name="T32" fmla="*/ 154 w 298"/>
                  <a:gd name="T33" fmla="*/ 98 h 98"/>
                  <a:gd name="T34" fmla="*/ 184 w 298"/>
                  <a:gd name="T35" fmla="*/ 98 h 98"/>
                  <a:gd name="T36" fmla="*/ 234 w 298"/>
                  <a:gd name="T37" fmla="*/ 88 h 98"/>
                  <a:gd name="T38" fmla="*/ 272 w 298"/>
                  <a:gd name="T39" fmla="*/ 74 h 98"/>
                  <a:gd name="T40" fmla="*/ 294 w 298"/>
                  <a:gd name="T41" fmla="*/ 56 h 98"/>
                  <a:gd name="T42" fmla="*/ 296 w 298"/>
                  <a:gd name="T43" fmla="*/ 44 h 98"/>
                  <a:gd name="T44" fmla="*/ 298 w 298"/>
                  <a:gd name="T45" fmla="*/ 42 h 98"/>
                  <a:gd name="T46" fmla="*/ 298 w 298"/>
                  <a:gd name="T47" fmla="*/ 16 h 98"/>
                  <a:gd name="T48" fmla="*/ 286 w 298"/>
                  <a:gd name="T49" fmla="*/ 24 h 98"/>
                  <a:gd name="T50" fmla="*/ 254 w 298"/>
                  <a:gd name="T51" fmla="*/ 36 h 98"/>
                  <a:gd name="T52" fmla="*/ 218 w 298"/>
                  <a:gd name="T53" fmla="*/ 46 h 98"/>
                  <a:gd name="T54" fmla="*/ 154 w 298"/>
                  <a:gd name="T55" fmla="*/ 50 h 98"/>
                  <a:gd name="T56" fmla="*/ 130 w 298"/>
                  <a:gd name="T57" fmla="*/ 50 h 98"/>
                  <a:gd name="T58" fmla="*/ 82 w 298"/>
                  <a:gd name="T59" fmla="*/ 44 h 98"/>
                  <a:gd name="T60" fmla="*/ 40 w 298"/>
                  <a:gd name="T61" fmla="*/ 30 h 98"/>
                  <a:gd name="T62" fmla="*/ 8 w 298"/>
                  <a:gd name="T63" fmla="*/ 12 h 98"/>
                  <a:gd name="T64" fmla="*/ 0 w 298"/>
                  <a:gd name="T65" fmla="*/ 0 h 98"/>
                  <a:gd name="T66" fmla="*/ 0 w 298"/>
                  <a:gd name="T67" fmla="*/ 4 h 98"/>
                  <a:gd name="T68" fmla="*/ 0 w 298"/>
                  <a:gd name="T69" fmla="*/ 42 h 98"/>
                  <a:gd name="T70" fmla="*/ 264 w 298"/>
                  <a:gd name="T71" fmla="*/ 44 h 98"/>
                  <a:gd name="T72" fmla="*/ 280 w 298"/>
                  <a:gd name="T73" fmla="*/ 38 h 98"/>
                  <a:gd name="T74" fmla="*/ 280 w 298"/>
                  <a:gd name="T75" fmla="*/ 60 h 98"/>
                  <a:gd name="T76" fmla="*/ 264 w 298"/>
                  <a:gd name="T77" fmla="*/ 70 h 98"/>
                  <a:gd name="T78" fmla="*/ 14 w 298"/>
                  <a:gd name="T79" fmla="*/ 28 h 98"/>
                  <a:gd name="T80" fmla="*/ 22 w 298"/>
                  <a:gd name="T81" fmla="*/ 34 h 98"/>
                  <a:gd name="T82" fmla="*/ 34 w 298"/>
                  <a:gd name="T83" fmla="*/ 70 h 98"/>
                  <a:gd name="T84" fmla="*/ 22 w 298"/>
                  <a:gd name="T85" fmla="*/ 64 h 98"/>
                  <a:gd name="T86" fmla="*/ 14 w 298"/>
                  <a:gd name="T87"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98">
                    <a:moveTo>
                      <a:pt x="0" y="42"/>
                    </a:moveTo>
                    <a:lnTo>
                      <a:pt x="0" y="42"/>
                    </a:lnTo>
                    <a:lnTo>
                      <a:pt x="0" y="42"/>
                    </a:lnTo>
                    <a:lnTo>
                      <a:pt x="0" y="48"/>
                    </a:lnTo>
                    <a:lnTo>
                      <a:pt x="2" y="54"/>
                    </a:lnTo>
                    <a:lnTo>
                      <a:pt x="10" y="62"/>
                    </a:lnTo>
                    <a:lnTo>
                      <a:pt x="22" y="72"/>
                    </a:lnTo>
                    <a:lnTo>
                      <a:pt x="38" y="80"/>
                    </a:lnTo>
                    <a:lnTo>
                      <a:pt x="52" y="66"/>
                    </a:lnTo>
                    <a:lnTo>
                      <a:pt x="52" y="66"/>
                    </a:lnTo>
                    <a:lnTo>
                      <a:pt x="54" y="64"/>
                    </a:lnTo>
                    <a:lnTo>
                      <a:pt x="54" y="48"/>
                    </a:lnTo>
                    <a:lnTo>
                      <a:pt x="54" y="48"/>
                    </a:lnTo>
                    <a:lnTo>
                      <a:pt x="74" y="54"/>
                    </a:lnTo>
                    <a:lnTo>
                      <a:pt x="74" y="54"/>
                    </a:lnTo>
                    <a:lnTo>
                      <a:pt x="84" y="52"/>
                    </a:lnTo>
                    <a:lnTo>
                      <a:pt x="84" y="52"/>
                    </a:lnTo>
                    <a:lnTo>
                      <a:pt x="96" y="54"/>
                    </a:lnTo>
                    <a:lnTo>
                      <a:pt x="108" y="60"/>
                    </a:lnTo>
                    <a:lnTo>
                      <a:pt x="108" y="60"/>
                    </a:lnTo>
                    <a:lnTo>
                      <a:pt x="116" y="60"/>
                    </a:lnTo>
                    <a:lnTo>
                      <a:pt x="116" y="66"/>
                    </a:lnTo>
                    <a:lnTo>
                      <a:pt x="136" y="82"/>
                    </a:lnTo>
                    <a:lnTo>
                      <a:pt x="136" y="62"/>
                    </a:lnTo>
                    <a:lnTo>
                      <a:pt x="136" y="62"/>
                    </a:lnTo>
                    <a:lnTo>
                      <a:pt x="148" y="62"/>
                    </a:lnTo>
                    <a:lnTo>
                      <a:pt x="148" y="62"/>
                    </a:lnTo>
                    <a:lnTo>
                      <a:pt x="156" y="62"/>
                    </a:lnTo>
                    <a:lnTo>
                      <a:pt x="156" y="90"/>
                    </a:lnTo>
                    <a:lnTo>
                      <a:pt x="156" y="90"/>
                    </a:lnTo>
                    <a:lnTo>
                      <a:pt x="148" y="90"/>
                    </a:lnTo>
                    <a:lnTo>
                      <a:pt x="148" y="90"/>
                    </a:lnTo>
                    <a:lnTo>
                      <a:pt x="146" y="90"/>
                    </a:lnTo>
                    <a:lnTo>
                      <a:pt x="154" y="98"/>
                    </a:lnTo>
                    <a:lnTo>
                      <a:pt x="154" y="98"/>
                    </a:lnTo>
                    <a:lnTo>
                      <a:pt x="184" y="98"/>
                    </a:lnTo>
                    <a:lnTo>
                      <a:pt x="210" y="94"/>
                    </a:lnTo>
                    <a:lnTo>
                      <a:pt x="234" y="88"/>
                    </a:lnTo>
                    <a:lnTo>
                      <a:pt x="254" y="82"/>
                    </a:lnTo>
                    <a:lnTo>
                      <a:pt x="272" y="74"/>
                    </a:lnTo>
                    <a:lnTo>
                      <a:pt x="284" y="66"/>
                    </a:lnTo>
                    <a:lnTo>
                      <a:pt x="294" y="56"/>
                    </a:lnTo>
                    <a:lnTo>
                      <a:pt x="296" y="50"/>
                    </a:lnTo>
                    <a:lnTo>
                      <a:pt x="296" y="44"/>
                    </a:lnTo>
                    <a:lnTo>
                      <a:pt x="296" y="44"/>
                    </a:lnTo>
                    <a:lnTo>
                      <a:pt x="298" y="42"/>
                    </a:lnTo>
                    <a:lnTo>
                      <a:pt x="298" y="42"/>
                    </a:lnTo>
                    <a:lnTo>
                      <a:pt x="298" y="16"/>
                    </a:lnTo>
                    <a:lnTo>
                      <a:pt x="298" y="16"/>
                    </a:lnTo>
                    <a:lnTo>
                      <a:pt x="286" y="24"/>
                    </a:lnTo>
                    <a:lnTo>
                      <a:pt x="270" y="30"/>
                    </a:lnTo>
                    <a:lnTo>
                      <a:pt x="254" y="36"/>
                    </a:lnTo>
                    <a:lnTo>
                      <a:pt x="236" y="42"/>
                    </a:lnTo>
                    <a:lnTo>
                      <a:pt x="218" y="46"/>
                    </a:lnTo>
                    <a:lnTo>
                      <a:pt x="196" y="48"/>
                    </a:lnTo>
                    <a:lnTo>
                      <a:pt x="154" y="50"/>
                    </a:lnTo>
                    <a:lnTo>
                      <a:pt x="154" y="50"/>
                    </a:lnTo>
                    <a:lnTo>
                      <a:pt x="130" y="50"/>
                    </a:lnTo>
                    <a:lnTo>
                      <a:pt x="106" y="48"/>
                    </a:lnTo>
                    <a:lnTo>
                      <a:pt x="82" y="44"/>
                    </a:lnTo>
                    <a:lnTo>
                      <a:pt x="60" y="38"/>
                    </a:lnTo>
                    <a:lnTo>
                      <a:pt x="40" y="30"/>
                    </a:lnTo>
                    <a:lnTo>
                      <a:pt x="22" y="22"/>
                    </a:lnTo>
                    <a:lnTo>
                      <a:pt x="8" y="12"/>
                    </a:lnTo>
                    <a:lnTo>
                      <a:pt x="0" y="0"/>
                    </a:lnTo>
                    <a:lnTo>
                      <a:pt x="0" y="0"/>
                    </a:lnTo>
                    <a:lnTo>
                      <a:pt x="0" y="4"/>
                    </a:lnTo>
                    <a:lnTo>
                      <a:pt x="0" y="4"/>
                    </a:lnTo>
                    <a:lnTo>
                      <a:pt x="0" y="6"/>
                    </a:lnTo>
                    <a:lnTo>
                      <a:pt x="0" y="42"/>
                    </a:lnTo>
                    <a:close/>
                    <a:moveTo>
                      <a:pt x="264" y="44"/>
                    </a:moveTo>
                    <a:lnTo>
                      <a:pt x="264" y="44"/>
                    </a:lnTo>
                    <a:lnTo>
                      <a:pt x="272" y="42"/>
                    </a:lnTo>
                    <a:lnTo>
                      <a:pt x="280" y="38"/>
                    </a:lnTo>
                    <a:lnTo>
                      <a:pt x="280" y="60"/>
                    </a:lnTo>
                    <a:lnTo>
                      <a:pt x="280" y="60"/>
                    </a:lnTo>
                    <a:lnTo>
                      <a:pt x="272" y="66"/>
                    </a:lnTo>
                    <a:lnTo>
                      <a:pt x="264" y="70"/>
                    </a:lnTo>
                    <a:lnTo>
                      <a:pt x="264" y="44"/>
                    </a:lnTo>
                    <a:close/>
                    <a:moveTo>
                      <a:pt x="14" y="28"/>
                    </a:moveTo>
                    <a:lnTo>
                      <a:pt x="14" y="28"/>
                    </a:lnTo>
                    <a:lnTo>
                      <a:pt x="22" y="34"/>
                    </a:lnTo>
                    <a:lnTo>
                      <a:pt x="34" y="40"/>
                    </a:lnTo>
                    <a:lnTo>
                      <a:pt x="34" y="70"/>
                    </a:lnTo>
                    <a:lnTo>
                      <a:pt x="34" y="70"/>
                    </a:lnTo>
                    <a:lnTo>
                      <a:pt x="22" y="64"/>
                    </a:lnTo>
                    <a:lnTo>
                      <a:pt x="14" y="58"/>
                    </a:lnTo>
                    <a:lnTo>
                      <a:pt x="1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9" name="Freeform 72">
                <a:extLst>
                  <a:ext uri="{FF2B5EF4-FFF2-40B4-BE49-F238E27FC236}">
                    <a16:creationId xmlns:a16="http://schemas.microsoft.com/office/drawing/2014/main" id="{A41BB77C-FE00-7959-97E2-921656A4FCB1}"/>
                  </a:ext>
                </a:extLst>
              </p:cNvPr>
              <p:cNvSpPr>
                <a:spLocks/>
              </p:cNvSpPr>
              <p:nvPr/>
            </p:nvSpPr>
            <p:spPr bwMode="auto">
              <a:xfrm>
                <a:off x="14173200" y="3956050"/>
                <a:ext cx="593725" cy="425450"/>
              </a:xfrm>
              <a:custGeom>
                <a:avLst/>
                <a:gdLst>
                  <a:gd name="T0" fmla="*/ 366 w 374"/>
                  <a:gd name="T1" fmla="*/ 180 h 268"/>
                  <a:gd name="T2" fmla="*/ 366 w 374"/>
                  <a:gd name="T3" fmla="*/ 174 h 268"/>
                  <a:gd name="T4" fmla="*/ 366 w 374"/>
                  <a:gd name="T5" fmla="*/ 174 h 268"/>
                  <a:gd name="T6" fmla="*/ 366 w 374"/>
                  <a:gd name="T7" fmla="*/ 172 h 268"/>
                  <a:gd name="T8" fmla="*/ 366 w 374"/>
                  <a:gd name="T9" fmla="*/ 172 h 268"/>
                  <a:gd name="T10" fmla="*/ 366 w 374"/>
                  <a:gd name="T11" fmla="*/ 166 h 268"/>
                  <a:gd name="T12" fmla="*/ 366 w 374"/>
                  <a:gd name="T13" fmla="*/ 166 h 268"/>
                  <a:gd name="T14" fmla="*/ 370 w 374"/>
                  <a:gd name="T15" fmla="*/ 162 h 268"/>
                  <a:gd name="T16" fmla="*/ 374 w 374"/>
                  <a:gd name="T17" fmla="*/ 158 h 268"/>
                  <a:gd name="T18" fmla="*/ 374 w 374"/>
                  <a:gd name="T19" fmla="*/ 158 h 268"/>
                  <a:gd name="T20" fmla="*/ 372 w 374"/>
                  <a:gd name="T21" fmla="*/ 154 h 268"/>
                  <a:gd name="T22" fmla="*/ 372 w 374"/>
                  <a:gd name="T23" fmla="*/ 154 h 268"/>
                  <a:gd name="T24" fmla="*/ 372 w 374"/>
                  <a:gd name="T25" fmla="*/ 152 h 268"/>
                  <a:gd name="T26" fmla="*/ 372 w 374"/>
                  <a:gd name="T27" fmla="*/ 114 h 268"/>
                  <a:gd name="T28" fmla="*/ 372 w 374"/>
                  <a:gd name="T29" fmla="*/ 114 h 268"/>
                  <a:gd name="T30" fmla="*/ 372 w 374"/>
                  <a:gd name="T31" fmla="*/ 114 h 268"/>
                  <a:gd name="T32" fmla="*/ 372 w 374"/>
                  <a:gd name="T33" fmla="*/ 114 h 268"/>
                  <a:gd name="T34" fmla="*/ 374 w 374"/>
                  <a:gd name="T35" fmla="*/ 110 h 268"/>
                  <a:gd name="T36" fmla="*/ 252 w 374"/>
                  <a:gd name="T37" fmla="*/ 6 h 268"/>
                  <a:gd name="T38" fmla="*/ 252 w 374"/>
                  <a:gd name="T39" fmla="*/ 6 h 268"/>
                  <a:gd name="T40" fmla="*/ 242 w 374"/>
                  <a:gd name="T41" fmla="*/ 2 h 268"/>
                  <a:gd name="T42" fmla="*/ 232 w 374"/>
                  <a:gd name="T43" fmla="*/ 0 h 268"/>
                  <a:gd name="T44" fmla="*/ 222 w 374"/>
                  <a:gd name="T45" fmla="*/ 2 h 268"/>
                  <a:gd name="T46" fmla="*/ 214 w 374"/>
                  <a:gd name="T47" fmla="*/ 8 h 268"/>
                  <a:gd name="T48" fmla="*/ 8 w 374"/>
                  <a:gd name="T49" fmla="*/ 218 h 268"/>
                  <a:gd name="T50" fmla="*/ 8 w 374"/>
                  <a:gd name="T51" fmla="*/ 218 h 268"/>
                  <a:gd name="T52" fmla="*/ 2 w 374"/>
                  <a:gd name="T53" fmla="*/ 228 h 268"/>
                  <a:gd name="T54" fmla="*/ 0 w 374"/>
                  <a:gd name="T55" fmla="*/ 240 h 268"/>
                  <a:gd name="T56" fmla="*/ 2 w 374"/>
                  <a:gd name="T57" fmla="*/ 250 h 268"/>
                  <a:gd name="T58" fmla="*/ 8 w 374"/>
                  <a:gd name="T59" fmla="*/ 260 h 268"/>
                  <a:gd name="T60" fmla="*/ 8 w 374"/>
                  <a:gd name="T61" fmla="*/ 260 h 268"/>
                  <a:gd name="T62" fmla="*/ 12 w 374"/>
                  <a:gd name="T63" fmla="*/ 264 h 268"/>
                  <a:gd name="T64" fmla="*/ 18 w 374"/>
                  <a:gd name="T65" fmla="*/ 266 h 268"/>
                  <a:gd name="T66" fmla="*/ 28 w 374"/>
                  <a:gd name="T67" fmla="*/ 268 h 268"/>
                  <a:gd name="T68" fmla="*/ 40 w 374"/>
                  <a:gd name="T69" fmla="*/ 266 h 268"/>
                  <a:gd name="T70" fmla="*/ 44 w 374"/>
                  <a:gd name="T71" fmla="*/ 264 h 268"/>
                  <a:gd name="T72" fmla="*/ 48 w 374"/>
                  <a:gd name="T73" fmla="*/ 260 h 268"/>
                  <a:gd name="T74" fmla="*/ 236 w 374"/>
                  <a:gd name="T75" fmla="*/ 70 h 268"/>
                  <a:gd name="T76" fmla="*/ 366 w 374"/>
                  <a:gd name="T77" fmla="*/ 18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 h="268">
                    <a:moveTo>
                      <a:pt x="366" y="180"/>
                    </a:moveTo>
                    <a:lnTo>
                      <a:pt x="366" y="174"/>
                    </a:lnTo>
                    <a:lnTo>
                      <a:pt x="366" y="174"/>
                    </a:lnTo>
                    <a:lnTo>
                      <a:pt x="366" y="172"/>
                    </a:lnTo>
                    <a:lnTo>
                      <a:pt x="366" y="172"/>
                    </a:lnTo>
                    <a:lnTo>
                      <a:pt x="366" y="166"/>
                    </a:lnTo>
                    <a:lnTo>
                      <a:pt x="366" y="166"/>
                    </a:lnTo>
                    <a:lnTo>
                      <a:pt x="370" y="162"/>
                    </a:lnTo>
                    <a:lnTo>
                      <a:pt x="374" y="158"/>
                    </a:lnTo>
                    <a:lnTo>
                      <a:pt x="374" y="158"/>
                    </a:lnTo>
                    <a:lnTo>
                      <a:pt x="372" y="154"/>
                    </a:lnTo>
                    <a:lnTo>
                      <a:pt x="372" y="154"/>
                    </a:lnTo>
                    <a:lnTo>
                      <a:pt x="372" y="152"/>
                    </a:lnTo>
                    <a:lnTo>
                      <a:pt x="372" y="114"/>
                    </a:lnTo>
                    <a:lnTo>
                      <a:pt x="372" y="114"/>
                    </a:lnTo>
                    <a:lnTo>
                      <a:pt x="372" y="114"/>
                    </a:lnTo>
                    <a:lnTo>
                      <a:pt x="372" y="114"/>
                    </a:lnTo>
                    <a:lnTo>
                      <a:pt x="374" y="110"/>
                    </a:lnTo>
                    <a:lnTo>
                      <a:pt x="252" y="6"/>
                    </a:lnTo>
                    <a:lnTo>
                      <a:pt x="252" y="6"/>
                    </a:lnTo>
                    <a:lnTo>
                      <a:pt x="242" y="2"/>
                    </a:lnTo>
                    <a:lnTo>
                      <a:pt x="232" y="0"/>
                    </a:lnTo>
                    <a:lnTo>
                      <a:pt x="222" y="2"/>
                    </a:lnTo>
                    <a:lnTo>
                      <a:pt x="214" y="8"/>
                    </a:lnTo>
                    <a:lnTo>
                      <a:pt x="8" y="218"/>
                    </a:lnTo>
                    <a:lnTo>
                      <a:pt x="8" y="218"/>
                    </a:lnTo>
                    <a:lnTo>
                      <a:pt x="2" y="228"/>
                    </a:lnTo>
                    <a:lnTo>
                      <a:pt x="0" y="240"/>
                    </a:lnTo>
                    <a:lnTo>
                      <a:pt x="2" y="250"/>
                    </a:lnTo>
                    <a:lnTo>
                      <a:pt x="8" y="260"/>
                    </a:lnTo>
                    <a:lnTo>
                      <a:pt x="8" y="260"/>
                    </a:lnTo>
                    <a:lnTo>
                      <a:pt x="12" y="264"/>
                    </a:lnTo>
                    <a:lnTo>
                      <a:pt x="18" y="266"/>
                    </a:lnTo>
                    <a:lnTo>
                      <a:pt x="28" y="268"/>
                    </a:lnTo>
                    <a:lnTo>
                      <a:pt x="40" y="266"/>
                    </a:lnTo>
                    <a:lnTo>
                      <a:pt x="44" y="264"/>
                    </a:lnTo>
                    <a:lnTo>
                      <a:pt x="48" y="260"/>
                    </a:lnTo>
                    <a:lnTo>
                      <a:pt x="236" y="70"/>
                    </a:lnTo>
                    <a:lnTo>
                      <a:pt x="36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0" name="Freeform 73">
                <a:extLst>
                  <a:ext uri="{FF2B5EF4-FFF2-40B4-BE49-F238E27FC236}">
                    <a16:creationId xmlns:a16="http://schemas.microsoft.com/office/drawing/2014/main" id="{0F94F326-94D1-0E53-27BC-C8B962561E30}"/>
                  </a:ext>
                </a:extLst>
              </p:cNvPr>
              <p:cNvSpPr>
                <a:spLocks/>
              </p:cNvSpPr>
              <p:nvPr/>
            </p:nvSpPr>
            <p:spPr bwMode="auto">
              <a:xfrm>
                <a:off x="14979650" y="3673475"/>
                <a:ext cx="387350" cy="355600"/>
              </a:xfrm>
              <a:custGeom>
                <a:avLst/>
                <a:gdLst>
                  <a:gd name="T0" fmla="*/ 236 w 244"/>
                  <a:gd name="T1" fmla="*/ 6 h 224"/>
                  <a:gd name="T2" fmla="*/ 236 w 244"/>
                  <a:gd name="T3" fmla="*/ 6 h 224"/>
                  <a:gd name="T4" fmla="*/ 232 w 244"/>
                  <a:gd name="T5" fmla="*/ 2 h 224"/>
                  <a:gd name="T6" fmla="*/ 226 w 244"/>
                  <a:gd name="T7" fmla="*/ 0 h 224"/>
                  <a:gd name="T8" fmla="*/ 222 w 244"/>
                  <a:gd name="T9" fmla="*/ 0 h 224"/>
                  <a:gd name="T10" fmla="*/ 216 w 244"/>
                  <a:gd name="T11" fmla="*/ 0 h 224"/>
                  <a:gd name="T12" fmla="*/ 58 w 244"/>
                  <a:gd name="T13" fmla="*/ 30 h 224"/>
                  <a:gd name="T14" fmla="*/ 58 w 244"/>
                  <a:gd name="T15" fmla="*/ 30 h 224"/>
                  <a:gd name="T16" fmla="*/ 50 w 244"/>
                  <a:gd name="T17" fmla="*/ 34 h 224"/>
                  <a:gd name="T18" fmla="*/ 44 w 244"/>
                  <a:gd name="T19" fmla="*/ 40 h 224"/>
                  <a:gd name="T20" fmla="*/ 40 w 244"/>
                  <a:gd name="T21" fmla="*/ 48 h 224"/>
                  <a:gd name="T22" fmla="*/ 40 w 244"/>
                  <a:gd name="T23" fmla="*/ 58 h 224"/>
                  <a:gd name="T24" fmla="*/ 40 w 244"/>
                  <a:gd name="T25" fmla="*/ 58 h 224"/>
                  <a:gd name="T26" fmla="*/ 44 w 244"/>
                  <a:gd name="T27" fmla="*/ 66 h 224"/>
                  <a:gd name="T28" fmla="*/ 50 w 244"/>
                  <a:gd name="T29" fmla="*/ 72 h 224"/>
                  <a:gd name="T30" fmla="*/ 58 w 244"/>
                  <a:gd name="T31" fmla="*/ 76 h 224"/>
                  <a:gd name="T32" fmla="*/ 68 w 244"/>
                  <a:gd name="T33" fmla="*/ 76 h 224"/>
                  <a:gd name="T34" fmla="*/ 136 w 244"/>
                  <a:gd name="T35" fmla="*/ 64 h 224"/>
                  <a:gd name="T36" fmla="*/ 140 w 244"/>
                  <a:gd name="T37" fmla="*/ 66 h 224"/>
                  <a:gd name="T38" fmla="*/ 0 w 244"/>
                  <a:gd name="T39" fmla="*/ 222 h 224"/>
                  <a:gd name="T40" fmla="*/ 0 w 244"/>
                  <a:gd name="T41" fmla="*/ 222 h 224"/>
                  <a:gd name="T42" fmla="*/ 26 w 244"/>
                  <a:gd name="T43" fmla="*/ 222 h 224"/>
                  <a:gd name="T44" fmla="*/ 26 w 244"/>
                  <a:gd name="T45" fmla="*/ 222 h 224"/>
                  <a:gd name="T46" fmla="*/ 52 w 244"/>
                  <a:gd name="T47" fmla="*/ 222 h 224"/>
                  <a:gd name="T48" fmla="*/ 76 w 244"/>
                  <a:gd name="T49" fmla="*/ 224 h 224"/>
                  <a:gd name="T50" fmla="*/ 184 w 244"/>
                  <a:gd name="T51" fmla="*/ 104 h 224"/>
                  <a:gd name="T52" fmla="*/ 186 w 244"/>
                  <a:gd name="T53" fmla="*/ 104 h 224"/>
                  <a:gd name="T54" fmla="*/ 176 w 244"/>
                  <a:gd name="T55" fmla="*/ 184 h 224"/>
                  <a:gd name="T56" fmla="*/ 176 w 244"/>
                  <a:gd name="T57" fmla="*/ 184 h 224"/>
                  <a:gd name="T58" fmla="*/ 176 w 244"/>
                  <a:gd name="T59" fmla="*/ 192 h 224"/>
                  <a:gd name="T60" fmla="*/ 180 w 244"/>
                  <a:gd name="T61" fmla="*/ 202 h 224"/>
                  <a:gd name="T62" fmla="*/ 188 w 244"/>
                  <a:gd name="T63" fmla="*/ 208 h 224"/>
                  <a:gd name="T64" fmla="*/ 196 w 244"/>
                  <a:gd name="T65" fmla="*/ 210 h 224"/>
                  <a:gd name="T66" fmla="*/ 196 w 244"/>
                  <a:gd name="T67" fmla="*/ 210 h 224"/>
                  <a:gd name="T68" fmla="*/ 206 w 244"/>
                  <a:gd name="T69" fmla="*/ 210 h 224"/>
                  <a:gd name="T70" fmla="*/ 214 w 244"/>
                  <a:gd name="T71" fmla="*/ 206 h 224"/>
                  <a:gd name="T72" fmla="*/ 220 w 244"/>
                  <a:gd name="T73" fmla="*/ 198 h 224"/>
                  <a:gd name="T74" fmla="*/ 222 w 244"/>
                  <a:gd name="T75" fmla="*/ 190 h 224"/>
                  <a:gd name="T76" fmla="*/ 244 w 244"/>
                  <a:gd name="T77" fmla="*/ 26 h 224"/>
                  <a:gd name="T78" fmla="*/ 244 w 244"/>
                  <a:gd name="T79" fmla="*/ 26 h 224"/>
                  <a:gd name="T80" fmla="*/ 244 w 244"/>
                  <a:gd name="T81" fmla="*/ 22 h 224"/>
                  <a:gd name="T82" fmla="*/ 242 w 244"/>
                  <a:gd name="T83" fmla="*/ 16 h 224"/>
                  <a:gd name="T84" fmla="*/ 240 w 244"/>
                  <a:gd name="T85" fmla="*/ 10 h 224"/>
                  <a:gd name="T86" fmla="*/ 236 w 244"/>
                  <a:gd name="T87" fmla="*/ 6 h 224"/>
                  <a:gd name="T88" fmla="*/ 236 w 244"/>
                  <a:gd name="T89" fmla="*/ 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224">
                    <a:moveTo>
                      <a:pt x="236" y="6"/>
                    </a:moveTo>
                    <a:lnTo>
                      <a:pt x="236" y="6"/>
                    </a:lnTo>
                    <a:lnTo>
                      <a:pt x="232" y="2"/>
                    </a:lnTo>
                    <a:lnTo>
                      <a:pt x="226" y="0"/>
                    </a:lnTo>
                    <a:lnTo>
                      <a:pt x="222" y="0"/>
                    </a:lnTo>
                    <a:lnTo>
                      <a:pt x="216" y="0"/>
                    </a:lnTo>
                    <a:lnTo>
                      <a:pt x="58" y="30"/>
                    </a:lnTo>
                    <a:lnTo>
                      <a:pt x="58" y="30"/>
                    </a:lnTo>
                    <a:lnTo>
                      <a:pt x="50" y="34"/>
                    </a:lnTo>
                    <a:lnTo>
                      <a:pt x="44" y="40"/>
                    </a:lnTo>
                    <a:lnTo>
                      <a:pt x="40" y="48"/>
                    </a:lnTo>
                    <a:lnTo>
                      <a:pt x="40" y="58"/>
                    </a:lnTo>
                    <a:lnTo>
                      <a:pt x="40" y="58"/>
                    </a:lnTo>
                    <a:lnTo>
                      <a:pt x="44" y="66"/>
                    </a:lnTo>
                    <a:lnTo>
                      <a:pt x="50" y="72"/>
                    </a:lnTo>
                    <a:lnTo>
                      <a:pt x="58" y="76"/>
                    </a:lnTo>
                    <a:lnTo>
                      <a:pt x="68" y="76"/>
                    </a:lnTo>
                    <a:lnTo>
                      <a:pt x="136" y="64"/>
                    </a:lnTo>
                    <a:lnTo>
                      <a:pt x="140" y="66"/>
                    </a:lnTo>
                    <a:lnTo>
                      <a:pt x="0" y="222"/>
                    </a:lnTo>
                    <a:lnTo>
                      <a:pt x="0" y="222"/>
                    </a:lnTo>
                    <a:lnTo>
                      <a:pt x="26" y="222"/>
                    </a:lnTo>
                    <a:lnTo>
                      <a:pt x="26" y="222"/>
                    </a:lnTo>
                    <a:lnTo>
                      <a:pt x="52" y="222"/>
                    </a:lnTo>
                    <a:lnTo>
                      <a:pt x="76" y="224"/>
                    </a:lnTo>
                    <a:lnTo>
                      <a:pt x="184" y="104"/>
                    </a:lnTo>
                    <a:lnTo>
                      <a:pt x="186" y="104"/>
                    </a:lnTo>
                    <a:lnTo>
                      <a:pt x="176" y="184"/>
                    </a:lnTo>
                    <a:lnTo>
                      <a:pt x="176" y="184"/>
                    </a:lnTo>
                    <a:lnTo>
                      <a:pt x="176" y="192"/>
                    </a:lnTo>
                    <a:lnTo>
                      <a:pt x="180" y="202"/>
                    </a:lnTo>
                    <a:lnTo>
                      <a:pt x="188" y="208"/>
                    </a:lnTo>
                    <a:lnTo>
                      <a:pt x="196" y="210"/>
                    </a:lnTo>
                    <a:lnTo>
                      <a:pt x="196" y="210"/>
                    </a:lnTo>
                    <a:lnTo>
                      <a:pt x="206" y="210"/>
                    </a:lnTo>
                    <a:lnTo>
                      <a:pt x="214" y="206"/>
                    </a:lnTo>
                    <a:lnTo>
                      <a:pt x="220" y="198"/>
                    </a:lnTo>
                    <a:lnTo>
                      <a:pt x="222" y="190"/>
                    </a:lnTo>
                    <a:lnTo>
                      <a:pt x="244" y="26"/>
                    </a:lnTo>
                    <a:lnTo>
                      <a:pt x="244" y="26"/>
                    </a:lnTo>
                    <a:lnTo>
                      <a:pt x="244" y="22"/>
                    </a:lnTo>
                    <a:lnTo>
                      <a:pt x="242" y="16"/>
                    </a:lnTo>
                    <a:lnTo>
                      <a:pt x="240" y="10"/>
                    </a:lnTo>
                    <a:lnTo>
                      <a:pt x="236" y="6"/>
                    </a:lnTo>
                    <a:lnTo>
                      <a:pt x="23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1" name="Freeform 74">
                <a:extLst>
                  <a:ext uri="{FF2B5EF4-FFF2-40B4-BE49-F238E27FC236}">
                    <a16:creationId xmlns:a16="http://schemas.microsoft.com/office/drawing/2014/main" id="{1945439E-DBC6-EB55-341F-571A77B9165B}"/>
                  </a:ext>
                </a:extLst>
              </p:cNvPr>
              <p:cNvSpPr>
                <a:spLocks/>
              </p:cNvSpPr>
              <p:nvPr/>
            </p:nvSpPr>
            <p:spPr bwMode="auto">
              <a:xfrm>
                <a:off x="14420850" y="3962400"/>
                <a:ext cx="38100" cy="57150"/>
              </a:xfrm>
              <a:custGeom>
                <a:avLst/>
                <a:gdLst>
                  <a:gd name="T0" fmla="*/ 24 w 24"/>
                  <a:gd name="T1" fmla="*/ 14 h 36"/>
                  <a:gd name="T2" fmla="*/ 24 w 24"/>
                  <a:gd name="T3" fmla="*/ 14 h 36"/>
                  <a:gd name="T4" fmla="*/ 10 w 24"/>
                  <a:gd name="T5" fmla="*/ 8 h 36"/>
                  <a:gd name="T6" fmla="*/ 0 w 24"/>
                  <a:gd name="T7" fmla="*/ 0 h 36"/>
                  <a:gd name="T8" fmla="*/ 0 w 24"/>
                  <a:gd name="T9" fmla="*/ 28 h 36"/>
                  <a:gd name="T10" fmla="*/ 0 w 24"/>
                  <a:gd name="T11" fmla="*/ 28 h 36"/>
                  <a:gd name="T12" fmla="*/ 0 w 24"/>
                  <a:gd name="T13" fmla="*/ 28 h 36"/>
                  <a:gd name="T14" fmla="*/ 2 w 24"/>
                  <a:gd name="T15" fmla="*/ 36 h 36"/>
                  <a:gd name="T16" fmla="*/ 14 w 24"/>
                  <a:gd name="T17" fmla="*/ 24 h 36"/>
                  <a:gd name="T18" fmla="*/ 14 w 24"/>
                  <a:gd name="T19" fmla="*/ 18 h 36"/>
                  <a:gd name="T20" fmla="*/ 14 w 24"/>
                  <a:gd name="T21" fmla="*/ 18 h 36"/>
                  <a:gd name="T22" fmla="*/ 18 w 24"/>
                  <a:gd name="T23" fmla="*/ 20 h 36"/>
                  <a:gd name="T24" fmla="*/ 24 w 24"/>
                  <a:gd name="T25"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6">
                    <a:moveTo>
                      <a:pt x="24" y="14"/>
                    </a:moveTo>
                    <a:lnTo>
                      <a:pt x="24" y="14"/>
                    </a:lnTo>
                    <a:lnTo>
                      <a:pt x="10" y="8"/>
                    </a:lnTo>
                    <a:lnTo>
                      <a:pt x="0" y="0"/>
                    </a:lnTo>
                    <a:lnTo>
                      <a:pt x="0" y="28"/>
                    </a:lnTo>
                    <a:lnTo>
                      <a:pt x="0" y="28"/>
                    </a:lnTo>
                    <a:lnTo>
                      <a:pt x="0" y="28"/>
                    </a:lnTo>
                    <a:lnTo>
                      <a:pt x="2" y="36"/>
                    </a:lnTo>
                    <a:lnTo>
                      <a:pt x="14" y="24"/>
                    </a:lnTo>
                    <a:lnTo>
                      <a:pt x="14" y="18"/>
                    </a:lnTo>
                    <a:lnTo>
                      <a:pt x="14" y="18"/>
                    </a:lnTo>
                    <a:lnTo>
                      <a:pt x="18" y="20"/>
                    </a:lnTo>
                    <a:lnTo>
                      <a:pt x="2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2" name="Freeform 75">
                <a:extLst>
                  <a:ext uri="{FF2B5EF4-FFF2-40B4-BE49-F238E27FC236}">
                    <a16:creationId xmlns:a16="http://schemas.microsoft.com/office/drawing/2014/main" id="{2296AD51-29DF-487E-9DF1-8C91EB9DA60C}"/>
                  </a:ext>
                </a:extLst>
              </p:cNvPr>
              <p:cNvSpPr>
                <a:spLocks noEditPoints="1"/>
              </p:cNvSpPr>
              <p:nvPr/>
            </p:nvSpPr>
            <p:spPr bwMode="auto">
              <a:xfrm>
                <a:off x="14678025" y="3940175"/>
                <a:ext cx="215900" cy="146050"/>
              </a:xfrm>
              <a:custGeom>
                <a:avLst/>
                <a:gdLst>
                  <a:gd name="T0" fmla="*/ 136 w 136"/>
                  <a:gd name="T1" fmla="*/ 44 h 92"/>
                  <a:gd name="T2" fmla="*/ 136 w 136"/>
                  <a:gd name="T3" fmla="*/ 44 h 92"/>
                  <a:gd name="T4" fmla="*/ 136 w 136"/>
                  <a:gd name="T5" fmla="*/ 42 h 92"/>
                  <a:gd name="T6" fmla="*/ 136 w 136"/>
                  <a:gd name="T7" fmla="*/ 42 h 92"/>
                  <a:gd name="T8" fmla="*/ 136 w 136"/>
                  <a:gd name="T9" fmla="*/ 4 h 92"/>
                  <a:gd name="T10" fmla="*/ 136 w 136"/>
                  <a:gd name="T11" fmla="*/ 4 h 92"/>
                  <a:gd name="T12" fmla="*/ 136 w 136"/>
                  <a:gd name="T13" fmla="*/ 0 h 92"/>
                  <a:gd name="T14" fmla="*/ 136 w 136"/>
                  <a:gd name="T15" fmla="*/ 0 h 92"/>
                  <a:gd name="T16" fmla="*/ 128 w 136"/>
                  <a:gd name="T17" fmla="*/ 10 h 92"/>
                  <a:gd name="T18" fmla="*/ 116 w 136"/>
                  <a:gd name="T19" fmla="*/ 20 h 92"/>
                  <a:gd name="T20" fmla="*/ 102 w 136"/>
                  <a:gd name="T21" fmla="*/ 28 h 92"/>
                  <a:gd name="T22" fmla="*/ 84 w 136"/>
                  <a:gd name="T23" fmla="*/ 34 h 92"/>
                  <a:gd name="T24" fmla="*/ 64 w 136"/>
                  <a:gd name="T25" fmla="*/ 40 h 92"/>
                  <a:gd name="T26" fmla="*/ 44 w 136"/>
                  <a:gd name="T27" fmla="*/ 44 h 92"/>
                  <a:gd name="T28" fmla="*/ 22 w 136"/>
                  <a:gd name="T29" fmla="*/ 48 h 92"/>
                  <a:gd name="T30" fmla="*/ 0 w 136"/>
                  <a:gd name="T31" fmla="*/ 50 h 92"/>
                  <a:gd name="T32" fmla="*/ 50 w 136"/>
                  <a:gd name="T33" fmla="*/ 92 h 92"/>
                  <a:gd name="T34" fmla="*/ 50 w 136"/>
                  <a:gd name="T35" fmla="*/ 92 h 92"/>
                  <a:gd name="T36" fmla="*/ 84 w 136"/>
                  <a:gd name="T37" fmla="*/ 84 h 92"/>
                  <a:gd name="T38" fmla="*/ 98 w 136"/>
                  <a:gd name="T39" fmla="*/ 80 h 92"/>
                  <a:gd name="T40" fmla="*/ 110 w 136"/>
                  <a:gd name="T41" fmla="*/ 74 h 92"/>
                  <a:gd name="T42" fmla="*/ 120 w 136"/>
                  <a:gd name="T43" fmla="*/ 66 h 92"/>
                  <a:gd name="T44" fmla="*/ 128 w 136"/>
                  <a:gd name="T45" fmla="*/ 60 h 92"/>
                  <a:gd name="T46" fmla="*/ 134 w 136"/>
                  <a:gd name="T47" fmla="*/ 52 h 92"/>
                  <a:gd name="T48" fmla="*/ 136 w 136"/>
                  <a:gd name="T49" fmla="*/ 44 h 92"/>
                  <a:gd name="T50" fmla="*/ 136 w 136"/>
                  <a:gd name="T51" fmla="*/ 44 h 92"/>
                  <a:gd name="T52" fmla="*/ 118 w 136"/>
                  <a:gd name="T53" fmla="*/ 60 h 92"/>
                  <a:gd name="T54" fmla="*/ 118 w 136"/>
                  <a:gd name="T55" fmla="*/ 60 h 92"/>
                  <a:gd name="T56" fmla="*/ 110 w 136"/>
                  <a:gd name="T57" fmla="*/ 64 h 92"/>
                  <a:gd name="T58" fmla="*/ 102 w 136"/>
                  <a:gd name="T59" fmla="*/ 70 h 92"/>
                  <a:gd name="T60" fmla="*/ 102 w 136"/>
                  <a:gd name="T61" fmla="*/ 40 h 92"/>
                  <a:gd name="T62" fmla="*/ 102 w 136"/>
                  <a:gd name="T63" fmla="*/ 40 h 92"/>
                  <a:gd name="T64" fmla="*/ 110 w 136"/>
                  <a:gd name="T65" fmla="*/ 36 h 92"/>
                  <a:gd name="T66" fmla="*/ 118 w 136"/>
                  <a:gd name="T67" fmla="*/ 30 h 92"/>
                  <a:gd name="T68" fmla="*/ 118 w 136"/>
                  <a:gd name="T69" fmla="*/ 6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92">
                    <a:moveTo>
                      <a:pt x="136" y="44"/>
                    </a:moveTo>
                    <a:lnTo>
                      <a:pt x="136" y="44"/>
                    </a:lnTo>
                    <a:lnTo>
                      <a:pt x="136" y="42"/>
                    </a:lnTo>
                    <a:lnTo>
                      <a:pt x="136" y="42"/>
                    </a:lnTo>
                    <a:lnTo>
                      <a:pt x="136" y="4"/>
                    </a:lnTo>
                    <a:lnTo>
                      <a:pt x="136" y="4"/>
                    </a:lnTo>
                    <a:lnTo>
                      <a:pt x="136" y="0"/>
                    </a:lnTo>
                    <a:lnTo>
                      <a:pt x="136" y="0"/>
                    </a:lnTo>
                    <a:lnTo>
                      <a:pt x="128" y="10"/>
                    </a:lnTo>
                    <a:lnTo>
                      <a:pt x="116" y="20"/>
                    </a:lnTo>
                    <a:lnTo>
                      <a:pt x="102" y="28"/>
                    </a:lnTo>
                    <a:lnTo>
                      <a:pt x="84" y="34"/>
                    </a:lnTo>
                    <a:lnTo>
                      <a:pt x="64" y="40"/>
                    </a:lnTo>
                    <a:lnTo>
                      <a:pt x="44" y="44"/>
                    </a:lnTo>
                    <a:lnTo>
                      <a:pt x="22" y="48"/>
                    </a:lnTo>
                    <a:lnTo>
                      <a:pt x="0" y="50"/>
                    </a:lnTo>
                    <a:lnTo>
                      <a:pt x="50" y="92"/>
                    </a:lnTo>
                    <a:lnTo>
                      <a:pt x="50" y="92"/>
                    </a:lnTo>
                    <a:lnTo>
                      <a:pt x="84" y="84"/>
                    </a:lnTo>
                    <a:lnTo>
                      <a:pt x="98" y="80"/>
                    </a:lnTo>
                    <a:lnTo>
                      <a:pt x="110" y="74"/>
                    </a:lnTo>
                    <a:lnTo>
                      <a:pt x="120" y="66"/>
                    </a:lnTo>
                    <a:lnTo>
                      <a:pt x="128" y="60"/>
                    </a:lnTo>
                    <a:lnTo>
                      <a:pt x="134" y="52"/>
                    </a:lnTo>
                    <a:lnTo>
                      <a:pt x="136" y="44"/>
                    </a:lnTo>
                    <a:lnTo>
                      <a:pt x="136" y="44"/>
                    </a:lnTo>
                    <a:close/>
                    <a:moveTo>
                      <a:pt x="118" y="60"/>
                    </a:moveTo>
                    <a:lnTo>
                      <a:pt x="118" y="60"/>
                    </a:lnTo>
                    <a:lnTo>
                      <a:pt x="110" y="64"/>
                    </a:lnTo>
                    <a:lnTo>
                      <a:pt x="102" y="70"/>
                    </a:lnTo>
                    <a:lnTo>
                      <a:pt x="102" y="40"/>
                    </a:lnTo>
                    <a:lnTo>
                      <a:pt x="102" y="40"/>
                    </a:lnTo>
                    <a:lnTo>
                      <a:pt x="110" y="36"/>
                    </a:lnTo>
                    <a:lnTo>
                      <a:pt x="118" y="30"/>
                    </a:lnTo>
                    <a:lnTo>
                      <a:pt x="11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6" name="Freeform 76">
                <a:extLst>
                  <a:ext uri="{FF2B5EF4-FFF2-40B4-BE49-F238E27FC236}">
                    <a16:creationId xmlns:a16="http://schemas.microsoft.com/office/drawing/2014/main" id="{F64E3207-EBBB-CA53-9D9F-89D307DABAC3}"/>
                  </a:ext>
                </a:extLst>
              </p:cNvPr>
              <p:cNvSpPr>
                <a:spLocks/>
              </p:cNvSpPr>
              <p:nvPr/>
            </p:nvSpPr>
            <p:spPr bwMode="auto">
              <a:xfrm>
                <a:off x="14487525" y="4105275"/>
                <a:ext cx="165100" cy="85725"/>
              </a:xfrm>
              <a:custGeom>
                <a:avLst/>
                <a:gdLst>
                  <a:gd name="T0" fmla="*/ 0 w 104"/>
                  <a:gd name="T1" fmla="*/ 38 h 54"/>
                  <a:gd name="T2" fmla="*/ 0 w 104"/>
                  <a:gd name="T3" fmla="*/ 38 h 54"/>
                  <a:gd name="T4" fmla="*/ 22 w 104"/>
                  <a:gd name="T5" fmla="*/ 46 h 54"/>
                  <a:gd name="T6" fmla="*/ 46 w 104"/>
                  <a:gd name="T7" fmla="*/ 50 h 54"/>
                  <a:gd name="T8" fmla="*/ 72 w 104"/>
                  <a:gd name="T9" fmla="*/ 52 h 54"/>
                  <a:gd name="T10" fmla="*/ 100 w 104"/>
                  <a:gd name="T11" fmla="*/ 54 h 54"/>
                  <a:gd name="T12" fmla="*/ 100 w 104"/>
                  <a:gd name="T13" fmla="*/ 54 h 54"/>
                  <a:gd name="T14" fmla="*/ 104 w 104"/>
                  <a:gd name="T15" fmla="*/ 54 h 54"/>
                  <a:gd name="T16" fmla="*/ 94 w 104"/>
                  <a:gd name="T17" fmla="*/ 46 h 54"/>
                  <a:gd name="T18" fmla="*/ 94 w 104"/>
                  <a:gd name="T19" fmla="*/ 46 h 54"/>
                  <a:gd name="T20" fmla="*/ 88 w 104"/>
                  <a:gd name="T21" fmla="*/ 46 h 54"/>
                  <a:gd name="T22" fmla="*/ 88 w 104"/>
                  <a:gd name="T23" fmla="*/ 40 h 54"/>
                  <a:gd name="T24" fmla="*/ 68 w 104"/>
                  <a:gd name="T25" fmla="*/ 24 h 54"/>
                  <a:gd name="T26" fmla="*/ 68 w 104"/>
                  <a:gd name="T27" fmla="*/ 44 h 54"/>
                  <a:gd name="T28" fmla="*/ 68 w 104"/>
                  <a:gd name="T29" fmla="*/ 44 h 54"/>
                  <a:gd name="T30" fmla="*/ 48 w 104"/>
                  <a:gd name="T31" fmla="*/ 42 h 54"/>
                  <a:gd name="T32" fmla="*/ 48 w 104"/>
                  <a:gd name="T33" fmla="*/ 12 h 54"/>
                  <a:gd name="T34" fmla="*/ 48 w 104"/>
                  <a:gd name="T35" fmla="*/ 12 h 54"/>
                  <a:gd name="T36" fmla="*/ 56 w 104"/>
                  <a:gd name="T37" fmla="*/ 14 h 54"/>
                  <a:gd name="T38" fmla="*/ 40 w 104"/>
                  <a:gd name="T39" fmla="*/ 0 h 54"/>
                  <a:gd name="T40" fmla="*/ 40 w 104"/>
                  <a:gd name="T41" fmla="*/ 0 h 54"/>
                  <a:gd name="T42" fmla="*/ 40 w 104"/>
                  <a:gd name="T43" fmla="*/ 0 h 54"/>
                  <a:gd name="T44" fmla="*/ 26 w 104"/>
                  <a:gd name="T45" fmla="*/ 12 h 54"/>
                  <a:gd name="T46" fmla="*/ 26 w 104"/>
                  <a:gd name="T47" fmla="*/ 38 h 54"/>
                  <a:gd name="T48" fmla="*/ 26 w 104"/>
                  <a:gd name="T49" fmla="*/ 38 h 54"/>
                  <a:gd name="T50" fmla="*/ 6 w 104"/>
                  <a:gd name="T51" fmla="*/ 34 h 54"/>
                  <a:gd name="T52" fmla="*/ 6 w 104"/>
                  <a:gd name="T53" fmla="*/ 32 h 54"/>
                  <a:gd name="T54" fmla="*/ 0 w 104"/>
                  <a:gd name="T5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54">
                    <a:moveTo>
                      <a:pt x="0" y="38"/>
                    </a:moveTo>
                    <a:lnTo>
                      <a:pt x="0" y="38"/>
                    </a:lnTo>
                    <a:lnTo>
                      <a:pt x="22" y="46"/>
                    </a:lnTo>
                    <a:lnTo>
                      <a:pt x="46" y="50"/>
                    </a:lnTo>
                    <a:lnTo>
                      <a:pt x="72" y="52"/>
                    </a:lnTo>
                    <a:lnTo>
                      <a:pt x="100" y="54"/>
                    </a:lnTo>
                    <a:lnTo>
                      <a:pt x="100" y="54"/>
                    </a:lnTo>
                    <a:lnTo>
                      <a:pt x="104" y="54"/>
                    </a:lnTo>
                    <a:lnTo>
                      <a:pt x="94" y="46"/>
                    </a:lnTo>
                    <a:lnTo>
                      <a:pt x="94" y="46"/>
                    </a:lnTo>
                    <a:lnTo>
                      <a:pt x="88" y="46"/>
                    </a:lnTo>
                    <a:lnTo>
                      <a:pt x="88" y="40"/>
                    </a:lnTo>
                    <a:lnTo>
                      <a:pt x="68" y="24"/>
                    </a:lnTo>
                    <a:lnTo>
                      <a:pt x="68" y="44"/>
                    </a:lnTo>
                    <a:lnTo>
                      <a:pt x="68" y="44"/>
                    </a:lnTo>
                    <a:lnTo>
                      <a:pt x="48" y="42"/>
                    </a:lnTo>
                    <a:lnTo>
                      <a:pt x="48" y="12"/>
                    </a:lnTo>
                    <a:lnTo>
                      <a:pt x="48" y="12"/>
                    </a:lnTo>
                    <a:lnTo>
                      <a:pt x="56" y="14"/>
                    </a:lnTo>
                    <a:lnTo>
                      <a:pt x="40" y="0"/>
                    </a:lnTo>
                    <a:lnTo>
                      <a:pt x="40" y="0"/>
                    </a:lnTo>
                    <a:lnTo>
                      <a:pt x="40" y="0"/>
                    </a:lnTo>
                    <a:lnTo>
                      <a:pt x="26" y="12"/>
                    </a:lnTo>
                    <a:lnTo>
                      <a:pt x="26" y="38"/>
                    </a:lnTo>
                    <a:lnTo>
                      <a:pt x="26" y="38"/>
                    </a:lnTo>
                    <a:lnTo>
                      <a:pt x="6" y="34"/>
                    </a:lnTo>
                    <a:lnTo>
                      <a:pt x="6" y="32"/>
                    </a:ln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7" name="Freeform 77">
                <a:extLst>
                  <a:ext uri="{FF2B5EF4-FFF2-40B4-BE49-F238E27FC236}">
                    <a16:creationId xmlns:a16="http://schemas.microsoft.com/office/drawing/2014/main" id="{FEA3F9C2-62D8-3829-2277-84293D806815}"/>
                  </a:ext>
                </a:extLst>
              </p:cNvPr>
              <p:cNvSpPr>
                <a:spLocks noEditPoints="1"/>
              </p:cNvSpPr>
              <p:nvPr/>
            </p:nvSpPr>
            <p:spPr bwMode="auto">
              <a:xfrm>
                <a:off x="14433550" y="4181475"/>
                <a:ext cx="320675" cy="104775"/>
              </a:xfrm>
              <a:custGeom>
                <a:avLst/>
                <a:gdLst>
                  <a:gd name="T0" fmla="*/ 0 w 202"/>
                  <a:gd name="T1" fmla="*/ 26 h 66"/>
                  <a:gd name="T2" fmla="*/ 0 w 202"/>
                  <a:gd name="T3" fmla="*/ 26 h 66"/>
                  <a:gd name="T4" fmla="*/ 8 w 202"/>
                  <a:gd name="T5" fmla="*/ 34 h 66"/>
                  <a:gd name="T6" fmla="*/ 20 w 202"/>
                  <a:gd name="T7" fmla="*/ 42 h 66"/>
                  <a:gd name="T8" fmla="*/ 34 w 202"/>
                  <a:gd name="T9" fmla="*/ 48 h 66"/>
                  <a:gd name="T10" fmla="*/ 52 w 202"/>
                  <a:gd name="T11" fmla="*/ 54 h 66"/>
                  <a:gd name="T12" fmla="*/ 72 w 202"/>
                  <a:gd name="T13" fmla="*/ 58 h 66"/>
                  <a:gd name="T14" fmla="*/ 94 w 202"/>
                  <a:gd name="T15" fmla="*/ 62 h 66"/>
                  <a:gd name="T16" fmla="*/ 116 w 202"/>
                  <a:gd name="T17" fmla="*/ 64 h 66"/>
                  <a:gd name="T18" fmla="*/ 140 w 202"/>
                  <a:gd name="T19" fmla="*/ 66 h 66"/>
                  <a:gd name="T20" fmla="*/ 140 w 202"/>
                  <a:gd name="T21" fmla="*/ 66 h 66"/>
                  <a:gd name="T22" fmla="*/ 172 w 202"/>
                  <a:gd name="T23" fmla="*/ 64 h 66"/>
                  <a:gd name="T24" fmla="*/ 202 w 202"/>
                  <a:gd name="T25" fmla="*/ 60 h 66"/>
                  <a:gd name="T26" fmla="*/ 150 w 202"/>
                  <a:gd name="T27" fmla="*/ 16 h 66"/>
                  <a:gd name="T28" fmla="*/ 150 w 202"/>
                  <a:gd name="T29" fmla="*/ 16 h 66"/>
                  <a:gd name="T30" fmla="*/ 134 w 202"/>
                  <a:gd name="T31" fmla="*/ 16 h 66"/>
                  <a:gd name="T32" fmla="*/ 134 w 202"/>
                  <a:gd name="T33" fmla="*/ 16 h 66"/>
                  <a:gd name="T34" fmla="*/ 106 w 202"/>
                  <a:gd name="T35" fmla="*/ 16 h 66"/>
                  <a:gd name="T36" fmla="*/ 76 w 202"/>
                  <a:gd name="T37" fmla="*/ 12 h 66"/>
                  <a:gd name="T38" fmla="*/ 50 w 202"/>
                  <a:gd name="T39" fmla="*/ 8 h 66"/>
                  <a:gd name="T40" fmla="*/ 26 w 202"/>
                  <a:gd name="T41" fmla="*/ 0 h 66"/>
                  <a:gd name="T42" fmla="*/ 18 w 202"/>
                  <a:gd name="T43" fmla="*/ 6 h 66"/>
                  <a:gd name="T44" fmla="*/ 18 w 202"/>
                  <a:gd name="T45" fmla="*/ 6 h 66"/>
                  <a:gd name="T46" fmla="*/ 26 w 202"/>
                  <a:gd name="T47" fmla="*/ 10 h 66"/>
                  <a:gd name="T48" fmla="*/ 26 w 202"/>
                  <a:gd name="T49" fmla="*/ 38 h 66"/>
                  <a:gd name="T50" fmla="*/ 26 w 202"/>
                  <a:gd name="T51" fmla="*/ 38 h 66"/>
                  <a:gd name="T52" fmla="*/ 14 w 202"/>
                  <a:gd name="T53" fmla="*/ 30 h 66"/>
                  <a:gd name="T54" fmla="*/ 6 w 202"/>
                  <a:gd name="T55" fmla="*/ 24 h 66"/>
                  <a:gd name="T56" fmla="*/ 6 w 202"/>
                  <a:gd name="T57" fmla="*/ 20 h 66"/>
                  <a:gd name="T58" fmla="*/ 0 w 202"/>
                  <a:gd name="T59" fmla="*/ 26 h 66"/>
                  <a:gd name="T60" fmla="*/ 128 w 202"/>
                  <a:gd name="T61" fmla="*/ 28 h 66"/>
                  <a:gd name="T62" fmla="*/ 128 w 202"/>
                  <a:gd name="T63" fmla="*/ 28 h 66"/>
                  <a:gd name="T64" fmla="*/ 140 w 202"/>
                  <a:gd name="T65" fmla="*/ 28 h 66"/>
                  <a:gd name="T66" fmla="*/ 140 w 202"/>
                  <a:gd name="T67" fmla="*/ 28 h 66"/>
                  <a:gd name="T68" fmla="*/ 150 w 202"/>
                  <a:gd name="T69" fmla="*/ 28 h 66"/>
                  <a:gd name="T70" fmla="*/ 150 w 202"/>
                  <a:gd name="T71" fmla="*/ 56 h 66"/>
                  <a:gd name="T72" fmla="*/ 150 w 202"/>
                  <a:gd name="T73" fmla="*/ 56 h 66"/>
                  <a:gd name="T74" fmla="*/ 140 w 202"/>
                  <a:gd name="T75" fmla="*/ 58 h 66"/>
                  <a:gd name="T76" fmla="*/ 140 w 202"/>
                  <a:gd name="T77" fmla="*/ 58 h 66"/>
                  <a:gd name="T78" fmla="*/ 128 w 202"/>
                  <a:gd name="T79" fmla="*/ 56 h 66"/>
                  <a:gd name="T80" fmla="*/ 128 w 202"/>
                  <a:gd name="T81" fmla="*/ 28 h 66"/>
                  <a:gd name="T82" fmla="*/ 88 w 202"/>
                  <a:gd name="T83" fmla="*/ 24 h 66"/>
                  <a:gd name="T84" fmla="*/ 88 w 202"/>
                  <a:gd name="T85" fmla="*/ 24 h 66"/>
                  <a:gd name="T86" fmla="*/ 108 w 202"/>
                  <a:gd name="T87" fmla="*/ 26 h 66"/>
                  <a:gd name="T88" fmla="*/ 108 w 202"/>
                  <a:gd name="T89" fmla="*/ 56 h 66"/>
                  <a:gd name="T90" fmla="*/ 108 w 202"/>
                  <a:gd name="T91" fmla="*/ 56 h 66"/>
                  <a:gd name="T92" fmla="*/ 88 w 202"/>
                  <a:gd name="T93" fmla="*/ 54 h 66"/>
                  <a:gd name="T94" fmla="*/ 88 w 202"/>
                  <a:gd name="T95" fmla="*/ 24 h 66"/>
                  <a:gd name="T96" fmla="*/ 48 w 202"/>
                  <a:gd name="T97" fmla="*/ 16 h 66"/>
                  <a:gd name="T98" fmla="*/ 48 w 202"/>
                  <a:gd name="T99" fmla="*/ 16 h 66"/>
                  <a:gd name="T100" fmla="*/ 68 w 202"/>
                  <a:gd name="T101" fmla="*/ 20 h 66"/>
                  <a:gd name="T102" fmla="*/ 68 w 202"/>
                  <a:gd name="T103" fmla="*/ 50 h 66"/>
                  <a:gd name="T104" fmla="*/ 68 w 202"/>
                  <a:gd name="T105" fmla="*/ 50 h 66"/>
                  <a:gd name="T106" fmla="*/ 48 w 202"/>
                  <a:gd name="T107" fmla="*/ 44 h 66"/>
                  <a:gd name="T108" fmla="*/ 48 w 202"/>
                  <a:gd name="T10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2" h="66">
                    <a:moveTo>
                      <a:pt x="0" y="26"/>
                    </a:moveTo>
                    <a:lnTo>
                      <a:pt x="0" y="26"/>
                    </a:lnTo>
                    <a:lnTo>
                      <a:pt x="8" y="34"/>
                    </a:lnTo>
                    <a:lnTo>
                      <a:pt x="20" y="42"/>
                    </a:lnTo>
                    <a:lnTo>
                      <a:pt x="34" y="48"/>
                    </a:lnTo>
                    <a:lnTo>
                      <a:pt x="52" y="54"/>
                    </a:lnTo>
                    <a:lnTo>
                      <a:pt x="72" y="58"/>
                    </a:lnTo>
                    <a:lnTo>
                      <a:pt x="94" y="62"/>
                    </a:lnTo>
                    <a:lnTo>
                      <a:pt x="116" y="64"/>
                    </a:lnTo>
                    <a:lnTo>
                      <a:pt x="140" y="66"/>
                    </a:lnTo>
                    <a:lnTo>
                      <a:pt x="140" y="66"/>
                    </a:lnTo>
                    <a:lnTo>
                      <a:pt x="172" y="64"/>
                    </a:lnTo>
                    <a:lnTo>
                      <a:pt x="202" y="60"/>
                    </a:lnTo>
                    <a:lnTo>
                      <a:pt x="150" y="16"/>
                    </a:lnTo>
                    <a:lnTo>
                      <a:pt x="150" y="16"/>
                    </a:lnTo>
                    <a:lnTo>
                      <a:pt x="134" y="16"/>
                    </a:lnTo>
                    <a:lnTo>
                      <a:pt x="134" y="16"/>
                    </a:lnTo>
                    <a:lnTo>
                      <a:pt x="106" y="16"/>
                    </a:lnTo>
                    <a:lnTo>
                      <a:pt x="76" y="12"/>
                    </a:lnTo>
                    <a:lnTo>
                      <a:pt x="50" y="8"/>
                    </a:lnTo>
                    <a:lnTo>
                      <a:pt x="26" y="0"/>
                    </a:lnTo>
                    <a:lnTo>
                      <a:pt x="18" y="6"/>
                    </a:lnTo>
                    <a:lnTo>
                      <a:pt x="18" y="6"/>
                    </a:lnTo>
                    <a:lnTo>
                      <a:pt x="26" y="10"/>
                    </a:lnTo>
                    <a:lnTo>
                      <a:pt x="26" y="38"/>
                    </a:lnTo>
                    <a:lnTo>
                      <a:pt x="26" y="38"/>
                    </a:lnTo>
                    <a:lnTo>
                      <a:pt x="14" y="30"/>
                    </a:lnTo>
                    <a:lnTo>
                      <a:pt x="6" y="24"/>
                    </a:lnTo>
                    <a:lnTo>
                      <a:pt x="6" y="20"/>
                    </a:lnTo>
                    <a:lnTo>
                      <a:pt x="0" y="26"/>
                    </a:lnTo>
                    <a:close/>
                    <a:moveTo>
                      <a:pt x="128" y="28"/>
                    </a:moveTo>
                    <a:lnTo>
                      <a:pt x="128" y="28"/>
                    </a:lnTo>
                    <a:lnTo>
                      <a:pt x="140" y="28"/>
                    </a:lnTo>
                    <a:lnTo>
                      <a:pt x="140" y="28"/>
                    </a:lnTo>
                    <a:lnTo>
                      <a:pt x="150" y="28"/>
                    </a:lnTo>
                    <a:lnTo>
                      <a:pt x="150" y="56"/>
                    </a:lnTo>
                    <a:lnTo>
                      <a:pt x="150" y="56"/>
                    </a:lnTo>
                    <a:lnTo>
                      <a:pt x="140" y="58"/>
                    </a:lnTo>
                    <a:lnTo>
                      <a:pt x="140" y="58"/>
                    </a:lnTo>
                    <a:lnTo>
                      <a:pt x="128" y="56"/>
                    </a:lnTo>
                    <a:lnTo>
                      <a:pt x="128" y="28"/>
                    </a:lnTo>
                    <a:close/>
                    <a:moveTo>
                      <a:pt x="88" y="24"/>
                    </a:moveTo>
                    <a:lnTo>
                      <a:pt x="88" y="24"/>
                    </a:lnTo>
                    <a:lnTo>
                      <a:pt x="108" y="26"/>
                    </a:lnTo>
                    <a:lnTo>
                      <a:pt x="108" y="56"/>
                    </a:lnTo>
                    <a:lnTo>
                      <a:pt x="108" y="56"/>
                    </a:lnTo>
                    <a:lnTo>
                      <a:pt x="88" y="54"/>
                    </a:lnTo>
                    <a:lnTo>
                      <a:pt x="88" y="24"/>
                    </a:lnTo>
                    <a:close/>
                    <a:moveTo>
                      <a:pt x="48" y="16"/>
                    </a:moveTo>
                    <a:lnTo>
                      <a:pt x="48" y="16"/>
                    </a:lnTo>
                    <a:lnTo>
                      <a:pt x="68" y="20"/>
                    </a:lnTo>
                    <a:lnTo>
                      <a:pt x="68" y="50"/>
                    </a:lnTo>
                    <a:lnTo>
                      <a:pt x="68" y="50"/>
                    </a:lnTo>
                    <a:lnTo>
                      <a:pt x="48" y="44"/>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8" name="Freeform 78">
                <a:extLst>
                  <a:ext uri="{FF2B5EF4-FFF2-40B4-BE49-F238E27FC236}">
                    <a16:creationId xmlns:a16="http://schemas.microsoft.com/office/drawing/2014/main" id="{87236621-315C-6124-FC0A-4ABEF7D9CC96}"/>
                  </a:ext>
                </a:extLst>
              </p:cNvPr>
              <p:cNvSpPr>
                <a:spLocks noEditPoints="1"/>
              </p:cNvSpPr>
              <p:nvPr/>
            </p:nvSpPr>
            <p:spPr bwMode="auto">
              <a:xfrm>
                <a:off x="14411325" y="4235450"/>
                <a:ext cx="361950" cy="142875"/>
              </a:xfrm>
              <a:custGeom>
                <a:avLst/>
                <a:gdLst>
                  <a:gd name="T0" fmla="*/ 154 w 228"/>
                  <a:gd name="T1" fmla="*/ 42 h 90"/>
                  <a:gd name="T2" fmla="*/ 110 w 228"/>
                  <a:gd name="T3" fmla="*/ 40 h 90"/>
                  <a:gd name="T4" fmla="*/ 66 w 228"/>
                  <a:gd name="T5" fmla="*/ 32 h 90"/>
                  <a:gd name="T6" fmla="*/ 30 w 228"/>
                  <a:gd name="T7" fmla="*/ 18 h 90"/>
                  <a:gd name="T8" fmla="*/ 6 w 228"/>
                  <a:gd name="T9" fmla="*/ 0 h 90"/>
                  <a:gd name="T10" fmla="*/ 0 w 228"/>
                  <a:gd name="T11" fmla="*/ 34 h 90"/>
                  <a:gd name="T12" fmla="*/ 0 w 228"/>
                  <a:gd name="T13" fmla="*/ 34 h 90"/>
                  <a:gd name="T14" fmla="*/ 2 w 228"/>
                  <a:gd name="T15" fmla="*/ 46 h 90"/>
                  <a:gd name="T16" fmla="*/ 24 w 228"/>
                  <a:gd name="T17" fmla="*/ 66 h 90"/>
                  <a:gd name="T18" fmla="*/ 64 w 228"/>
                  <a:gd name="T19" fmla="*/ 82 h 90"/>
                  <a:gd name="T20" fmla="*/ 118 w 228"/>
                  <a:gd name="T21" fmla="*/ 90 h 90"/>
                  <a:gd name="T22" fmla="*/ 148 w 228"/>
                  <a:gd name="T23" fmla="*/ 90 h 90"/>
                  <a:gd name="T24" fmla="*/ 224 w 228"/>
                  <a:gd name="T25" fmla="*/ 82 h 90"/>
                  <a:gd name="T26" fmla="*/ 224 w 228"/>
                  <a:gd name="T27" fmla="*/ 66 h 90"/>
                  <a:gd name="T28" fmla="*/ 228 w 228"/>
                  <a:gd name="T29" fmla="*/ 60 h 90"/>
                  <a:gd name="T30" fmla="*/ 220 w 228"/>
                  <a:gd name="T31" fmla="*/ 48 h 90"/>
                  <a:gd name="T32" fmla="*/ 218 w 228"/>
                  <a:gd name="T33" fmla="*/ 38 h 90"/>
                  <a:gd name="T34" fmla="*/ 154 w 228"/>
                  <a:gd name="T35" fmla="*/ 42 h 90"/>
                  <a:gd name="T36" fmla="*/ 34 w 228"/>
                  <a:gd name="T37" fmla="*/ 62 h 90"/>
                  <a:gd name="T38" fmla="*/ 22 w 228"/>
                  <a:gd name="T39" fmla="*/ 56 h 90"/>
                  <a:gd name="T40" fmla="*/ 14 w 228"/>
                  <a:gd name="T41" fmla="*/ 20 h 90"/>
                  <a:gd name="T42" fmla="*/ 22 w 228"/>
                  <a:gd name="T43" fmla="*/ 26 h 90"/>
                  <a:gd name="T44" fmla="*/ 34 w 228"/>
                  <a:gd name="T45" fmla="*/ 62 h 90"/>
                  <a:gd name="T46" fmla="*/ 74 w 228"/>
                  <a:gd name="T47" fmla="*/ 76 h 90"/>
                  <a:gd name="T48" fmla="*/ 54 w 228"/>
                  <a:gd name="T49" fmla="*/ 40 h 90"/>
                  <a:gd name="T50" fmla="*/ 74 w 228"/>
                  <a:gd name="T51" fmla="*/ 46 h 90"/>
                  <a:gd name="T52" fmla="*/ 116 w 228"/>
                  <a:gd name="T53" fmla="*/ 82 h 90"/>
                  <a:gd name="T54" fmla="*/ 96 w 228"/>
                  <a:gd name="T55" fmla="*/ 80 h 90"/>
                  <a:gd name="T56" fmla="*/ 96 w 228"/>
                  <a:gd name="T57" fmla="*/ 50 h 90"/>
                  <a:gd name="T58" fmla="*/ 116 w 228"/>
                  <a:gd name="T59" fmla="*/ 82 h 90"/>
                  <a:gd name="T60" fmla="*/ 156 w 228"/>
                  <a:gd name="T61" fmla="*/ 82 h 90"/>
                  <a:gd name="T62" fmla="*/ 148 w 228"/>
                  <a:gd name="T63" fmla="*/ 82 h 90"/>
                  <a:gd name="T64" fmla="*/ 136 w 228"/>
                  <a:gd name="T65" fmla="*/ 54 h 90"/>
                  <a:gd name="T66" fmla="*/ 148 w 228"/>
                  <a:gd name="T67" fmla="*/ 54 h 90"/>
                  <a:gd name="T68" fmla="*/ 156 w 228"/>
                  <a:gd name="T69"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 h="90">
                    <a:moveTo>
                      <a:pt x="154" y="42"/>
                    </a:moveTo>
                    <a:lnTo>
                      <a:pt x="154" y="42"/>
                    </a:lnTo>
                    <a:lnTo>
                      <a:pt x="132" y="42"/>
                    </a:lnTo>
                    <a:lnTo>
                      <a:pt x="110" y="40"/>
                    </a:lnTo>
                    <a:lnTo>
                      <a:pt x="88" y="36"/>
                    </a:lnTo>
                    <a:lnTo>
                      <a:pt x="66" y="32"/>
                    </a:lnTo>
                    <a:lnTo>
                      <a:pt x="48" y="26"/>
                    </a:lnTo>
                    <a:lnTo>
                      <a:pt x="30" y="18"/>
                    </a:lnTo>
                    <a:lnTo>
                      <a:pt x="16" y="10"/>
                    </a:lnTo>
                    <a:lnTo>
                      <a:pt x="6" y="0"/>
                    </a:lnTo>
                    <a:lnTo>
                      <a:pt x="0" y="6"/>
                    </a:lnTo>
                    <a:lnTo>
                      <a:pt x="0" y="34"/>
                    </a:lnTo>
                    <a:lnTo>
                      <a:pt x="0" y="34"/>
                    </a:lnTo>
                    <a:lnTo>
                      <a:pt x="0" y="34"/>
                    </a:lnTo>
                    <a:lnTo>
                      <a:pt x="0" y="40"/>
                    </a:lnTo>
                    <a:lnTo>
                      <a:pt x="2" y="46"/>
                    </a:lnTo>
                    <a:lnTo>
                      <a:pt x="12" y="56"/>
                    </a:lnTo>
                    <a:lnTo>
                      <a:pt x="24" y="66"/>
                    </a:lnTo>
                    <a:lnTo>
                      <a:pt x="42" y="74"/>
                    </a:lnTo>
                    <a:lnTo>
                      <a:pt x="64" y="82"/>
                    </a:lnTo>
                    <a:lnTo>
                      <a:pt x="90" y="86"/>
                    </a:lnTo>
                    <a:lnTo>
                      <a:pt x="118" y="90"/>
                    </a:lnTo>
                    <a:lnTo>
                      <a:pt x="148" y="90"/>
                    </a:lnTo>
                    <a:lnTo>
                      <a:pt x="148" y="90"/>
                    </a:lnTo>
                    <a:lnTo>
                      <a:pt x="188" y="88"/>
                    </a:lnTo>
                    <a:lnTo>
                      <a:pt x="224" y="82"/>
                    </a:lnTo>
                    <a:lnTo>
                      <a:pt x="224" y="66"/>
                    </a:lnTo>
                    <a:lnTo>
                      <a:pt x="224" y="66"/>
                    </a:lnTo>
                    <a:lnTo>
                      <a:pt x="224" y="62"/>
                    </a:lnTo>
                    <a:lnTo>
                      <a:pt x="228" y="60"/>
                    </a:lnTo>
                    <a:lnTo>
                      <a:pt x="228" y="60"/>
                    </a:lnTo>
                    <a:lnTo>
                      <a:pt x="220" y="48"/>
                    </a:lnTo>
                    <a:lnTo>
                      <a:pt x="218" y="38"/>
                    </a:lnTo>
                    <a:lnTo>
                      <a:pt x="218" y="38"/>
                    </a:lnTo>
                    <a:lnTo>
                      <a:pt x="186" y="42"/>
                    </a:lnTo>
                    <a:lnTo>
                      <a:pt x="154" y="42"/>
                    </a:lnTo>
                    <a:lnTo>
                      <a:pt x="154" y="42"/>
                    </a:lnTo>
                    <a:close/>
                    <a:moveTo>
                      <a:pt x="34" y="62"/>
                    </a:moveTo>
                    <a:lnTo>
                      <a:pt x="34" y="62"/>
                    </a:lnTo>
                    <a:lnTo>
                      <a:pt x="22" y="56"/>
                    </a:lnTo>
                    <a:lnTo>
                      <a:pt x="14" y="50"/>
                    </a:lnTo>
                    <a:lnTo>
                      <a:pt x="14" y="20"/>
                    </a:lnTo>
                    <a:lnTo>
                      <a:pt x="14" y="20"/>
                    </a:lnTo>
                    <a:lnTo>
                      <a:pt x="22" y="26"/>
                    </a:lnTo>
                    <a:lnTo>
                      <a:pt x="34" y="32"/>
                    </a:lnTo>
                    <a:lnTo>
                      <a:pt x="34" y="62"/>
                    </a:lnTo>
                    <a:close/>
                    <a:moveTo>
                      <a:pt x="74" y="76"/>
                    </a:moveTo>
                    <a:lnTo>
                      <a:pt x="74" y="76"/>
                    </a:lnTo>
                    <a:lnTo>
                      <a:pt x="54" y="70"/>
                    </a:lnTo>
                    <a:lnTo>
                      <a:pt x="54" y="40"/>
                    </a:lnTo>
                    <a:lnTo>
                      <a:pt x="54" y="40"/>
                    </a:lnTo>
                    <a:lnTo>
                      <a:pt x="74" y="46"/>
                    </a:lnTo>
                    <a:lnTo>
                      <a:pt x="74" y="76"/>
                    </a:lnTo>
                    <a:close/>
                    <a:moveTo>
                      <a:pt x="116" y="82"/>
                    </a:moveTo>
                    <a:lnTo>
                      <a:pt x="116" y="82"/>
                    </a:lnTo>
                    <a:lnTo>
                      <a:pt x="96" y="80"/>
                    </a:lnTo>
                    <a:lnTo>
                      <a:pt x="96" y="50"/>
                    </a:lnTo>
                    <a:lnTo>
                      <a:pt x="96" y="50"/>
                    </a:lnTo>
                    <a:lnTo>
                      <a:pt x="116" y="52"/>
                    </a:lnTo>
                    <a:lnTo>
                      <a:pt x="116" y="82"/>
                    </a:lnTo>
                    <a:close/>
                    <a:moveTo>
                      <a:pt x="156" y="82"/>
                    </a:moveTo>
                    <a:lnTo>
                      <a:pt x="156" y="82"/>
                    </a:lnTo>
                    <a:lnTo>
                      <a:pt x="148" y="82"/>
                    </a:lnTo>
                    <a:lnTo>
                      <a:pt x="148" y="82"/>
                    </a:lnTo>
                    <a:lnTo>
                      <a:pt x="136" y="82"/>
                    </a:lnTo>
                    <a:lnTo>
                      <a:pt x="136" y="54"/>
                    </a:lnTo>
                    <a:lnTo>
                      <a:pt x="136" y="54"/>
                    </a:lnTo>
                    <a:lnTo>
                      <a:pt x="148" y="54"/>
                    </a:lnTo>
                    <a:lnTo>
                      <a:pt x="148" y="54"/>
                    </a:lnTo>
                    <a:lnTo>
                      <a:pt x="156" y="54"/>
                    </a:lnTo>
                    <a:lnTo>
                      <a:pt x="15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9" name="Freeform 79">
                <a:extLst>
                  <a:ext uri="{FF2B5EF4-FFF2-40B4-BE49-F238E27FC236}">
                    <a16:creationId xmlns:a16="http://schemas.microsoft.com/office/drawing/2014/main" id="{66C68364-3A5D-C118-CB90-2DAEC3792A16}"/>
                  </a:ext>
                </a:extLst>
              </p:cNvPr>
              <p:cNvSpPr>
                <a:spLocks noEditPoints="1"/>
              </p:cNvSpPr>
              <p:nvPr/>
            </p:nvSpPr>
            <p:spPr bwMode="auto">
              <a:xfrm>
                <a:off x="14782800" y="4318000"/>
                <a:ext cx="473075" cy="155575"/>
              </a:xfrm>
              <a:custGeom>
                <a:avLst/>
                <a:gdLst>
                  <a:gd name="T0" fmla="*/ 144 w 298"/>
                  <a:gd name="T1" fmla="*/ 50 h 98"/>
                  <a:gd name="T2" fmla="*/ 82 w 298"/>
                  <a:gd name="T3" fmla="*/ 46 h 98"/>
                  <a:gd name="T4" fmla="*/ 44 w 298"/>
                  <a:gd name="T5" fmla="*/ 36 h 98"/>
                  <a:gd name="T6" fmla="*/ 12 w 298"/>
                  <a:gd name="T7" fmla="*/ 24 h 98"/>
                  <a:gd name="T8" fmla="*/ 0 w 298"/>
                  <a:gd name="T9" fmla="*/ 42 h 98"/>
                  <a:gd name="T10" fmla="*/ 0 w 298"/>
                  <a:gd name="T11" fmla="*/ 42 h 98"/>
                  <a:gd name="T12" fmla="*/ 4 w 298"/>
                  <a:gd name="T13" fmla="*/ 54 h 98"/>
                  <a:gd name="T14" fmla="*/ 26 w 298"/>
                  <a:gd name="T15" fmla="*/ 74 h 98"/>
                  <a:gd name="T16" fmla="*/ 66 w 298"/>
                  <a:gd name="T17" fmla="*/ 88 h 98"/>
                  <a:gd name="T18" fmla="*/ 120 w 298"/>
                  <a:gd name="T19" fmla="*/ 98 h 98"/>
                  <a:gd name="T20" fmla="*/ 150 w 298"/>
                  <a:gd name="T21" fmla="*/ 98 h 98"/>
                  <a:gd name="T22" fmla="*/ 206 w 298"/>
                  <a:gd name="T23" fmla="*/ 94 h 98"/>
                  <a:gd name="T24" fmla="*/ 254 w 298"/>
                  <a:gd name="T25" fmla="*/ 82 h 98"/>
                  <a:gd name="T26" fmla="*/ 286 w 298"/>
                  <a:gd name="T27" fmla="*/ 66 h 98"/>
                  <a:gd name="T28" fmla="*/ 298 w 298"/>
                  <a:gd name="T29" fmla="*/ 50 h 98"/>
                  <a:gd name="T30" fmla="*/ 298 w 298"/>
                  <a:gd name="T31" fmla="*/ 44 h 98"/>
                  <a:gd name="T32" fmla="*/ 298 w 298"/>
                  <a:gd name="T33" fmla="*/ 42 h 98"/>
                  <a:gd name="T34" fmla="*/ 298 w 298"/>
                  <a:gd name="T35" fmla="*/ 4 h 98"/>
                  <a:gd name="T36" fmla="*/ 298 w 298"/>
                  <a:gd name="T37" fmla="*/ 0 h 98"/>
                  <a:gd name="T38" fmla="*/ 276 w 298"/>
                  <a:gd name="T39" fmla="*/ 22 h 98"/>
                  <a:gd name="T40" fmla="*/ 238 w 298"/>
                  <a:gd name="T41" fmla="*/ 38 h 98"/>
                  <a:gd name="T42" fmla="*/ 194 w 298"/>
                  <a:gd name="T43" fmla="*/ 46 h 98"/>
                  <a:gd name="T44" fmla="*/ 144 w 298"/>
                  <a:gd name="T45" fmla="*/ 50 h 98"/>
                  <a:gd name="T46" fmla="*/ 36 w 298"/>
                  <a:gd name="T47" fmla="*/ 70 h 98"/>
                  <a:gd name="T48" fmla="*/ 24 w 298"/>
                  <a:gd name="T49" fmla="*/ 64 h 98"/>
                  <a:gd name="T50" fmla="*/ 16 w 298"/>
                  <a:gd name="T51" fmla="*/ 32 h 98"/>
                  <a:gd name="T52" fmla="*/ 22 w 298"/>
                  <a:gd name="T53" fmla="*/ 38 h 98"/>
                  <a:gd name="T54" fmla="*/ 36 w 298"/>
                  <a:gd name="T55" fmla="*/ 70 h 98"/>
                  <a:gd name="T56" fmla="*/ 76 w 298"/>
                  <a:gd name="T57" fmla="*/ 84 h 98"/>
                  <a:gd name="T58" fmla="*/ 56 w 298"/>
                  <a:gd name="T59" fmla="*/ 48 h 98"/>
                  <a:gd name="T60" fmla="*/ 76 w 298"/>
                  <a:gd name="T61" fmla="*/ 54 h 98"/>
                  <a:gd name="T62" fmla="*/ 118 w 298"/>
                  <a:gd name="T63" fmla="*/ 90 h 98"/>
                  <a:gd name="T64" fmla="*/ 96 w 298"/>
                  <a:gd name="T65" fmla="*/ 86 h 98"/>
                  <a:gd name="T66" fmla="*/ 96 w 298"/>
                  <a:gd name="T67" fmla="*/ 58 h 98"/>
                  <a:gd name="T68" fmla="*/ 118 w 298"/>
                  <a:gd name="T69" fmla="*/ 90 h 98"/>
                  <a:gd name="T70" fmla="*/ 158 w 298"/>
                  <a:gd name="T71" fmla="*/ 90 h 98"/>
                  <a:gd name="T72" fmla="*/ 150 w 298"/>
                  <a:gd name="T73" fmla="*/ 90 h 98"/>
                  <a:gd name="T74" fmla="*/ 138 w 298"/>
                  <a:gd name="T75" fmla="*/ 62 h 98"/>
                  <a:gd name="T76" fmla="*/ 150 w 298"/>
                  <a:gd name="T77" fmla="*/ 62 h 98"/>
                  <a:gd name="T78" fmla="*/ 158 w 298"/>
                  <a:gd name="T79" fmla="*/ 62 h 98"/>
                  <a:gd name="T80" fmla="*/ 280 w 298"/>
                  <a:gd name="T81" fmla="*/ 60 h 98"/>
                  <a:gd name="T82" fmla="*/ 274 w 298"/>
                  <a:gd name="T83" fmla="*/ 64 h 98"/>
                  <a:gd name="T84" fmla="*/ 266 w 298"/>
                  <a:gd name="T85" fmla="*/ 40 h 98"/>
                  <a:gd name="T86" fmla="*/ 274 w 298"/>
                  <a:gd name="T87" fmla="*/ 36 h 98"/>
                  <a:gd name="T88" fmla="*/ 280 w 298"/>
                  <a:gd name="T89" fmla="*/ 6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98">
                    <a:moveTo>
                      <a:pt x="144" y="50"/>
                    </a:moveTo>
                    <a:lnTo>
                      <a:pt x="144" y="50"/>
                    </a:lnTo>
                    <a:lnTo>
                      <a:pt x="102" y="48"/>
                    </a:lnTo>
                    <a:lnTo>
                      <a:pt x="82" y="46"/>
                    </a:lnTo>
                    <a:lnTo>
                      <a:pt x="62" y="42"/>
                    </a:lnTo>
                    <a:lnTo>
                      <a:pt x="44" y="36"/>
                    </a:lnTo>
                    <a:lnTo>
                      <a:pt x="28" y="30"/>
                    </a:lnTo>
                    <a:lnTo>
                      <a:pt x="12" y="24"/>
                    </a:lnTo>
                    <a:lnTo>
                      <a:pt x="0" y="14"/>
                    </a:lnTo>
                    <a:lnTo>
                      <a:pt x="0" y="42"/>
                    </a:lnTo>
                    <a:lnTo>
                      <a:pt x="0" y="42"/>
                    </a:lnTo>
                    <a:lnTo>
                      <a:pt x="0" y="42"/>
                    </a:lnTo>
                    <a:lnTo>
                      <a:pt x="2" y="48"/>
                    </a:lnTo>
                    <a:lnTo>
                      <a:pt x="4" y="54"/>
                    </a:lnTo>
                    <a:lnTo>
                      <a:pt x="12" y="64"/>
                    </a:lnTo>
                    <a:lnTo>
                      <a:pt x="26" y="74"/>
                    </a:lnTo>
                    <a:lnTo>
                      <a:pt x="44" y="82"/>
                    </a:lnTo>
                    <a:lnTo>
                      <a:pt x="66" y="88"/>
                    </a:lnTo>
                    <a:lnTo>
                      <a:pt x="92" y="94"/>
                    </a:lnTo>
                    <a:lnTo>
                      <a:pt x="120" y="98"/>
                    </a:lnTo>
                    <a:lnTo>
                      <a:pt x="150" y="98"/>
                    </a:lnTo>
                    <a:lnTo>
                      <a:pt x="150" y="98"/>
                    </a:lnTo>
                    <a:lnTo>
                      <a:pt x="180" y="98"/>
                    </a:lnTo>
                    <a:lnTo>
                      <a:pt x="206" y="94"/>
                    </a:lnTo>
                    <a:lnTo>
                      <a:pt x="232" y="90"/>
                    </a:lnTo>
                    <a:lnTo>
                      <a:pt x="254" y="82"/>
                    </a:lnTo>
                    <a:lnTo>
                      <a:pt x="272" y="74"/>
                    </a:lnTo>
                    <a:lnTo>
                      <a:pt x="286" y="66"/>
                    </a:lnTo>
                    <a:lnTo>
                      <a:pt x="294" y="56"/>
                    </a:lnTo>
                    <a:lnTo>
                      <a:pt x="298" y="50"/>
                    </a:lnTo>
                    <a:lnTo>
                      <a:pt x="298" y="44"/>
                    </a:lnTo>
                    <a:lnTo>
                      <a:pt x="298" y="44"/>
                    </a:lnTo>
                    <a:lnTo>
                      <a:pt x="298" y="42"/>
                    </a:lnTo>
                    <a:lnTo>
                      <a:pt x="298" y="42"/>
                    </a:lnTo>
                    <a:lnTo>
                      <a:pt x="298" y="4"/>
                    </a:lnTo>
                    <a:lnTo>
                      <a:pt x="298" y="4"/>
                    </a:lnTo>
                    <a:lnTo>
                      <a:pt x="298" y="0"/>
                    </a:lnTo>
                    <a:lnTo>
                      <a:pt x="298" y="0"/>
                    </a:lnTo>
                    <a:lnTo>
                      <a:pt x="290" y="12"/>
                    </a:lnTo>
                    <a:lnTo>
                      <a:pt x="276" y="22"/>
                    </a:lnTo>
                    <a:lnTo>
                      <a:pt x="258" y="30"/>
                    </a:lnTo>
                    <a:lnTo>
                      <a:pt x="238" y="38"/>
                    </a:lnTo>
                    <a:lnTo>
                      <a:pt x="216" y="44"/>
                    </a:lnTo>
                    <a:lnTo>
                      <a:pt x="194" y="46"/>
                    </a:lnTo>
                    <a:lnTo>
                      <a:pt x="168" y="50"/>
                    </a:lnTo>
                    <a:lnTo>
                      <a:pt x="144" y="50"/>
                    </a:lnTo>
                    <a:lnTo>
                      <a:pt x="144" y="50"/>
                    </a:lnTo>
                    <a:close/>
                    <a:moveTo>
                      <a:pt x="36" y="70"/>
                    </a:moveTo>
                    <a:lnTo>
                      <a:pt x="36" y="70"/>
                    </a:lnTo>
                    <a:lnTo>
                      <a:pt x="24" y="64"/>
                    </a:lnTo>
                    <a:lnTo>
                      <a:pt x="16" y="58"/>
                    </a:lnTo>
                    <a:lnTo>
                      <a:pt x="16" y="32"/>
                    </a:lnTo>
                    <a:lnTo>
                      <a:pt x="16" y="32"/>
                    </a:lnTo>
                    <a:lnTo>
                      <a:pt x="22" y="38"/>
                    </a:lnTo>
                    <a:lnTo>
                      <a:pt x="36" y="42"/>
                    </a:lnTo>
                    <a:lnTo>
                      <a:pt x="36" y="70"/>
                    </a:lnTo>
                    <a:close/>
                    <a:moveTo>
                      <a:pt x="76" y="84"/>
                    </a:moveTo>
                    <a:lnTo>
                      <a:pt x="76" y="84"/>
                    </a:lnTo>
                    <a:lnTo>
                      <a:pt x="56" y="78"/>
                    </a:lnTo>
                    <a:lnTo>
                      <a:pt x="56" y="48"/>
                    </a:lnTo>
                    <a:lnTo>
                      <a:pt x="56" y="48"/>
                    </a:lnTo>
                    <a:lnTo>
                      <a:pt x="76" y="54"/>
                    </a:lnTo>
                    <a:lnTo>
                      <a:pt x="76" y="84"/>
                    </a:lnTo>
                    <a:close/>
                    <a:moveTo>
                      <a:pt x="118" y="90"/>
                    </a:moveTo>
                    <a:lnTo>
                      <a:pt x="118" y="90"/>
                    </a:lnTo>
                    <a:lnTo>
                      <a:pt x="96" y="86"/>
                    </a:lnTo>
                    <a:lnTo>
                      <a:pt x="96" y="58"/>
                    </a:lnTo>
                    <a:lnTo>
                      <a:pt x="96" y="58"/>
                    </a:lnTo>
                    <a:lnTo>
                      <a:pt x="118" y="60"/>
                    </a:lnTo>
                    <a:lnTo>
                      <a:pt x="118" y="90"/>
                    </a:lnTo>
                    <a:close/>
                    <a:moveTo>
                      <a:pt x="158" y="90"/>
                    </a:moveTo>
                    <a:lnTo>
                      <a:pt x="158" y="90"/>
                    </a:lnTo>
                    <a:lnTo>
                      <a:pt x="150" y="90"/>
                    </a:lnTo>
                    <a:lnTo>
                      <a:pt x="150" y="90"/>
                    </a:lnTo>
                    <a:lnTo>
                      <a:pt x="138" y="90"/>
                    </a:lnTo>
                    <a:lnTo>
                      <a:pt x="138" y="62"/>
                    </a:lnTo>
                    <a:lnTo>
                      <a:pt x="138" y="62"/>
                    </a:lnTo>
                    <a:lnTo>
                      <a:pt x="150" y="62"/>
                    </a:lnTo>
                    <a:lnTo>
                      <a:pt x="150" y="62"/>
                    </a:lnTo>
                    <a:lnTo>
                      <a:pt x="158" y="62"/>
                    </a:lnTo>
                    <a:lnTo>
                      <a:pt x="158" y="90"/>
                    </a:lnTo>
                    <a:close/>
                    <a:moveTo>
                      <a:pt x="280" y="60"/>
                    </a:moveTo>
                    <a:lnTo>
                      <a:pt x="280" y="60"/>
                    </a:lnTo>
                    <a:lnTo>
                      <a:pt x="274" y="64"/>
                    </a:lnTo>
                    <a:lnTo>
                      <a:pt x="266" y="70"/>
                    </a:lnTo>
                    <a:lnTo>
                      <a:pt x="266" y="40"/>
                    </a:lnTo>
                    <a:lnTo>
                      <a:pt x="266" y="40"/>
                    </a:lnTo>
                    <a:lnTo>
                      <a:pt x="274" y="36"/>
                    </a:lnTo>
                    <a:lnTo>
                      <a:pt x="280" y="32"/>
                    </a:lnTo>
                    <a:lnTo>
                      <a:pt x="28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0" name="Freeform 80">
                <a:extLst>
                  <a:ext uri="{FF2B5EF4-FFF2-40B4-BE49-F238E27FC236}">
                    <a16:creationId xmlns:a16="http://schemas.microsoft.com/office/drawing/2014/main" id="{3D1CF785-C6A1-69AA-2853-6D9E771F6651}"/>
                  </a:ext>
                </a:extLst>
              </p:cNvPr>
              <p:cNvSpPr>
                <a:spLocks noEditPoints="1"/>
              </p:cNvSpPr>
              <p:nvPr/>
            </p:nvSpPr>
            <p:spPr bwMode="auto">
              <a:xfrm>
                <a:off x="14773275" y="4222750"/>
                <a:ext cx="473075" cy="155575"/>
              </a:xfrm>
              <a:custGeom>
                <a:avLst/>
                <a:gdLst>
                  <a:gd name="T0" fmla="*/ 0 w 298"/>
                  <a:gd name="T1" fmla="*/ 42 h 98"/>
                  <a:gd name="T2" fmla="*/ 4 w 298"/>
                  <a:gd name="T3" fmla="*/ 54 h 98"/>
                  <a:gd name="T4" fmla="*/ 26 w 298"/>
                  <a:gd name="T5" fmla="*/ 74 h 98"/>
                  <a:gd name="T6" fmla="*/ 66 w 298"/>
                  <a:gd name="T7" fmla="*/ 90 h 98"/>
                  <a:gd name="T8" fmla="*/ 120 w 298"/>
                  <a:gd name="T9" fmla="*/ 98 h 98"/>
                  <a:gd name="T10" fmla="*/ 150 w 298"/>
                  <a:gd name="T11" fmla="*/ 98 h 98"/>
                  <a:gd name="T12" fmla="*/ 206 w 298"/>
                  <a:gd name="T13" fmla="*/ 94 h 98"/>
                  <a:gd name="T14" fmla="*/ 252 w 298"/>
                  <a:gd name="T15" fmla="*/ 84 h 98"/>
                  <a:gd name="T16" fmla="*/ 284 w 298"/>
                  <a:gd name="T17" fmla="*/ 66 h 98"/>
                  <a:gd name="T18" fmla="*/ 296 w 298"/>
                  <a:gd name="T19" fmla="*/ 50 h 98"/>
                  <a:gd name="T20" fmla="*/ 298 w 298"/>
                  <a:gd name="T21" fmla="*/ 44 h 98"/>
                  <a:gd name="T22" fmla="*/ 298 w 298"/>
                  <a:gd name="T23" fmla="*/ 42 h 98"/>
                  <a:gd name="T24" fmla="*/ 298 w 298"/>
                  <a:gd name="T25" fmla="*/ 16 h 98"/>
                  <a:gd name="T26" fmla="*/ 272 w 298"/>
                  <a:gd name="T27" fmla="*/ 30 h 98"/>
                  <a:gd name="T28" fmla="*/ 238 w 298"/>
                  <a:gd name="T29" fmla="*/ 42 h 98"/>
                  <a:gd name="T30" fmla="*/ 198 w 298"/>
                  <a:gd name="T31" fmla="*/ 48 h 98"/>
                  <a:gd name="T32" fmla="*/ 156 w 298"/>
                  <a:gd name="T33" fmla="*/ 50 h 98"/>
                  <a:gd name="T34" fmla="*/ 106 w 298"/>
                  <a:gd name="T35" fmla="*/ 48 h 98"/>
                  <a:gd name="T36" fmla="*/ 60 w 298"/>
                  <a:gd name="T37" fmla="*/ 38 h 98"/>
                  <a:gd name="T38" fmla="*/ 24 w 298"/>
                  <a:gd name="T39" fmla="*/ 22 h 98"/>
                  <a:gd name="T40" fmla="*/ 0 w 298"/>
                  <a:gd name="T41" fmla="*/ 0 h 98"/>
                  <a:gd name="T42" fmla="*/ 0 w 298"/>
                  <a:gd name="T43" fmla="*/ 4 h 98"/>
                  <a:gd name="T44" fmla="*/ 0 w 298"/>
                  <a:gd name="T45" fmla="*/ 6 h 98"/>
                  <a:gd name="T46" fmla="*/ 0 w 298"/>
                  <a:gd name="T47" fmla="*/ 42 h 98"/>
                  <a:gd name="T48" fmla="*/ 264 w 298"/>
                  <a:gd name="T49" fmla="*/ 44 h 98"/>
                  <a:gd name="T50" fmla="*/ 280 w 298"/>
                  <a:gd name="T51" fmla="*/ 38 h 98"/>
                  <a:gd name="T52" fmla="*/ 280 w 298"/>
                  <a:gd name="T53" fmla="*/ 60 h 98"/>
                  <a:gd name="T54" fmla="*/ 264 w 298"/>
                  <a:gd name="T55" fmla="*/ 70 h 98"/>
                  <a:gd name="T56" fmla="*/ 138 w 298"/>
                  <a:gd name="T57" fmla="*/ 62 h 98"/>
                  <a:gd name="T58" fmla="*/ 150 w 298"/>
                  <a:gd name="T59" fmla="*/ 62 h 98"/>
                  <a:gd name="T60" fmla="*/ 158 w 298"/>
                  <a:gd name="T61" fmla="*/ 62 h 98"/>
                  <a:gd name="T62" fmla="*/ 158 w 298"/>
                  <a:gd name="T63" fmla="*/ 90 h 98"/>
                  <a:gd name="T64" fmla="*/ 150 w 298"/>
                  <a:gd name="T65" fmla="*/ 90 h 98"/>
                  <a:gd name="T66" fmla="*/ 138 w 298"/>
                  <a:gd name="T67" fmla="*/ 62 h 98"/>
                  <a:gd name="T68" fmla="*/ 96 w 298"/>
                  <a:gd name="T69" fmla="*/ 58 h 98"/>
                  <a:gd name="T70" fmla="*/ 116 w 298"/>
                  <a:gd name="T71" fmla="*/ 90 h 98"/>
                  <a:gd name="T72" fmla="*/ 96 w 298"/>
                  <a:gd name="T73" fmla="*/ 88 h 98"/>
                  <a:gd name="T74" fmla="*/ 56 w 298"/>
                  <a:gd name="T75" fmla="*/ 48 h 98"/>
                  <a:gd name="T76" fmla="*/ 76 w 298"/>
                  <a:gd name="T77" fmla="*/ 54 h 98"/>
                  <a:gd name="T78" fmla="*/ 76 w 298"/>
                  <a:gd name="T79" fmla="*/ 84 h 98"/>
                  <a:gd name="T80" fmla="*/ 56 w 298"/>
                  <a:gd name="T81" fmla="*/ 48 h 98"/>
                  <a:gd name="T82" fmla="*/ 14 w 298"/>
                  <a:gd name="T83" fmla="*/ 28 h 98"/>
                  <a:gd name="T84" fmla="*/ 36 w 298"/>
                  <a:gd name="T85" fmla="*/ 40 h 98"/>
                  <a:gd name="T86" fmla="*/ 36 w 298"/>
                  <a:gd name="T87" fmla="*/ 70 h 98"/>
                  <a:gd name="T88" fmla="*/ 14 w 298"/>
                  <a:gd name="T89" fmla="*/ 5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98">
                    <a:moveTo>
                      <a:pt x="0" y="42"/>
                    </a:moveTo>
                    <a:lnTo>
                      <a:pt x="0" y="42"/>
                    </a:lnTo>
                    <a:lnTo>
                      <a:pt x="2" y="48"/>
                    </a:lnTo>
                    <a:lnTo>
                      <a:pt x="4" y="54"/>
                    </a:lnTo>
                    <a:lnTo>
                      <a:pt x="12" y="64"/>
                    </a:lnTo>
                    <a:lnTo>
                      <a:pt x="26" y="74"/>
                    </a:lnTo>
                    <a:lnTo>
                      <a:pt x="44" y="82"/>
                    </a:lnTo>
                    <a:lnTo>
                      <a:pt x="66" y="90"/>
                    </a:lnTo>
                    <a:lnTo>
                      <a:pt x="92" y="94"/>
                    </a:lnTo>
                    <a:lnTo>
                      <a:pt x="120" y="98"/>
                    </a:lnTo>
                    <a:lnTo>
                      <a:pt x="150" y="98"/>
                    </a:lnTo>
                    <a:lnTo>
                      <a:pt x="150" y="98"/>
                    </a:lnTo>
                    <a:lnTo>
                      <a:pt x="178" y="98"/>
                    </a:lnTo>
                    <a:lnTo>
                      <a:pt x="206" y="94"/>
                    </a:lnTo>
                    <a:lnTo>
                      <a:pt x="230" y="90"/>
                    </a:lnTo>
                    <a:lnTo>
                      <a:pt x="252" y="84"/>
                    </a:lnTo>
                    <a:lnTo>
                      <a:pt x="270" y="76"/>
                    </a:lnTo>
                    <a:lnTo>
                      <a:pt x="284" y="66"/>
                    </a:lnTo>
                    <a:lnTo>
                      <a:pt x="294" y="56"/>
                    </a:lnTo>
                    <a:lnTo>
                      <a:pt x="296" y="50"/>
                    </a:lnTo>
                    <a:lnTo>
                      <a:pt x="298" y="44"/>
                    </a:lnTo>
                    <a:lnTo>
                      <a:pt x="298" y="44"/>
                    </a:lnTo>
                    <a:lnTo>
                      <a:pt x="298" y="42"/>
                    </a:lnTo>
                    <a:lnTo>
                      <a:pt x="298" y="42"/>
                    </a:lnTo>
                    <a:lnTo>
                      <a:pt x="298" y="16"/>
                    </a:lnTo>
                    <a:lnTo>
                      <a:pt x="298" y="16"/>
                    </a:lnTo>
                    <a:lnTo>
                      <a:pt x="286" y="24"/>
                    </a:lnTo>
                    <a:lnTo>
                      <a:pt x="272" y="30"/>
                    </a:lnTo>
                    <a:lnTo>
                      <a:pt x="256" y="36"/>
                    </a:lnTo>
                    <a:lnTo>
                      <a:pt x="238" y="42"/>
                    </a:lnTo>
                    <a:lnTo>
                      <a:pt x="218" y="46"/>
                    </a:lnTo>
                    <a:lnTo>
                      <a:pt x="198" y="48"/>
                    </a:lnTo>
                    <a:lnTo>
                      <a:pt x="156" y="50"/>
                    </a:lnTo>
                    <a:lnTo>
                      <a:pt x="156" y="50"/>
                    </a:lnTo>
                    <a:lnTo>
                      <a:pt x="130" y="50"/>
                    </a:lnTo>
                    <a:lnTo>
                      <a:pt x="106" y="48"/>
                    </a:lnTo>
                    <a:lnTo>
                      <a:pt x="82" y="44"/>
                    </a:lnTo>
                    <a:lnTo>
                      <a:pt x="60" y="38"/>
                    </a:lnTo>
                    <a:lnTo>
                      <a:pt x="40" y="30"/>
                    </a:lnTo>
                    <a:lnTo>
                      <a:pt x="24" y="22"/>
                    </a:lnTo>
                    <a:lnTo>
                      <a:pt x="10" y="12"/>
                    </a:lnTo>
                    <a:lnTo>
                      <a:pt x="0" y="0"/>
                    </a:lnTo>
                    <a:lnTo>
                      <a:pt x="0" y="0"/>
                    </a:lnTo>
                    <a:lnTo>
                      <a:pt x="0" y="4"/>
                    </a:lnTo>
                    <a:lnTo>
                      <a:pt x="0" y="4"/>
                    </a:lnTo>
                    <a:lnTo>
                      <a:pt x="0" y="6"/>
                    </a:lnTo>
                    <a:lnTo>
                      <a:pt x="0" y="42"/>
                    </a:lnTo>
                    <a:lnTo>
                      <a:pt x="0" y="42"/>
                    </a:lnTo>
                    <a:close/>
                    <a:moveTo>
                      <a:pt x="264" y="44"/>
                    </a:moveTo>
                    <a:lnTo>
                      <a:pt x="264" y="44"/>
                    </a:lnTo>
                    <a:lnTo>
                      <a:pt x="272" y="42"/>
                    </a:lnTo>
                    <a:lnTo>
                      <a:pt x="280" y="38"/>
                    </a:lnTo>
                    <a:lnTo>
                      <a:pt x="280" y="60"/>
                    </a:lnTo>
                    <a:lnTo>
                      <a:pt x="280" y="60"/>
                    </a:lnTo>
                    <a:lnTo>
                      <a:pt x="274" y="66"/>
                    </a:lnTo>
                    <a:lnTo>
                      <a:pt x="264" y="70"/>
                    </a:lnTo>
                    <a:lnTo>
                      <a:pt x="264" y="44"/>
                    </a:lnTo>
                    <a:close/>
                    <a:moveTo>
                      <a:pt x="138" y="62"/>
                    </a:moveTo>
                    <a:lnTo>
                      <a:pt x="138" y="62"/>
                    </a:lnTo>
                    <a:lnTo>
                      <a:pt x="150" y="62"/>
                    </a:lnTo>
                    <a:lnTo>
                      <a:pt x="150" y="62"/>
                    </a:lnTo>
                    <a:lnTo>
                      <a:pt x="158" y="62"/>
                    </a:lnTo>
                    <a:lnTo>
                      <a:pt x="158" y="90"/>
                    </a:lnTo>
                    <a:lnTo>
                      <a:pt x="158" y="90"/>
                    </a:lnTo>
                    <a:lnTo>
                      <a:pt x="150" y="90"/>
                    </a:lnTo>
                    <a:lnTo>
                      <a:pt x="150" y="90"/>
                    </a:lnTo>
                    <a:lnTo>
                      <a:pt x="138" y="90"/>
                    </a:lnTo>
                    <a:lnTo>
                      <a:pt x="138" y="62"/>
                    </a:lnTo>
                    <a:close/>
                    <a:moveTo>
                      <a:pt x="96" y="58"/>
                    </a:moveTo>
                    <a:lnTo>
                      <a:pt x="96" y="58"/>
                    </a:lnTo>
                    <a:lnTo>
                      <a:pt x="116" y="60"/>
                    </a:lnTo>
                    <a:lnTo>
                      <a:pt x="116" y="90"/>
                    </a:lnTo>
                    <a:lnTo>
                      <a:pt x="116" y="90"/>
                    </a:lnTo>
                    <a:lnTo>
                      <a:pt x="96" y="88"/>
                    </a:lnTo>
                    <a:lnTo>
                      <a:pt x="96" y="58"/>
                    </a:lnTo>
                    <a:close/>
                    <a:moveTo>
                      <a:pt x="56" y="48"/>
                    </a:moveTo>
                    <a:lnTo>
                      <a:pt x="56" y="48"/>
                    </a:lnTo>
                    <a:lnTo>
                      <a:pt x="76" y="54"/>
                    </a:lnTo>
                    <a:lnTo>
                      <a:pt x="76" y="84"/>
                    </a:lnTo>
                    <a:lnTo>
                      <a:pt x="76" y="84"/>
                    </a:lnTo>
                    <a:lnTo>
                      <a:pt x="56" y="78"/>
                    </a:lnTo>
                    <a:lnTo>
                      <a:pt x="56" y="48"/>
                    </a:lnTo>
                    <a:close/>
                    <a:moveTo>
                      <a:pt x="14" y="28"/>
                    </a:moveTo>
                    <a:lnTo>
                      <a:pt x="14" y="28"/>
                    </a:lnTo>
                    <a:lnTo>
                      <a:pt x="24" y="34"/>
                    </a:lnTo>
                    <a:lnTo>
                      <a:pt x="36" y="40"/>
                    </a:lnTo>
                    <a:lnTo>
                      <a:pt x="36" y="70"/>
                    </a:lnTo>
                    <a:lnTo>
                      <a:pt x="36" y="70"/>
                    </a:lnTo>
                    <a:lnTo>
                      <a:pt x="22" y="64"/>
                    </a:lnTo>
                    <a:lnTo>
                      <a:pt x="14" y="58"/>
                    </a:lnTo>
                    <a:lnTo>
                      <a:pt x="1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1" name="Freeform 81">
                <a:extLst>
                  <a:ext uri="{FF2B5EF4-FFF2-40B4-BE49-F238E27FC236}">
                    <a16:creationId xmlns:a16="http://schemas.microsoft.com/office/drawing/2014/main" id="{61F7B22B-A0C9-4C13-FED5-3CB524747900}"/>
                  </a:ext>
                </a:extLst>
              </p:cNvPr>
              <p:cNvSpPr>
                <a:spLocks noEditPoints="1"/>
              </p:cNvSpPr>
              <p:nvPr/>
            </p:nvSpPr>
            <p:spPr bwMode="auto">
              <a:xfrm>
                <a:off x="14773275" y="4413250"/>
                <a:ext cx="473075" cy="155575"/>
              </a:xfrm>
              <a:custGeom>
                <a:avLst/>
                <a:gdLst>
                  <a:gd name="T0" fmla="*/ 0 w 298"/>
                  <a:gd name="T1" fmla="*/ 0 h 98"/>
                  <a:gd name="T2" fmla="*/ 0 w 298"/>
                  <a:gd name="T3" fmla="*/ 4 h 98"/>
                  <a:gd name="T4" fmla="*/ 0 w 298"/>
                  <a:gd name="T5" fmla="*/ 42 h 98"/>
                  <a:gd name="T6" fmla="*/ 0 w 298"/>
                  <a:gd name="T7" fmla="*/ 42 h 98"/>
                  <a:gd name="T8" fmla="*/ 4 w 298"/>
                  <a:gd name="T9" fmla="*/ 54 h 98"/>
                  <a:gd name="T10" fmla="*/ 26 w 298"/>
                  <a:gd name="T11" fmla="*/ 74 h 98"/>
                  <a:gd name="T12" fmla="*/ 66 w 298"/>
                  <a:gd name="T13" fmla="*/ 88 h 98"/>
                  <a:gd name="T14" fmla="*/ 120 w 298"/>
                  <a:gd name="T15" fmla="*/ 96 h 98"/>
                  <a:gd name="T16" fmla="*/ 150 w 298"/>
                  <a:gd name="T17" fmla="*/ 98 h 98"/>
                  <a:gd name="T18" fmla="*/ 206 w 298"/>
                  <a:gd name="T19" fmla="*/ 94 h 98"/>
                  <a:gd name="T20" fmla="*/ 252 w 298"/>
                  <a:gd name="T21" fmla="*/ 82 h 98"/>
                  <a:gd name="T22" fmla="*/ 284 w 298"/>
                  <a:gd name="T23" fmla="*/ 66 h 98"/>
                  <a:gd name="T24" fmla="*/ 296 w 298"/>
                  <a:gd name="T25" fmla="*/ 50 h 98"/>
                  <a:gd name="T26" fmla="*/ 298 w 298"/>
                  <a:gd name="T27" fmla="*/ 44 h 98"/>
                  <a:gd name="T28" fmla="*/ 298 w 298"/>
                  <a:gd name="T29" fmla="*/ 42 h 98"/>
                  <a:gd name="T30" fmla="*/ 298 w 298"/>
                  <a:gd name="T31" fmla="*/ 14 h 98"/>
                  <a:gd name="T32" fmla="*/ 272 w 298"/>
                  <a:gd name="T33" fmla="*/ 30 h 98"/>
                  <a:gd name="T34" fmla="*/ 238 w 298"/>
                  <a:gd name="T35" fmla="*/ 40 h 98"/>
                  <a:gd name="T36" fmla="*/ 198 w 298"/>
                  <a:gd name="T37" fmla="*/ 48 h 98"/>
                  <a:gd name="T38" fmla="*/ 156 w 298"/>
                  <a:gd name="T39" fmla="*/ 50 h 98"/>
                  <a:gd name="T40" fmla="*/ 106 w 298"/>
                  <a:gd name="T41" fmla="*/ 46 h 98"/>
                  <a:gd name="T42" fmla="*/ 60 w 298"/>
                  <a:gd name="T43" fmla="*/ 36 h 98"/>
                  <a:gd name="T44" fmla="*/ 24 w 298"/>
                  <a:gd name="T45" fmla="*/ 22 h 98"/>
                  <a:gd name="T46" fmla="*/ 0 w 298"/>
                  <a:gd name="T47" fmla="*/ 0 h 98"/>
                  <a:gd name="T48" fmla="*/ 36 w 298"/>
                  <a:gd name="T49" fmla="*/ 70 h 98"/>
                  <a:gd name="T50" fmla="*/ 22 w 298"/>
                  <a:gd name="T51" fmla="*/ 64 h 98"/>
                  <a:gd name="T52" fmla="*/ 14 w 298"/>
                  <a:gd name="T53" fmla="*/ 26 h 98"/>
                  <a:gd name="T54" fmla="*/ 24 w 298"/>
                  <a:gd name="T55" fmla="*/ 34 h 98"/>
                  <a:gd name="T56" fmla="*/ 36 w 298"/>
                  <a:gd name="T57" fmla="*/ 70 h 98"/>
                  <a:gd name="T58" fmla="*/ 76 w 298"/>
                  <a:gd name="T59" fmla="*/ 82 h 98"/>
                  <a:gd name="T60" fmla="*/ 56 w 298"/>
                  <a:gd name="T61" fmla="*/ 48 h 98"/>
                  <a:gd name="T62" fmla="*/ 76 w 298"/>
                  <a:gd name="T63" fmla="*/ 54 h 98"/>
                  <a:gd name="T64" fmla="*/ 116 w 298"/>
                  <a:gd name="T65" fmla="*/ 88 h 98"/>
                  <a:gd name="T66" fmla="*/ 96 w 298"/>
                  <a:gd name="T67" fmla="*/ 86 h 98"/>
                  <a:gd name="T68" fmla="*/ 96 w 298"/>
                  <a:gd name="T69" fmla="*/ 56 h 98"/>
                  <a:gd name="T70" fmla="*/ 116 w 298"/>
                  <a:gd name="T71" fmla="*/ 88 h 98"/>
                  <a:gd name="T72" fmla="*/ 264 w 298"/>
                  <a:gd name="T73" fmla="*/ 44 h 98"/>
                  <a:gd name="T74" fmla="*/ 280 w 298"/>
                  <a:gd name="T75" fmla="*/ 36 h 98"/>
                  <a:gd name="T76" fmla="*/ 280 w 298"/>
                  <a:gd name="T77" fmla="*/ 60 h 98"/>
                  <a:gd name="T78" fmla="*/ 264 w 298"/>
                  <a:gd name="T79" fmla="*/ 70 h 98"/>
                  <a:gd name="T80" fmla="*/ 158 w 298"/>
                  <a:gd name="T81" fmla="*/ 90 h 98"/>
                  <a:gd name="T82" fmla="*/ 150 w 298"/>
                  <a:gd name="T83" fmla="*/ 90 h 98"/>
                  <a:gd name="T84" fmla="*/ 138 w 298"/>
                  <a:gd name="T85" fmla="*/ 90 h 98"/>
                  <a:gd name="T86" fmla="*/ 138 w 298"/>
                  <a:gd name="T87" fmla="*/ 60 h 98"/>
                  <a:gd name="T88" fmla="*/ 150 w 298"/>
                  <a:gd name="T89" fmla="*/ 60 h 98"/>
                  <a:gd name="T90" fmla="*/ 158 w 298"/>
                  <a:gd name="T9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8" h="98">
                    <a:moveTo>
                      <a:pt x="0" y="0"/>
                    </a:moveTo>
                    <a:lnTo>
                      <a:pt x="0" y="0"/>
                    </a:lnTo>
                    <a:lnTo>
                      <a:pt x="0" y="4"/>
                    </a:lnTo>
                    <a:lnTo>
                      <a:pt x="0" y="4"/>
                    </a:lnTo>
                    <a:lnTo>
                      <a:pt x="0" y="4"/>
                    </a:lnTo>
                    <a:lnTo>
                      <a:pt x="0" y="42"/>
                    </a:lnTo>
                    <a:lnTo>
                      <a:pt x="0" y="42"/>
                    </a:lnTo>
                    <a:lnTo>
                      <a:pt x="0" y="42"/>
                    </a:lnTo>
                    <a:lnTo>
                      <a:pt x="2" y="48"/>
                    </a:lnTo>
                    <a:lnTo>
                      <a:pt x="4" y="54"/>
                    </a:lnTo>
                    <a:lnTo>
                      <a:pt x="12" y="64"/>
                    </a:lnTo>
                    <a:lnTo>
                      <a:pt x="26" y="74"/>
                    </a:lnTo>
                    <a:lnTo>
                      <a:pt x="44" y="82"/>
                    </a:lnTo>
                    <a:lnTo>
                      <a:pt x="66" y="88"/>
                    </a:lnTo>
                    <a:lnTo>
                      <a:pt x="92" y="94"/>
                    </a:lnTo>
                    <a:lnTo>
                      <a:pt x="120" y="96"/>
                    </a:lnTo>
                    <a:lnTo>
                      <a:pt x="150" y="98"/>
                    </a:lnTo>
                    <a:lnTo>
                      <a:pt x="150" y="98"/>
                    </a:lnTo>
                    <a:lnTo>
                      <a:pt x="178" y="96"/>
                    </a:lnTo>
                    <a:lnTo>
                      <a:pt x="206" y="94"/>
                    </a:lnTo>
                    <a:lnTo>
                      <a:pt x="230" y="88"/>
                    </a:lnTo>
                    <a:lnTo>
                      <a:pt x="252" y="82"/>
                    </a:lnTo>
                    <a:lnTo>
                      <a:pt x="270" y="74"/>
                    </a:lnTo>
                    <a:lnTo>
                      <a:pt x="284" y="66"/>
                    </a:lnTo>
                    <a:lnTo>
                      <a:pt x="294" y="54"/>
                    </a:lnTo>
                    <a:lnTo>
                      <a:pt x="296" y="50"/>
                    </a:lnTo>
                    <a:lnTo>
                      <a:pt x="298" y="44"/>
                    </a:lnTo>
                    <a:lnTo>
                      <a:pt x="298" y="44"/>
                    </a:lnTo>
                    <a:lnTo>
                      <a:pt x="298" y="42"/>
                    </a:lnTo>
                    <a:lnTo>
                      <a:pt x="298" y="42"/>
                    </a:lnTo>
                    <a:lnTo>
                      <a:pt x="298" y="14"/>
                    </a:lnTo>
                    <a:lnTo>
                      <a:pt x="298" y="14"/>
                    </a:lnTo>
                    <a:lnTo>
                      <a:pt x="286" y="22"/>
                    </a:lnTo>
                    <a:lnTo>
                      <a:pt x="272" y="30"/>
                    </a:lnTo>
                    <a:lnTo>
                      <a:pt x="256" y="36"/>
                    </a:lnTo>
                    <a:lnTo>
                      <a:pt x="238" y="40"/>
                    </a:lnTo>
                    <a:lnTo>
                      <a:pt x="218" y="44"/>
                    </a:lnTo>
                    <a:lnTo>
                      <a:pt x="198" y="48"/>
                    </a:lnTo>
                    <a:lnTo>
                      <a:pt x="156" y="50"/>
                    </a:lnTo>
                    <a:lnTo>
                      <a:pt x="156" y="50"/>
                    </a:lnTo>
                    <a:lnTo>
                      <a:pt x="130" y="48"/>
                    </a:lnTo>
                    <a:lnTo>
                      <a:pt x="106" y="46"/>
                    </a:lnTo>
                    <a:lnTo>
                      <a:pt x="82" y="42"/>
                    </a:lnTo>
                    <a:lnTo>
                      <a:pt x="60" y="36"/>
                    </a:lnTo>
                    <a:lnTo>
                      <a:pt x="40" y="30"/>
                    </a:lnTo>
                    <a:lnTo>
                      <a:pt x="24" y="22"/>
                    </a:lnTo>
                    <a:lnTo>
                      <a:pt x="10" y="12"/>
                    </a:lnTo>
                    <a:lnTo>
                      <a:pt x="0" y="0"/>
                    </a:lnTo>
                    <a:lnTo>
                      <a:pt x="0" y="0"/>
                    </a:lnTo>
                    <a:close/>
                    <a:moveTo>
                      <a:pt x="36" y="70"/>
                    </a:moveTo>
                    <a:lnTo>
                      <a:pt x="36" y="70"/>
                    </a:lnTo>
                    <a:lnTo>
                      <a:pt x="22" y="64"/>
                    </a:lnTo>
                    <a:lnTo>
                      <a:pt x="14" y="56"/>
                    </a:lnTo>
                    <a:lnTo>
                      <a:pt x="14" y="26"/>
                    </a:lnTo>
                    <a:lnTo>
                      <a:pt x="14" y="26"/>
                    </a:lnTo>
                    <a:lnTo>
                      <a:pt x="24" y="34"/>
                    </a:lnTo>
                    <a:lnTo>
                      <a:pt x="36" y="40"/>
                    </a:lnTo>
                    <a:lnTo>
                      <a:pt x="36" y="70"/>
                    </a:lnTo>
                    <a:close/>
                    <a:moveTo>
                      <a:pt x="76" y="82"/>
                    </a:moveTo>
                    <a:lnTo>
                      <a:pt x="76" y="82"/>
                    </a:lnTo>
                    <a:lnTo>
                      <a:pt x="56" y="78"/>
                    </a:lnTo>
                    <a:lnTo>
                      <a:pt x="56" y="48"/>
                    </a:lnTo>
                    <a:lnTo>
                      <a:pt x="56" y="48"/>
                    </a:lnTo>
                    <a:lnTo>
                      <a:pt x="76" y="54"/>
                    </a:lnTo>
                    <a:lnTo>
                      <a:pt x="76" y="82"/>
                    </a:lnTo>
                    <a:close/>
                    <a:moveTo>
                      <a:pt x="116" y="88"/>
                    </a:moveTo>
                    <a:lnTo>
                      <a:pt x="116" y="88"/>
                    </a:lnTo>
                    <a:lnTo>
                      <a:pt x="96" y="86"/>
                    </a:lnTo>
                    <a:lnTo>
                      <a:pt x="96" y="56"/>
                    </a:lnTo>
                    <a:lnTo>
                      <a:pt x="96" y="56"/>
                    </a:lnTo>
                    <a:lnTo>
                      <a:pt x="116" y="60"/>
                    </a:lnTo>
                    <a:lnTo>
                      <a:pt x="116" y="88"/>
                    </a:lnTo>
                    <a:close/>
                    <a:moveTo>
                      <a:pt x="264" y="44"/>
                    </a:moveTo>
                    <a:lnTo>
                      <a:pt x="264" y="44"/>
                    </a:lnTo>
                    <a:lnTo>
                      <a:pt x="272" y="40"/>
                    </a:lnTo>
                    <a:lnTo>
                      <a:pt x="280" y="36"/>
                    </a:lnTo>
                    <a:lnTo>
                      <a:pt x="280" y="60"/>
                    </a:lnTo>
                    <a:lnTo>
                      <a:pt x="280" y="60"/>
                    </a:lnTo>
                    <a:lnTo>
                      <a:pt x="274" y="64"/>
                    </a:lnTo>
                    <a:lnTo>
                      <a:pt x="264" y="70"/>
                    </a:lnTo>
                    <a:lnTo>
                      <a:pt x="264" y="44"/>
                    </a:lnTo>
                    <a:close/>
                    <a:moveTo>
                      <a:pt x="158" y="90"/>
                    </a:moveTo>
                    <a:lnTo>
                      <a:pt x="158" y="90"/>
                    </a:lnTo>
                    <a:lnTo>
                      <a:pt x="150" y="90"/>
                    </a:lnTo>
                    <a:lnTo>
                      <a:pt x="150" y="90"/>
                    </a:lnTo>
                    <a:lnTo>
                      <a:pt x="138" y="90"/>
                    </a:lnTo>
                    <a:lnTo>
                      <a:pt x="138" y="60"/>
                    </a:lnTo>
                    <a:lnTo>
                      <a:pt x="138" y="60"/>
                    </a:lnTo>
                    <a:lnTo>
                      <a:pt x="150" y="60"/>
                    </a:lnTo>
                    <a:lnTo>
                      <a:pt x="150" y="60"/>
                    </a:lnTo>
                    <a:lnTo>
                      <a:pt x="158" y="60"/>
                    </a:lnTo>
                    <a:lnTo>
                      <a:pt x="15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2" name="Freeform 82">
                <a:extLst>
                  <a:ext uri="{FF2B5EF4-FFF2-40B4-BE49-F238E27FC236}">
                    <a16:creationId xmlns:a16="http://schemas.microsoft.com/office/drawing/2014/main" id="{E0497AA6-7F1C-3B06-8399-6357B00047F7}"/>
                  </a:ext>
                </a:extLst>
              </p:cNvPr>
              <p:cNvSpPr>
                <a:spLocks noEditPoints="1"/>
              </p:cNvSpPr>
              <p:nvPr/>
            </p:nvSpPr>
            <p:spPr bwMode="auto">
              <a:xfrm>
                <a:off x="14782800" y="4044950"/>
                <a:ext cx="473075" cy="241300"/>
              </a:xfrm>
              <a:custGeom>
                <a:avLst/>
                <a:gdLst>
                  <a:gd name="T0" fmla="*/ 120 w 298"/>
                  <a:gd name="T1" fmla="*/ 0 h 152"/>
                  <a:gd name="T2" fmla="*/ 44 w 298"/>
                  <a:gd name="T3" fmla="*/ 16 h 152"/>
                  <a:gd name="T4" fmla="*/ 4 w 298"/>
                  <a:gd name="T5" fmla="*/ 46 h 152"/>
                  <a:gd name="T6" fmla="*/ 0 w 298"/>
                  <a:gd name="T7" fmla="*/ 96 h 152"/>
                  <a:gd name="T8" fmla="*/ 2 w 298"/>
                  <a:gd name="T9" fmla="*/ 100 h 152"/>
                  <a:gd name="T10" fmla="*/ 26 w 298"/>
                  <a:gd name="T11" fmla="*/ 126 h 152"/>
                  <a:gd name="T12" fmla="*/ 92 w 298"/>
                  <a:gd name="T13" fmla="*/ 146 h 152"/>
                  <a:gd name="T14" fmla="*/ 150 w 298"/>
                  <a:gd name="T15" fmla="*/ 152 h 152"/>
                  <a:gd name="T16" fmla="*/ 232 w 298"/>
                  <a:gd name="T17" fmla="*/ 142 h 152"/>
                  <a:gd name="T18" fmla="*/ 286 w 298"/>
                  <a:gd name="T19" fmla="*/ 118 h 152"/>
                  <a:gd name="T20" fmla="*/ 298 w 298"/>
                  <a:gd name="T21" fmla="*/ 98 h 152"/>
                  <a:gd name="T22" fmla="*/ 298 w 298"/>
                  <a:gd name="T23" fmla="*/ 96 h 152"/>
                  <a:gd name="T24" fmla="*/ 298 w 298"/>
                  <a:gd name="T25" fmla="*/ 52 h 152"/>
                  <a:gd name="T26" fmla="*/ 274 w 298"/>
                  <a:gd name="T27" fmla="*/ 24 h 152"/>
                  <a:gd name="T28" fmla="*/ 208 w 298"/>
                  <a:gd name="T29" fmla="*/ 4 h 152"/>
                  <a:gd name="T30" fmla="*/ 150 w 298"/>
                  <a:gd name="T31" fmla="*/ 0 h 152"/>
                  <a:gd name="T32" fmla="*/ 176 w 298"/>
                  <a:gd name="T33" fmla="*/ 10 h 152"/>
                  <a:gd name="T34" fmla="*/ 240 w 298"/>
                  <a:gd name="T35" fmla="*/ 24 h 152"/>
                  <a:gd name="T36" fmla="*/ 276 w 298"/>
                  <a:gd name="T37" fmla="*/ 46 h 152"/>
                  <a:gd name="T38" fmla="*/ 278 w 298"/>
                  <a:gd name="T39" fmla="*/ 56 h 152"/>
                  <a:gd name="T40" fmla="*/ 268 w 298"/>
                  <a:gd name="T41" fmla="*/ 74 h 152"/>
                  <a:gd name="T42" fmla="*/ 222 w 298"/>
                  <a:gd name="T43" fmla="*/ 94 h 152"/>
                  <a:gd name="T44" fmla="*/ 150 w 298"/>
                  <a:gd name="T45" fmla="*/ 102 h 152"/>
                  <a:gd name="T46" fmla="*/ 100 w 298"/>
                  <a:gd name="T47" fmla="*/ 98 h 152"/>
                  <a:gd name="T48" fmla="*/ 44 w 298"/>
                  <a:gd name="T49" fmla="*/ 82 h 152"/>
                  <a:gd name="T50" fmla="*/ 22 w 298"/>
                  <a:gd name="T51" fmla="*/ 60 h 152"/>
                  <a:gd name="T52" fmla="*/ 22 w 298"/>
                  <a:gd name="T53" fmla="*/ 52 h 152"/>
                  <a:gd name="T54" fmla="*/ 44 w 298"/>
                  <a:gd name="T55" fmla="*/ 30 h 152"/>
                  <a:gd name="T56" fmla="*/ 100 w 298"/>
                  <a:gd name="T57" fmla="*/ 14 h 152"/>
                  <a:gd name="T58" fmla="*/ 150 w 298"/>
                  <a:gd name="T59" fmla="*/ 10 h 152"/>
                  <a:gd name="T60" fmla="*/ 24 w 298"/>
                  <a:gd name="T61" fmla="*/ 116 h 152"/>
                  <a:gd name="T62" fmla="*/ 16 w 298"/>
                  <a:gd name="T63" fmla="*/ 80 h 152"/>
                  <a:gd name="T64" fmla="*/ 36 w 298"/>
                  <a:gd name="T65" fmla="*/ 124 h 152"/>
                  <a:gd name="T66" fmla="*/ 56 w 298"/>
                  <a:gd name="T67" fmla="*/ 130 h 152"/>
                  <a:gd name="T68" fmla="*/ 76 w 298"/>
                  <a:gd name="T69" fmla="*/ 106 h 152"/>
                  <a:gd name="T70" fmla="*/ 118 w 298"/>
                  <a:gd name="T71" fmla="*/ 142 h 152"/>
                  <a:gd name="T72" fmla="*/ 96 w 298"/>
                  <a:gd name="T73" fmla="*/ 110 h 152"/>
                  <a:gd name="T74" fmla="*/ 158 w 298"/>
                  <a:gd name="T75" fmla="*/ 144 h 152"/>
                  <a:gd name="T76" fmla="*/ 150 w 298"/>
                  <a:gd name="T77" fmla="*/ 144 h 152"/>
                  <a:gd name="T78" fmla="*/ 138 w 298"/>
                  <a:gd name="T79" fmla="*/ 114 h 152"/>
                  <a:gd name="T80" fmla="*/ 158 w 298"/>
                  <a:gd name="T81" fmla="*/ 114 h 152"/>
                  <a:gd name="T82" fmla="*/ 280 w 298"/>
                  <a:gd name="T83" fmla="*/ 112 h 152"/>
                  <a:gd name="T84" fmla="*/ 266 w 298"/>
                  <a:gd name="T85" fmla="*/ 92 h 152"/>
                  <a:gd name="T86" fmla="*/ 280 w 298"/>
                  <a:gd name="T87"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152">
                    <a:moveTo>
                      <a:pt x="150" y="0"/>
                    </a:moveTo>
                    <a:lnTo>
                      <a:pt x="150" y="0"/>
                    </a:lnTo>
                    <a:lnTo>
                      <a:pt x="120" y="0"/>
                    </a:lnTo>
                    <a:lnTo>
                      <a:pt x="92" y="4"/>
                    </a:lnTo>
                    <a:lnTo>
                      <a:pt x="66" y="10"/>
                    </a:lnTo>
                    <a:lnTo>
                      <a:pt x="44" y="16"/>
                    </a:lnTo>
                    <a:lnTo>
                      <a:pt x="26" y="24"/>
                    </a:lnTo>
                    <a:lnTo>
                      <a:pt x="12" y="34"/>
                    </a:lnTo>
                    <a:lnTo>
                      <a:pt x="4" y="46"/>
                    </a:lnTo>
                    <a:lnTo>
                      <a:pt x="2" y="52"/>
                    </a:lnTo>
                    <a:lnTo>
                      <a:pt x="0" y="56"/>
                    </a:lnTo>
                    <a:lnTo>
                      <a:pt x="0" y="96"/>
                    </a:lnTo>
                    <a:lnTo>
                      <a:pt x="0" y="96"/>
                    </a:lnTo>
                    <a:lnTo>
                      <a:pt x="0" y="96"/>
                    </a:lnTo>
                    <a:lnTo>
                      <a:pt x="2" y="100"/>
                    </a:lnTo>
                    <a:lnTo>
                      <a:pt x="4" y="106"/>
                    </a:lnTo>
                    <a:lnTo>
                      <a:pt x="12" y="118"/>
                    </a:lnTo>
                    <a:lnTo>
                      <a:pt x="26" y="126"/>
                    </a:lnTo>
                    <a:lnTo>
                      <a:pt x="44" y="134"/>
                    </a:lnTo>
                    <a:lnTo>
                      <a:pt x="66" y="142"/>
                    </a:lnTo>
                    <a:lnTo>
                      <a:pt x="92" y="146"/>
                    </a:lnTo>
                    <a:lnTo>
                      <a:pt x="120" y="150"/>
                    </a:lnTo>
                    <a:lnTo>
                      <a:pt x="150" y="152"/>
                    </a:lnTo>
                    <a:lnTo>
                      <a:pt x="150" y="152"/>
                    </a:lnTo>
                    <a:lnTo>
                      <a:pt x="180" y="150"/>
                    </a:lnTo>
                    <a:lnTo>
                      <a:pt x="206" y="148"/>
                    </a:lnTo>
                    <a:lnTo>
                      <a:pt x="232" y="142"/>
                    </a:lnTo>
                    <a:lnTo>
                      <a:pt x="254" y="136"/>
                    </a:lnTo>
                    <a:lnTo>
                      <a:pt x="272" y="128"/>
                    </a:lnTo>
                    <a:lnTo>
                      <a:pt x="286" y="118"/>
                    </a:lnTo>
                    <a:lnTo>
                      <a:pt x="294" y="108"/>
                    </a:lnTo>
                    <a:lnTo>
                      <a:pt x="298" y="102"/>
                    </a:lnTo>
                    <a:lnTo>
                      <a:pt x="298" y="98"/>
                    </a:lnTo>
                    <a:lnTo>
                      <a:pt x="298" y="98"/>
                    </a:lnTo>
                    <a:lnTo>
                      <a:pt x="298" y="96"/>
                    </a:lnTo>
                    <a:lnTo>
                      <a:pt x="298" y="96"/>
                    </a:lnTo>
                    <a:lnTo>
                      <a:pt x="298" y="56"/>
                    </a:lnTo>
                    <a:lnTo>
                      <a:pt x="298" y="56"/>
                    </a:lnTo>
                    <a:lnTo>
                      <a:pt x="298" y="52"/>
                    </a:lnTo>
                    <a:lnTo>
                      <a:pt x="296" y="46"/>
                    </a:lnTo>
                    <a:lnTo>
                      <a:pt x="288" y="34"/>
                    </a:lnTo>
                    <a:lnTo>
                      <a:pt x="274" y="24"/>
                    </a:lnTo>
                    <a:lnTo>
                      <a:pt x="256" y="16"/>
                    </a:lnTo>
                    <a:lnTo>
                      <a:pt x="234" y="10"/>
                    </a:lnTo>
                    <a:lnTo>
                      <a:pt x="208" y="4"/>
                    </a:lnTo>
                    <a:lnTo>
                      <a:pt x="180" y="0"/>
                    </a:lnTo>
                    <a:lnTo>
                      <a:pt x="150" y="0"/>
                    </a:lnTo>
                    <a:lnTo>
                      <a:pt x="150" y="0"/>
                    </a:lnTo>
                    <a:close/>
                    <a:moveTo>
                      <a:pt x="150" y="10"/>
                    </a:moveTo>
                    <a:lnTo>
                      <a:pt x="150" y="10"/>
                    </a:lnTo>
                    <a:lnTo>
                      <a:pt x="176" y="10"/>
                    </a:lnTo>
                    <a:lnTo>
                      <a:pt x="200" y="14"/>
                    </a:lnTo>
                    <a:lnTo>
                      <a:pt x="222" y="18"/>
                    </a:lnTo>
                    <a:lnTo>
                      <a:pt x="240" y="24"/>
                    </a:lnTo>
                    <a:lnTo>
                      <a:pt x="256" y="30"/>
                    </a:lnTo>
                    <a:lnTo>
                      <a:pt x="268" y="38"/>
                    </a:lnTo>
                    <a:lnTo>
                      <a:pt x="276" y="46"/>
                    </a:lnTo>
                    <a:lnTo>
                      <a:pt x="278" y="52"/>
                    </a:lnTo>
                    <a:lnTo>
                      <a:pt x="278" y="56"/>
                    </a:lnTo>
                    <a:lnTo>
                      <a:pt x="278" y="56"/>
                    </a:lnTo>
                    <a:lnTo>
                      <a:pt x="278" y="60"/>
                    </a:lnTo>
                    <a:lnTo>
                      <a:pt x="276" y="64"/>
                    </a:lnTo>
                    <a:lnTo>
                      <a:pt x="268" y="74"/>
                    </a:lnTo>
                    <a:lnTo>
                      <a:pt x="256" y="82"/>
                    </a:lnTo>
                    <a:lnTo>
                      <a:pt x="240" y="88"/>
                    </a:lnTo>
                    <a:lnTo>
                      <a:pt x="222" y="94"/>
                    </a:lnTo>
                    <a:lnTo>
                      <a:pt x="200" y="98"/>
                    </a:lnTo>
                    <a:lnTo>
                      <a:pt x="176" y="100"/>
                    </a:lnTo>
                    <a:lnTo>
                      <a:pt x="150" y="102"/>
                    </a:lnTo>
                    <a:lnTo>
                      <a:pt x="150" y="102"/>
                    </a:lnTo>
                    <a:lnTo>
                      <a:pt x="124" y="100"/>
                    </a:lnTo>
                    <a:lnTo>
                      <a:pt x="100" y="98"/>
                    </a:lnTo>
                    <a:lnTo>
                      <a:pt x="78" y="94"/>
                    </a:lnTo>
                    <a:lnTo>
                      <a:pt x="58" y="88"/>
                    </a:lnTo>
                    <a:lnTo>
                      <a:pt x="44" y="82"/>
                    </a:lnTo>
                    <a:lnTo>
                      <a:pt x="32" y="74"/>
                    </a:lnTo>
                    <a:lnTo>
                      <a:pt x="24" y="64"/>
                    </a:lnTo>
                    <a:lnTo>
                      <a:pt x="22" y="60"/>
                    </a:lnTo>
                    <a:lnTo>
                      <a:pt x="22" y="56"/>
                    </a:lnTo>
                    <a:lnTo>
                      <a:pt x="22" y="56"/>
                    </a:lnTo>
                    <a:lnTo>
                      <a:pt x="22" y="52"/>
                    </a:lnTo>
                    <a:lnTo>
                      <a:pt x="24" y="46"/>
                    </a:lnTo>
                    <a:lnTo>
                      <a:pt x="32" y="38"/>
                    </a:lnTo>
                    <a:lnTo>
                      <a:pt x="44" y="30"/>
                    </a:lnTo>
                    <a:lnTo>
                      <a:pt x="58" y="24"/>
                    </a:lnTo>
                    <a:lnTo>
                      <a:pt x="78" y="18"/>
                    </a:lnTo>
                    <a:lnTo>
                      <a:pt x="100" y="14"/>
                    </a:lnTo>
                    <a:lnTo>
                      <a:pt x="124" y="10"/>
                    </a:lnTo>
                    <a:lnTo>
                      <a:pt x="150" y="10"/>
                    </a:lnTo>
                    <a:lnTo>
                      <a:pt x="150" y="10"/>
                    </a:lnTo>
                    <a:close/>
                    <a:moveTo>
                      <a:pt x="36" y="124"/>
                    </a:moveTo>
                    <a:lnTo>
                      <a:pt x="36" y="124"/>
                    </a:lnTo>
                    <a:lnTo>
                      <a:pt x="24" y="116"/>
                    </a:lnTo>
                    <a:lnTo>
                      <a:pt x="16" y="110"/>
                    </a:lnTo>
                    <a:lnTo>
                      <a:pt x="16" y="80"/>
                    </a:lnTo>
                    <a:lnTo>
                      <a:pt x="16" y="80"/>
                    </a:lnTo>
                    <a:lnTo>
                      <a:pt x="24" y="86"/>
                    </a:lnTo>
                    <a:lnTo>
                      <a:pt x="36" y="94"/>
                    </a:lnTo>
                    <a:lnTo>
                      <a:pt x="36" y="124"/>
                    </a:lnTo>
                    <a:close/>
                    <a:moveTo>
                      <a:pt x="76" y="136"/>
                    </a:moveTo>
                    <a:lnTo>
                      <a:pt x="76" y="136"/>
                    </a:lnTo>
                    <a:lnTo>
                      <a:pt x="56" y="130"/>
                    </a:lnTo>
                    <a:lnTo>
                      <a:pt x="56" y="102"/>
                    </a:lnTo>
                    <a:lnTo>
                      <a:pt x="56" y="102"/>
                    </a:lnTo>
                    <a:lnTo>
                      <a:pt x="76" y="106"/>
                    </a:lnTo>
                    <a:lnTo>
                      <a:pt x="76" y="136"/>
                    </a:lnTo>
                    <a:close/>
                    <a:moveTo>
                      <a:pt x="118" y="142"/>
                    </a:moveTo>
                    <a:lnTo>
                      <a:pt x="118" y="142"/>
                    </a:lnTo>
                    <a:lnTo>
                      <a:pt x="96" y="140"/>
                    </a:lnTo>
                    <a:lnTo>
                      <a:pt x="96" y="110"/>
                    </a:lnTo>
                    <a:lnTo>
                      <a:pt x="96" y="110"/>
                    </a:lnTo>
                    <a:lnTo>
                      <a:pt x="118" y="112"/>
                    </a:lnTo>
                    <a:lnTo>
                      <a:pt x="118" y="142"/>
                    </a:lnTo>
                    <a:close/>
                    <a:moveTo>
                      <a:pt x="158" y="144"/>
                    </a:moveTo>
                    <a:lnTo>
                      <a:pt x="158" y="144"/>
                    </a:lnTo>
                    <a:lnTo>
                      <a:pt x="150" y="144"/>
                    </a:lnTo>
                    <a:lnTo>
                      <a:pt x="150" y="144"/>
                    </a:lnTo>
                    <a:lnTo>
                      <a:pt x="138" y="142"/>
                    </a:lnTo>
                    <a:lnTo>
                      <a:pt x="138" y="114"/>
                    </a:lnTo>
                    <a:lnTo>
                      <a:pt x="138" y="114"/>
                    </a:lnTo>
                    <a:lnTo>
                      <a:pt x="150" y="114"/>
                    </a:lnTo>
                    <a:lnTo>
                      <a:pt x="150" y="114"/>
                    </a:lnTo>
                    <a:lnTo>
                      <a:pt x="158" y="114"/>
                    </a:lnTo>
                    <a:lnTo>
                      <a:pt x="158" y="144"/>
                    </a:lnTo>
                    <a:close/>
                    <a:moveTo>
                      <a:pt x="280" y="112"/>
                    </a:moveTo>
                    <a:lnTo>
                      <a:pt x="280" y="112"/>
                    </a:lnTo>
                    <a:lnTo>
                      <a:pt x="274" y="118"/>
                    </a:lnTo>
                    <a:lnTo>
                      <a:pt x="266" y="122"/>
                    </a:lnTo>
                    <a:lnTo>
                      <a:pt x="266" y="92"/>
                    </a:lnTo>
                    <a:lnTo>
                      <a:pt x="266" y="92"/>
                    </a:lnTo>
                    <a:lnTo>
                      <a:pt x="280" y="84"/>
                    </a:lnTo>
                    <a:lnTo>
                      <a:pt x="28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3" name="Freeform 83">
                <a:extLst>
                  <a:ext uri="{FF2B5EF4-FFF2-40B4-BE49-F238E27FC236}">
                    <a16:creationId xmlns:a16="http://schemas.microsoft.com/office/drawing/2014/main" id="{856319E6-934B-CDC2-9741-DE13DCCB4E42}"/>
                  </a:ext>
                </a:extLst>
              </p:cNvPr>
              <p:cNvSpPr>
                <a:spLocks noEditPoints="1"/>
              </p:cNvSpPr>
              <p:nvPr/>
            </p:nvSpPr>
            <p:spPr bwMode="auto">
              <a:xfrm>
                <a:off x="14935200" y="4067175"/>
                <a:ext cx="168275" cy="130175"/>
              </a:xfrm>
              <a:custGeom>
                <a:avLst/>
                <a:gdLst>
                  <a:gd name="T0" fmla="*/ 2 w 106"/>
                  <a:gd name="T1" fmla="*/ 66 h 82"/>
                  <a:gd name="T2" fmla="*/ 20 w 106"/>
                  <a:gd name="T3" fmla="*/ 72 h 82"/>
                  <a:gd name="T4" fmla="*/ 44 w 106"/>
                  <a:gd name="T5" fmla="*/ 80 h 82"/>
                  <a:gd name="T6" fmla="*/ 46 w 106"/>
                  <a:gd name="T7" fmla="*/ 82 h 82"/>
                  <a:gd name="T8" fmla="*/ 62 w 106"/>
                  <a:gd name="T9" fmla="*/ 82 h 82"/>
                  <a:gd name="T10" fmla="*/ 64 w 106"/>
                  <a:gd name="T11" fmla="*/ 82 h 82"/>
                  <a:gd name="T12" fmla="*/ 64 w 106"/>
                  <a:gd name="T13" fmla="*/ 76 h 82"/>
                  <a:gd name="T14" fmla="*/ 80 w 106"/>
                  <a:gd name="T15" fmla="*/ 74 h 82"/>
                  <a:gd name="T16" fmla="*/ 94 w 106"/>
                  <a:gd name="T17" fmla="*/ 70 h 82"/>
                  <a:gd name="T18" fmla="*/ 106 w 106"/>
                  <a:gd name="T19" fmla="*/ 62 h 82"/>
                  <a:gd name="T20" fmla="*/ 104 w 106"/>
                  <a:gd name="T21" fmla="*/ 52 h 82"/>
                  <a:gd name="T22" fmla="*/ 98 w 106"/>
                  <a:gd name="T23" fmla="*/ 48 h 82"/>
                  <a:gd name="T24" fmla="*/ 64 w 106"/>
                  <a:gd name="T25" fmla="*/ 38 h 82"/>
                  <a:gd name="T26" fmla="*/ 64 w 106"/>
                  <a:gd name="T27" fmla="*/ 16 h 82"/>
                  <a:gd name="T28" fmla="*/ 70 w 106"/>
                  <a:gd name="T29" fmla="*/ 16 h 82"/>
                  <a:gd name="T30" fmla="*/ 86 w 106"/>
                  <a:gd name="T31" fmla="*/ 20 h 82"/>
                  <a:gd name="T32" fmla="*/ 88 w 106"/>
                  <a:gd name="T33" fmla="*/ 22 h 82"/>
                  <a:gd name="T34" fmla="*/ 88 w 106"/>
                  <a:gd name="T35" fmla="*/ 22 h 82"/>
                  <a:gd name="T36" fmla="*/ 88 w 106"/>
                  <a:gd name="T37" fmla="*/ 22 h 82"/>
                  <a:gd name="T38" fmla="*/ 90 w 106"/>
                  <a:gd name="T39" fmla="*/ 22 h 82"/>
                  <a:gd name="T40" fmla="*/ 102 w 106"/>
                  <a:gd name="T41" fmla="*/ 22 h 82"/>
                  <a:gd name="T42" fmla="*/ 106 w 106"/>
                  <a:gd name="T43" fmla="*/ 18 h 82"/>
                  <a:gd name="T44" fmla="*/ 106 w 106"/>
                  <a:gd name="T45" fmla="*/ 18 h 82"/>
                  <a:gd name="T46" fmla="*/ 76 w 106"/>
                  <a:gd name="T47" fmla="*/ 8 h 82"/>
                  <a:gd name="T48" fmla="*/ 64 w 106"/>
                  <a:gd name="T49" fmla="*/ 8 h 82"/>
                  <a:gd name="T50" fmla="*/ 64 w 106"/>
                  <a:gd name="T51" fmla="*/ 2 h 82"/>
                  <a:gd name="T52" fmla="*/ 62 w 106"/>
                  <a:gd name="T53" fmla="*/ 0 h 82"/>
                  <a:gd name="T54" fmla="*/ 48 w 106"/>
                  <a:gd name="T55" fmla="*/ 0 h 82"/>
                  <a:gd name="T56" fmla="*/ 44 w 106"/>
                  <a:gd name="T57" fmla="*/ 2 h 82"/>
                  <a:gd name="T58" fmla="*/ 44 w 106"/>
                  <a:gd name="T59" fmla="*/ 8 h 82"/>
                  <a:gd name="T60" fmla="*/ 14 w 106"/>
                  <a:gd name="T61" fmla="*/ 14 h 82"/>
                  <a:gd name="T62" fmla="*/ 6 w 106"/>
                  <a:gd name="T63" fmla="*/ 18 h 82"/>
                  <a:gd name="T64" fmla="*/ 2 w 106"/>
                  <a:gd name="T65" fmla="*/ 28 h 82"/>
                  <a:gd name="T66" fmla="*/ 6 w 106"/>
                  <a:gd name="T67" fmla="*/ 32 h 82"/>
                  <a:gd name="T68" fmla="*/ 20 w 106"/>
                  <a:gd name="T69" fmla="*/ 40 h 82"/>
                  <a:gd name="T70" fmla="*/ 44 w 106"/>
                  <a:gd name="T71" fmla="*/ 44 h 82"/>
                  <a:gd name="T72" fmla="*/ 44 w 106"/>
                  <a:gd name="T73" fmla="*/ 68 h 82"/>
                  <a:gd name="T74" fmla="*/ 38 w 106"/>
                  <a:gd name="T75" fmla="*/ 66 h 82"/>
                  <a:gd name="T76" fmla="*/ 22 w 106"/>
                  <a:gd name="T77" fmla="*/ 62 h 82"/>
                  <a:gd name="T78" fmla="*/ 20 w 106"/>
                  <a:gd name="T79" fmla="*/ 62 h 82"/>
                  <a:gd name="T80" fmla="*/ 20 w 106"/>
                  <a:gd name="T81" fmla="*/ 62 h 82"/>
                  <a:gd name="T82" fmla="*/ 18 w 106"/>
                  <a:gd name="T83" fmla="*/ 60 h 82"/>
                  <a:gd name="T84" fmla="*/ 6 w 106"/>
                  <a:gd name="T85" fmla="*/ 60 h 82"/>
                  <a:gd name="T86" fmla="*/ 0 w 106"/>
                  <a:gd name="T87" fmla="*/ 64 h 82"/>
                  <a:gd name="T88" fmla="*/ 2 w 106"/>
                  <a:gd name="T89" fmla="*/ 66 h 82"/>
                  <a:gd name="T90" fmla="*/ 64 w 106"/>
                  <a:gd name="T91" fmla="*/ 48 h 82"/>
                  <a:gd name="T92" fmla="*/ 74 w 106"/>
                  <a:gd name="T93" fmla="*/ 50 h 82"/>
                  <a:gd name="T94" fmla="*/ 84 w 106"/>
                  <a:gd name="T95" fmla="*/ 56 h 82"/>
                  <a:gd name="T96" fmla="*/ 86 w 106"/>
                  <a:gd name="T97" fmla="*/ 58 h 82"/>
                  <a:gd name="T98" fmla="*/ 84 w 106"/>
                  <a:gd name="T99" fmla="*/ 64 h 82"/>
                  <a:gd name="T100" fmla="*/ 80 w 106"/>
                  <a:gd name="T101" fmla="*/ 66 h 82"/>
                  <a:gd name="T102" fmla="*/ 64 w 106"/>
                  <a:gd name="T103" fmla="*/ 68 h 82"/>
                  <a:gd name="T104" fmla="*/ 40 w 106"/>
                  <a:gd name="T105" fmla="*/ 34 h 82"/>
                  <a:gd name="T106" fmla="*/ 32 w 106"/>
                  <a:gd name="T107" fmla="*/ 32 h 82"/>
                  <a:gd name="T108" fmla="*/ 24 w 106"/>
                  <a:gd name="T109" fmla="*/ 30 h 82"/>
                  <a:gd name="T110" fmla="*/ 22 w 106"/>
                  <a:gd name="T111" fmla="*/ 24 h 82"/>
                  <a:gd name="T112" fmla="*/ 28 w 106"/>
                  <a:gd name="T113" fmla="*/ 18 h 82"/>
                  <a:gd name="T114" fmla="*/ 36 w 106"/>
                  <a:gd name="T115" fmla="*/ 16 h 82"/>
                  <a:gd name="T116" fmla="*/ 44 w 106"/>
                  <a:gd name="T117" fmla="*/ 34 h 82"/>
                  <a:gd name="T118" fmla="*/ 40 w 106"/>
                  <a:gd name="T119"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82">
                    <a:moveTo>
                      <a:pt x="2" y="66"/>
                    </a:moveTo>
                    <a:lnTo>
                      <a:pt x="2" y="66"/>
                    </a:lnTo>
                    <a:lnTo>
                      <a:pt x="8" y="70"/>
                    </a:lnTo>
                    <a:lnTo>
                      <a:pt x="20" y="72"/>
                    </a:lnTo>
                    <a:lnTo>
                      <a:pt x="44" y="76"/>
                    </a:lnTo>
                    <a:lnTo>
                      <a:pt x="44" y="80"/>
                    </a:lnTo>
                    <a:lnTo>
                      <a:pt x="44" y="80"/>
                    </a:lnTo>
                    <a:lnTo>
                      <a:pt x="46" y="82"/>
                    </a:lnTo>
                    <a:lnTo>
                      <a:pt x="48" y="82"/>
                    </a:lnTo>
                    <a:lnTo>
                      <a:pt x="62" y="82"/>
                    </a:lnTo>
                    <a:lnTo>
                      <a:pt x="62" y="82"/>
                    </a:lnTo>
                    <a:lnTo>
                      <a:pt x="64" y="82"/>
                    </a:lnTo>
                    <a:lnTo>
                      <a:pt x="64" y="80"/>
                    </a:lnTo>
                    <a:lnTo>
                      <a:pt x="64" y="76"/>
                    </a:lnTo>
                    <a:lnTo>
                      <a:pt x="64" y="76"/>
                    </a:lnTo>
                    <a:lnTo>
                      <a:pt x="80" y="74"/>
                    </a:lnTo>
                    <a:lnTo>
                      <a:pt x="94" y="70"/>
                    </a:lnTo>
                    <a:lnTo>
                      <a:pt x="94" y="70"/>
                    </a:lnTo>
                    <a:lnTo>
                      <a:pt x="100" y="66"/>
                    </a:lnTo>
                    <a:lnTo>
                      <a:pt x="106" y="62"/>
                    </a:lnTo>
                    <a:lnTo>
                      <a:pt x="106" y="58"/>
                    </a:lnTo>
                    <a:lnTo>
                      <a:pt x="104" y="52"/>
                    </a:lnTo>
                    <a:lnTo>
                      <a:pt x="104" y="52"/>
                    </a:lnTo>
                    <a:lnTo>
                      <a:pt x="98" y="48"/>
                    </a:lnTo>
                    <a:lnTo>
                      <a:pt x="88" y="44"/>
                    </a:lnTo>
                    <a:lnTo>
                      <a:pt x="64" y="38"/>
                    </a:lnTo>
                    <a:lnTo>
                      <a:pt x="64" y="16"/>
                    </a:lnTo>
                    <a:lnTo>
                      <a:pt x="64" y="16"/>
                    </a:lnTo>
                    <a:lnTo>
                      <a:pt x="70" y="16"/>
                    </a:lnTo>
                    <a:lnTo>
                      <a:pt x="70" y="16"/>
                    </a:lnTo>
                    <a:lnTo>
                      <a:pt x="86" y="20"/>
                    </a:lnTo>
                    <a:lnTo>
                      <a:pt x="86" y="20"/>
                    </a:lnTo>
                    <a:lnTo>
                      <a:pt x="88" y="22"/>
                    </a:lnTo>
                    <a:lnTo>
                      <a:pt x="88" y="22"/>
                    </a:lnTo>
                    <a:lnTo>
                      <a:pt x="88" y="22"/>
                    </a:lnTo>
                    <a:lnTo>
                      <a:pt x="88" y="22"/>
                    </a:lnTo>
                    <a:lnTo>
                      <a:pt x="88" y="22"/>
                    </a:lnTo>
                    <a:lnTo>
                      <a:pt x="88" y="22"/>
                    </a:lnTo>
                    <a:lnTo>
                      <a:pt x="90" y="22"/>
                    </a:lnTo>
                    <a:lnTo>
                      <a:pt x="90" y="22"/>
                    </a:lnTo>
                    <a:lnTo>
                      <a:pt x="96" y="24"/>
                    </a:lnTo>
                    <a:lnTo>
                      <a:pt x="102" y="22"/>
                    </a:lnTo>
                    <a:lnTo>
                      <a:pt x="106" y="20"/>
                    </a:lnTo>
                    <a:lnTo>
                      <a:pt x="106" y="18"/>
                    </a:lnTo>
                    <a:lnTo>
                      <a:pt x="106" y="18"/>
                    </a:lnTo>
                    <a:lnTo>
                      <a:pt x="106" y="18"/>
                    </a:lnTo>
                    <a:lnTo>
                      <a:pt x="92" y="12"/>
                    </a:lnTo>
                    <a:lnTo>
                      <a:pt x="76" y="8"/>
                    </a:lnTo>
                    <a:lnTo>
                      <a:pt x="76" y="8"/>
                    </a:lnTo>
                    <a:lnTo>
                      <a:pt x="64" y="8"/>
                    </a:lnTo>
                    <a:lnTo>
                      <a:pt x="64" y="2"/>
                    </a:lnTo>
                    <a:lnTo>
                      <a:pt x="64" y="2"/>
                    </a:lnTo>
                    <a:lnTo>
                      <a:pt x="64" y="2"/>
                    </a:lnTo>
                    <a:lnTo>
                      <a:pt x="62" y="0"/>
                    </a:lnTo>
                    <a:lnTo>
                      <a:pt x="48" y="0"/>
                    </a:lnTo>
                    <a:lnTo>
                      <a:pt x="48" y="0"/>
                    </a:lnTo>
                    <a:lnTo>
                      <a:pt x="46" y="2"/>
                    </a:lnTo>
                    <a:lnTo>
                      <a:pt x="44" y="2"/>
                    </a:lnTo>
                    <a:lnTo>
                      <a:pt x="44" y="8"/>
                    </a:lnTo>
                    <a:lnTo>
                      <a:pt x="44" y="8"/>
                    </a:lnTo>
                    <a:lnTo>
                      <a:pt x="28" y="10"/>
                    </a:lnTo>
                    <a:lnTo>
                      <a:pt x="14" y="14"/>
                    </a:lnTo>
                    <a:lnTo>
                      <a:pt x="14" y="14"/>
                    </a:lnTo>
                    <a:lnTo>
                      <a:pt x="6" y="18"/>
                    </a:lnTo>
                    <a:lnTo>
                      <a:pt x="2" y="22"/>
                    </a:lnTo>
                    <a:lnTo>
                      <a:pt x="2" y="28"/>
                    </a:lnTo>
                    <a:lnTo>
                      <a:pt x="6" y="32"/>
                    </a:lnTo>
                    <a:lnTo>
                      <a:pt x="6" y="32"/>
                    </a:lnTo>
                    <a:lnTo>
                      <a:pt x="12" y="36"/>
                    </a:lnTo>
                    <a:lnTo>
                      <a:pt x="20" y="40"/>
                    </a:lnTo>
                    <a:lnTo>
                      <a:pt x="20" y="40"/>
                    </a:lnTo>
                    <a:lnTo>
                      <a:pt x="44" y="44"/>
                    </a:lnTo>
                    <a:lnTo>
                      <a:pt x="44" y="68"/>
                    </a:lnTo>
                    <a:lnTo>
                      <a:pt x="44" y="68"/>
                    </a:lnTo>
                    <a:lnTo>
                      <a:pt x="38" y="66"/>
                    </a:lnTo>
                    <a:lnTo>
                      <a:pt x="38" y="66"/>
                    </a:lnTo>
                    <a:lnTo>
                      <a:pt x="22" y="62"/>
                    </a:lnTo>
                    <a:lnTo>
                      <a:pt x="22" y="62"/>
                    </a:lnTo>
                    <a:lnTo>
                      <a:pt x="20" y="62"/>
                    </a:lnTo>
                    <a:lnTo>
                      <a:pt x="20" y="62"/>
                    </a:lnTo>
                    <a:lnTo>
                      <a:pt x="20" y="62"/>
                    </a:lnTo>
                    <a:lnTo>
                      <a:pt x="20" y="62"/>
                    </a:lnTo>
                    <a:lnTo>
                      <a:pt x="18" y="60"/>
                    </a:lnTo>
                    <a:lnTo>
                      <a:pt x="18" y="60"/>
                    </a:lnTo>
                    <a:lnTo>
                      <a:pt x="12" y="60"/>
                    </a:lnTo>
                    <a:lnTo>
                      <a:pt x="6" y="60"/>
                    </a:lnTo>
                    <a:lnTo>
                      <a:pt x="2" y="64"/>
                    </a:lnTo>
                    <a:lnTo>
                      <a:pt x="0" y="64"/>
                    </a:lnTo>
                    <a:lnTo>
                      <a:pt x="2" y="66"/>
                    </a:lnTo>
                    <a:lnTo>
                      <a:pt x="2" y="66"/>
                    </a:lnTo>
                    <a:close/>
                    <a:moveTo>
                      <a:pt x="64" y="48"/>
                    </a:moveTo>
                    <a:lnTo>
                      <a:pt x="64" y="48"/>
                    </a:lnTo>
                    <a:lnTo>
                      <a:pt x="74" y="50"/>
                    </a:lnTo>
                    <a:lnTo>
                      <a:pt x="74" y="50"/>
                    </a:lnTo>
                    <a:lnTo>
                      <a:pt x="80" y="52"/>
                    </a:lnTo>
                    <a:lnTo>
                      <a:pt x="84" y="56"/>
                    </a:lnTo>
                    <a:lnTo>
                      <a:pt x="84" y="56"/>
                    </a:lnTo>
                    <a:lnTo>
                      <a:pt x="86" y="58"/>
                    </a:lnTo>
                    <a:lnTo>
                      <a:pt x="86" y="62"/>
                    </a:lnTo>
                    <a:lnTo>
                      <a:pt x="84" y="64"/>
                    </a:lnTo>
                    <a:lnTo>
                      <a:pt x="80" y="66"/>
                    </a:lnTo>
                    <a:lnTo>
                      <a:pt x="80" y="66"/>
                    </a:lnTo>
                    <a:lnTo>
                      <a:pt x="74" y="68"/>
                    </a:lnTo>
                    <a:lnTo>
                      <a:pt x="64" y="68"/>
                    </a:lnTo>
                    <a:lnTo>
                      <a:pt x="64" y="48"/>
                    </a:lnTo>
                    <a:close/>
                    <a:moveTo>
                      <a:pt x="40" y="34"/>
                    </a:moveTo>
                    <a:lnTo>
                      <a:pt x="40" y="34"/>
                    </a:lnTo>
                    <a:lnTo>
                      <a:pt x="32" y="32"/>
                    </a:lnTo>
                    <a:lnTo>
                      <a:pt x="24" y="30"/>
                    </a:lnTo>
                    <a:lnTo>
                      <a:pt x="24" y="30"/>
                    </a:lnTo>
                    <a:lnTo>
                      <a:pt x="22" y="26"/>
                    </a:lnTo>
                    <a:lnTo>
                      <a:pt x="22" y="24"/>
                    </a:lnTo>
                    <a:lnTo>
                      <a:pt x="24" y="20"/>
                    </a:lnTo>
                    <a:lnTo>
                      <a:pt x="28" y="18"/>
                    </a:lnTo>
                    <a:lnTo>
                      <a:pt x="28" y="18"/>
                    </a:lnTo>
                    <a:lnTo>
                      <a:pt x="36" y="16"/>
                    </a:lnTo>
                    <a:lnTo>
                      <a:pt x="44" y="16"/>
                    </a:lnTo>
                    <a:lnTo>
                      <a:pt x="44" y="34"/>
                    </a:lnTo>
                    <a:lnTo>
                      <a:pt x="44" y="34"/>
                    </a:lnTo>
                    <a:lnTo>
                      <a:pt x="40" y="34"/>
                    </a:lnTo>
                    <a:lnTo>
                      <a:pt x="4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sp>
        <p:nvSpPr>
          <p:cNvPr id="25" name="Footer Placeholder 11">
            <a:extLst>
              <a:ext uri="{FF2B5EF4-FFF2-40B4-BE49-F238E27FC236}">
                <a16:creationId xmlns:a16="http://schemas.microsoft.com/office/drawing/2014/main" id="{7CBDEEB6-D1F4-0C8A-E97D-63AE3F33264B}"/>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Tree>
    <p:extLst>
      <p:ext uri="{BB962C8B-B14F-4D97-AF65-F5344CB8AC3E}">
        <p14:creationId xmlns:p14="http://schemas.microsoft.com/office/powerpoint/2010/main" val="2434985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using a calculator&#10;&#10;Description automatically generated">
            <a:extLst>
              <a:ext uri="{FF2B5EF4-FFF2-40B4-BE49-F238E27FC236}">
                <a16:creationId xmlns:a16="http://schemas.microsoft.com/office/drawing/2014/main" id="{D69F2F0D-BDBB-48FD-1F8D-952F790C682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208026" cy="6858000"/>
          </a:xfrm>
          <a:prstGeom prst="rect">
            <a:avLst/>
          </a:prstGeom>
        </p:spPr>
      </p:pic>
      <p:sp>
        <p:nvSpPr>
          <p:cNvPr id="5" name="Rectangle 4">
            <a:extLst>
              <a:ext uri="{FF2B5EF4-FFF2-40B4-BE49-F238E27FC236}">
                <a16:creationId xmlns:a16="http://schemas.microsoft.com/office/drawing/2014/main" id="{35B03DDB-9947-B89F-F2AB-555F812EA5F3}"/>
              </a:ext>
            </a:extLst>
          </p:cNvPr>
          <p:cNvSpPr/>
          <p:nvPr/>
        </p:nvSpPr>
        <p:spPr>
          <a:xfrm>
            <a:off x="0" y="0"/>
            <a:ext cx="12208026" cy="6858000"/>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1D5D8C84-5A62-4F9A-8498-4FA795CD3DF6}"/>
              </a:ext>
            </a:extLst>
          </p:cNvPr>
          <p:cNvSpPr txBox="1"/>
          <p:nvPr/>
        </p:nvSpPr>
        <p:spPr>
          <a:xfrm flipH="1">
            <a:off x="847740" y="2911876"/>
            <a:ext cx="75538" cy="887767"/>
          </a:xfrm>
          <a:prstGeom prst="rect">
            <a:avLst/>
          </a:prstGeom>
          <a:solidFill>
            <a:srgbClr val="00B0F0"/>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71066"/>
              </a:solidFill>
              <a:effectLst/>
              <a:uLnTx/>
              <a:uFillTx/>
              <a:latin typeface="Calibri" panose="020F0502020204030204"/>
              <a:ea typeface="+mn-ea"/>
              <a:cs typeface="+mn-cs"/>
            </a:endParaRPr>
          </a:p>
        </p:txBody>
      </p:sp>
      <p:sp>
        <p:nvSpPr>
          <p:cNvPr id="12" name="Title 7">
            <a:extLst>
              <a:ext uri="{FF2B5EF4-FFF2-40B4-BE49-F238E27FC236}">
                <a16:creationId xmlns:a16="http://schemas.microsoft.com/office/drawing/2014/main" id="{66449046-45CF-4FA3-8634-C2540490D9AD}"/>
              </a:ext>
            </a:extLst>
          </p:cNvPr>
          <p:cNvSpPr txBox="1">
            <a:spLocks/>
          </p:cNvSpPr>
          <p:nvPr/>
        </p:nvSpPr>
        <p:spPr>
          <a:xfrm>
            <a:off x="1211068" y="2392425"/>
            <a:ext cx="5125611" cy="19266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500" b="1" kern="1200">
                <a:solidFill>
                  <a:schemeClr val="bg1"/>
                </a:solidFill>
                <a:latin typeface="Century Gothic" panose="020B0502020202020204" pitchFamily="34" charset="0"/>
                <a:ea typeface="+mj-ea"/>
                <a:cs typeface="Calibri Light" panose="020F0302020204030204" pitchFamily="34" charset="0"/>
              </a:defRPr>
            </a:lvl1pPr>
          </a:lstStyle>
          <a:p>
            <a:r>
              <a:rPr lang="en-US" sz="3600" dirty="0"/>
              <a:t>Differences to Plan for Creditors</a:t>
            </a:r>
            <a:endParaRPr lang="en-US" sz="3600" b="1" dirty="0"/>
          </a:p>
        </p:txBody>
      </p:sp>
      <p:pic>
        <p:nvPicPr>
          <p:cNvPr id="6" name="Picture 5" descr="A picture containing text, clipart&#10;&#10;Description automatically generated">
            <a:extLst>
              <a:ext uri="{FF2B5EF4-FFF2-40B4-BE49-F238E27FC236}">
                <a16:creationId xmlns:a16="http://schemas.microsoft.com/office/drawing/2014/main" id="{9E212641-EC0F-7410-2B16-D447E94DC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973" y="5805264"/>
            <a:ext cx="2024619" cy="480763"/>
          </a:xfrm>
          <a:prstGeom prst="rect">
            <a:avLst/>
          </a:prstGeom>
        </p:spPr>
      </p:pic>
    </p:spTree>
    <p:extLst>
      <p:ext uri="{BB962C8B-B14F-4D97-AF65-F5344CB8AC3E}">
        <p14:creationId xmlns:p14="http://schemas.microsoft.com/office/powerpoint/2010/main" val="4222823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Executive Summary </a:t>
            </a:r>
          </a:p>
        </p:txBody>
      </p:sp>
      <p:sp>
        <p:nvSpPr>
          <p:cNvPr id="248" name="Footer Placeholder 11">
            <a:extLst>
              <a:ext uri="{FF2B5EF4-FFF2-40B4-BE49-F238E27FC236}">
                <a16:creationId xmlns:a16="http://schemas.microsoft.com/office/drawing/2014/main" id="{C363E175-83EC-4744-AEC9-B6AE1C9D1AC5}"/>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
        <p:nvSpPr>
          <p:cNvPr id="27" name="TextBox 26">
            <a:extLst>
              <a:ext uri="{FF2B5EF4-FFF2-40B4-BE49-F238E27FC236}">
                <a16:creationId xmlns:a16="http://schemas.microsoft.com/office/drawing/2014/main" id="{9FAA1913-8B37-5F0A-DCF3-389788873397}"/>
              </a:ext>
            </a:extLst>
          </p:cNvPr>
          <p:cNvSpPr txBox="1"/>
          <p:nvPr/>
        </p:nvSpPr>
        <p:spPr>
          <a:xfrm>
            <a:off x="704295" y="772857"/>
            <a:ext cx="7229960" cy="5262979"/>
          </a:xfrm>
          <a:prstGeom prst="rect">
            <a:avLst/>
          </a:prstGeom>
          <a:noFill/>
        </p:spPr>
        <p:txBody>
          <a:bodyPr wrap="square">
            <a:spAutoFit/>
          </a:bodyPr>
          <a:lstStyle/>
          <a:p>
            <a:pPr algn="ctr">
              <a:spcBef>
                <a:spcPts val="600"/>
              </a:spcBef>
              <a:spcAft>
                <a:spcPts val="600"/>
              </a:spcAft>
            </a:pPr>
            <a:r>
              <a:rPr lang="en-AE" sz="2800" b="1" dirty="0">
                <a:latin typeface="Calibri" panose="020F0502020204030204" pitchFamily="34" charset="0"/>
                <a:ea typeface="Calibri" panose="020F0502020204030204" pitchFamily="34" charset="0"/>
              </a:rPr>
              <a:t>The Presentation</a:t>
            </a:r>
          </a:p>
          <a:p>
            <a:pPr marL="457200"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The presentation today will be presented by the Liberty Ostrava Board of Directors and the CEO of Europe Upstream</a:t>
            </a:r>
          </a:p>
          <a:p>
            <a:pPr marL="914400" lvl="1"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Iain Hunter – Director</a:t>
            </a:r>
          </a:p>
          <a:p>
            <a:pPr marL="914400" lvl="1"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Deepak Sogani – Director </a:t>
            </a:r>
          </a:p>
          <a:p>
            <a:pPr marL="914400" lvl="1"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Ajay Aggarwal – Chairman of the Board </a:t>
            </a:r>
          </a:p>
          <a:p>
            <a:pPr marL="914400" lvl="1"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Theuns Victor – CEO of Europe Upstream</a:t>
            </a:r>
          </a:p>
          <a:p>
            <a:pPr marL="457200"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The presentation will take about 30 min and will be supported by Slides</a:t>
            </a:r>
          </a:p>
          <a:p>
            <a:pPr marL="457200"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There will be portal available that will allow you to post your questions and we will ensure that it gets answered as soon as we can.</a:t>
            </a:r>
          </a:p>
          <a:p>
            <a:pPr marL="457200"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This presentation will be kept on this link should you want to review at a later stage again</a:t>
            </a:r>
          </a:p>
          <a:p>
            <a:pPr marL="457200" indent="-457200">
              <a:spcBef>
                <a:spcPts val="600"/>
              </a:spcBef>
              <a:spcAft>
                <a:spcPts val="600"/>
              </a:spcAft>
              <a:buFont typeface="Arial" panose="020B0604020202020204" pitchFamily="34" charset="0"/>
              <a:buChar char="•"/>
            </a:pPr>
            <a:r>
              <a:rPr lang="en-AE" sz="1600" dirty="0">
                <a:latin typeface="Calibri" panose="020F0502020204030204" pitchFamily="34" charset="0"/>
                <a:ea typeface="Calibri" panose="020F0502020204030204" pitchFamily="34" charset="0"/>
              </a:rPr>
              <a:t>The presentation will also be made available with subtitles in Czech </a:t>
            </a:r>
          </a:p>
          <a:p>
            <a:pPr marL="914400" lvl="1" indent="-457200">
              <a:spcBef>
                <a:spcPts val="600"/>
              </a:spcBef>
              <a:spcAft>
                <a:spcPts val="600"/>
              </a:spcAft>
              <a:buFont typeface="Arial" panose="020B0604020202020204" pitchFamily="34" charset="0"/>
              <a:buChar char="•"/>
            </a:pPr>
            <a:endParaRPr lang="en-AE" sz="1600" b="1" dirty="0">
              <a:latin typeface="Calibri" panose="020F0502020204030204" pitchFamily="34" charset="0"/>
              <a:ea typeface="Calibri" panose="020F0502020204030204" pitchFamily="34" charset="0"/>
            </a:endParaRPr>
          </a:p>
        </p:txBody>
      </p:sp>
      <p:sp>
        <p:nvSpPr>
          <p:cNvPr id="29" name="Rectangle 28">
            <a:extLst>
              <a:ext uri="{FF2B5EF4-FFF2-40B4-BE49-F238E27FC236}">
                <a16:creationId xmlns:a16="http://schemas.microsoft.com/office/drawing/2014/main" id="{804F16C2-A4ED-E0BB-4A39-33540234359E}"/>
              </a:ext>
            </a:extLst>
          </p:cNvPr>
          <p:cNvSpPr/>
          <p:nvPr/>
        </p:nvSpPr>
        <p:spPr>
          <a:xfrm>
            <a:off x="674147" y="739684"/>
            <a:ext cx="7506781" cy="5539978"/>
          </a:xfrm>
          <a:prstGeom prst="rect">
            <a:avLst/>
          </a:prstGeom>
          <a:noFill/>
          <a:ln w="6350">
            <a:solidFill>
              <a:srgbClr val="36BCE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C50FC553-18E9-A327-C6B2-A8D88B87B944}"/>
              </a:ext>
            </a:extLst>
          </p:cNvPr>
          <p:cNvGrpSpPr/>
          <p:nvPr/>
        </p:nvGrpSpPr>
        <p:grpSpPr>
          <a:xfrm>
            <a:off x="8180928" y="735660"/>
            <a:ext cx="4011072" cy="5548320"/>
            <a:chOff x="8180928" y="735660"/>
            <a:chExt cx="4011072" cy="5548320"/>
          </a:xfrm>
        </p:grpSpPr>
        <p:pic>
          <p:nvPicPr>
            <p:cNvPr id="22" name="Picture 21" descr="A group of people sitting around a table&#10;&#10;Description automatically generated">
              <a:extLst>
                <a:ext uri="{FF2B5EF4-FFF2-40B4-BE49-F238E27FC236}">
                  <a16:creationId xmlns:a16="http://schemas.microsoft.com/office/drawing/2014/main" id="{B12AA266-0CFB-3811-8534-D95464026C2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0928" y="739683"/>
              <a:ext cx="4011072" cy="5539977"/>
            </a:xfrm>
            <a:prstGeom prst="rect">
              <a:avLst/>
            </a:prstGeom>
          </p:spPr>
        </p:pic>
        <p:sp>
          <p:nvSpPr>
            <p:cNvPr id="24" name="직사각형 11">
              <a:extLst>
                <a:ext uri="{FF2B5EF4-FFF2-40B4-BE49-F238E27FC236}">
                  <a16:creationId xmlns:a16="http://schemas.microsoft.com/office/drawing/2014/main" id="{013658E0-88E2-F6D1-FC89-6AFC14011029}"/>
                </a:ext>
              </a:extLst>
            </p:cNvPr>
            <p:cNvSpPr/>
            <p:nvPr/>
          </p:nvSpPr>
          <p:spPr>
            <a:xfrm>
              <a:off x="8183159" y="735660"/>
              <a:ext cx="4005537" cy="5544000"/>
            </a:xfrm>
            <a:prstGeom prst="rect">
              <a:avLst/>
            </a:prstGeom>
            <a:solidFill>
              <a:srgbClr val="36BCEE">
                <a:alpha val="62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25" name="직사각형 12">
              <a:extLst>
                <a:ext uri="{FF2B5EF4-FFF2-40B4-BE49-F238E27FC236}">
                  <a16:creationId xmlns:a16="http://schemas.microsoft.com/office/drawing/2014/main" id="{76B89EE4-5BA5-27E5-0A51-24132D502468}"/>
                </a:ext>
              </a:extLst>
            </p:cNvPr>
            <p:cNvSpPr/>
            <p:nvPr/>
          </p:nvSpPr>
          <p:spPr>
            <a:xfrm>
              <a:off x="12037861" y="739980"/>
              <a:ext cx="150835" cy="5544000"/>
            </a:xfrm>
            <a:prstGeom prst="rect">
              <a:avLst/>
            </a:prstGeom>
            <a:solidFill>
              <a:srgbClr val="36BC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grpSp>
          <p:nvGrpSpPr>
            <p:cNvPr id="4" name="Group 3">
              <a:extLst>
                <a:ext uri="{FF2B5EF4-FFF2-40B4-BE49-F238E27FC236}">
                  <a16:creationId xmlns:a16="http://schemas.microsoft.com/office/drawing/2014/main" id="{F42AA978-A51E-CBD0-0442-F33D2B499832}"/>
                </a:ext>
              </a:extLst>
            </p:cNvPr>
            <p:cNvGrpSpPr/>
            <p:nvPr/>
          </p:nvGrpSpPr>
          <p:grpSpPr>
            <a:xfrm>
              <a:off x="8737053" y="2492896"/>
              <a:ext cx="3119587" cy="1618932"/>
              <a:chOff x="8328403" y="2257803"/>
              <a:chExt cx="3119587" cy="1618932"/>
            </a:xfrm>
          </p:grpSpPr>
          <p:sp>
            <p:nvSpPr>
              <p:cNvPr id="2" name="TextBox 1">
                <a:extLst>
                  <a:ext uri="{FF2B5EF4-FFF2-40B4-BE49-F238E27FC236}">
                    <a16:creationId xmlns:a16="http://schemas.microsoft.com/office/drawing/2014/main" id="{390BB34A-53A7-EA20-2E87-A66E52EC45E2}"/>
                  </a:ext>
                </a:extLst>
              </p:cNvPr>
              <p:cNvSpPr txBox="1"/>
              <p:nvPr/>
            </p:nvSpPr>
            <p:spPr>
              <a:xfrm>
                <a:off x="8328403" y="3014961"/>
                <a:ext cx="3119587" cy="861774"/>
              </a:xfrm>
              <a:prstGeom prst="rect">
                <a:avLst/>
              </a:prstGeom>
              <a:noFill/>
            </p:spPr>
            <p:txBody>
              <a:bodyPr wrap="square">
                <a:spAutoFit/>
              </a:bodyPr>
              <a:lstStyle/>
              <a:p>
                <a:pPr algn="ctr"/>
                <a:r>
                  <a:rPr lang="en-GB" sz="3200" b="1" dirty="0">
                    <a:solidFill>
                      <a:schemeClr val="bg1"/>
                    </a:solidFill>
                    <a:effectLst>
                      <a:outerShdw blurRad="38100" dist="38100" dir="2700000" algn="tl">
                        <a:srgbClr val="000000">
                          <a:alpha val="43137"/>
                        </a:srgbClr>
                      </a:outerShdw>
                    </a:effectLst>
                    <a:latin typeface="Century Gothic" panose="020B0502020202020204" pitchFamily="34" charset="0"/>
                  </a:rPr>
                  <a:t>The Plan</a:t>
                </a:r>
              </a:p>
              <a:p>
                <a:pPr algn="ctr"/>
                <a:r>
                  <a:rPr lang="en-GB" b="1" dirty="0">
                    <a:solidFill>
                      <a:schemeClr val="bg1"/>
                    </a:solidFill>
                    <a:effectLst>
                      <a:outerShdw blurRad="38100" dist="38100" dir="2700000" algn="tl">
                        <a:srgbClr val="000000">
                          <a:alpha val="43137"/>
                        </a:srgbClr>
                      </a:outerShdw>
                    </a:effectLst>
                    <a:latin typeface="Century Gothic" panose="020B0502020202020204" pitchFamily="34" charset="0"/>
                  </a:rPr>
                  <a:t>Presented by the Directors</a:t>
                </a:r>
              </a:p>
            </p:txBody>
          </p:sp>
          <p:sp>
            <p:nvSpPr>
              <p:cNvPr id="3" name="Freeform 20">
                <a:extLst>
                  <a:ext uri="{FF2B5EF4-FFF2-40B4-BE49-F238E27FC236}">
                    <a16:creationId xmlns:a16="http://schemas.microsoft.com/office/drawing/2014/main" id="{9D4F37A4-9E85-CDFA-82BC-CC517B4DB230}"/>
                  </a:ext>
                </a:extLst>
              </p:cNvPr>
              <p:cNvSpPr>
                <a:spLocks noEditPoints="1"/>
              </p:cNvSpPr>
              <p:nvPr/>
            </p:nvSpPr>
            <p:spPr bwMode="auto">
              <a:xfrm>
                <a:off x="9593203" y="2257803"/>
                <a:ext cx="589986" cy="755744"/>
              </a:xfrm>
              <a:custGeom>
                <a:avLst/>
                <a:gdLst>
                  <a:gd name="T0" fmla="*/ 524 w 2544"/>
                  <a:gd name="T1" fmla="*/ 1894 h 3098"/>
                  <a:gd name="T2" fmla="*/ 1846 w 2544"/>
                  <a:gd name="T3" fmla="*/ 423 h 3098"/>
                  <a:gd name="T4" fmla="*/ 1745 w 2544"/>
                  <a:gd name="T5" fmla="*/ 357 h 3098"/>
                  <a:gd name="T6" fmla="*/ 1405 w 2544"/>
                  <a:gd name="T7" fmla="*/ 228 h 3098"/>
                  <a:gd name="T8" fmla="*/ 585 w 2544"/>
                  <a:gd name="T9" fmla="*/ 261 h 3098"/>
                  <a:gd name="T10" fmla="*/ 421 w 2544"/>
                  <a:gd name="T11" fmla="*/ 501 h 3098"/>
                  <a:gd name="T12" fmla="*/ 380 w 2544"/>
                  <a:gd name="T13" fmla="*/ 599 h 3098"/>
                  <a:gd name="T14" fmla="*/ 203 w 2544"/>
                  <a:gd name="T15" fmla="*/ 948 h 3098"/>
                  <a:gd name="T16" fmla="*/ 308 w 2544"/>
                  <a:gd name="T17" fmla="*/ 1237 h 3098"/>
                  <a:gd name="T18" fmla="*/ 334 w 2544"/>
                  <a:gd name="T19" fmla="*/ 1415 h 3098"/>
                  <a:gd name="T20" fmla="*/ 389 w 2544"/>
                  <a:gd name="T21" fmla="*/ 1611 h 3098"/>
                  <a:gd name="T22" fmla="*/ 229 w 2544"/>
                  <a:gd name="T23" fmla="*/ 1707 h 3098"/>
                  <a:gd name="T24" fmla="*/ 272 w 2544"/>
                  <a:gd name="T25" fmla="*/ 1778 h 3098"/>
                  <a:gd name="T26" fmla="*/ 737 w 2544"/>
                  <a:gd name="T27" fmla="*/ 1781 h 3098"/>
                  <a:gd name="T28" fmla="*/ 93 w 2544"/>
                  <a:gd name="T29" fmla="*/ 1349 h 3098"/>
                  <a:gd name="T30" fmla="*/ 1147 w 2544"/>
                  <a:gd name="T31" fmla="*/ 979 h 3098"/>
                  <a:gd name="T32" fmla="*/ 835 w 2544"/>
                  <a:gd name="T33" fmla="*/ 1349 h 3098"/>
                  <a:gd name="T34" fmla="*/ 481 w 2544"/>
                  <a:gd name="T35" fmla="*/ 1485 h 3098"/>
                  <a:gd name="T36" fmla="*/ 571 w 2544"/>
                  <a:gd name="T37" fmla="*/ 1270 h 3098"/>
                  <a:gd name="T38" fmla="*/ 1307 w 2544"/>
                  <a:gd name="T39" fmla="*/ 1476 h 3098"/>
                  <a:gd name="T40" fmla="*/ 1011 w 2544"/>
                  <a:gd name="T41" fmla="*/ 1635 h 3098"/>
                  <a:gd name="T42" fmla="*/ 695 w 2544"/>
                  <a:gd name="T43" fmla="*/ 1652 h 3098"/>
                  <a:gd name="T44" fmla="*/ 786 w 2544"/>
                  <a:gd name="T45" fmla="*/ 1749 h 3098"/>
                  <a:gd name="T46" fmla="*/ 848 w 2544"/>
                  <a:gd name="T47" fmla="*/ 1758 h 3098"/>
                  <a:gd name="T48" fmla="*/ 1625 w 2544"/>
                  <a:gd name="T49" fmla="*/ 640 h 3098"/>
                  <a:gd name="T50" fmla="*/ 1295 w 2544"/>
                  <a:gd name="T51" fmla="*/ 663 h 3098"/>
                  <a:gd name="T52" fmla="*/ 990 w 2544"/>
                  <a:gd name="T53" fmla="*/ 803 h 3098"/>
                  <a:gd name="T54" fmla="*/ 1352 w 2544"/>
                  <a:gd name="T55" fmla="*/ 1240 h 3098"/>
                  <a:gd name="T56" fmla="*/ 722 w 2544"/>
                  <a:gd name="T57" fmla="*/ 1340 h 3098"/>
                  <a:gd name="T58" fmla="*/ 489 w 2544"/>
                  <a:gd name="T59" fmla="*/ 1261 h 3098"/>
                  <a:gd name="T60" fmla="*/ 352 w 2544"/>
                  <a:gd name="T61" fmla="*/ 1178 h 3098"/>
                  <a:gd name="T62" fmla="*/ 767 w 2544"/>
                  <a:gd name="T63" fmla="*/ 1244 h 3098"/>
                  <a:gd name="T64" fmla="*/ 638 w 2544"/>
                  <a:gd name="T65" fmla="*/ 1169 h 3098"/>
                  <a:gd name="T66" fmla="*/ 870 w 2544"/>
                  <a:gd name="T67" fmla="*/ 1061 h 3098"/>
                  <a:gd name="T68" fmla="*/ 545 w 2544"/>
                  <a:gd name="T69" fmla="*/ 1430 h 3098"/>
                  <a:gd name="T70" fmla="*/ 845 w 2544"/>
                  <a:gd name="T71" fmla="*/ 952 h 3098"/>
                  <a:gd name="T72" fmla="*/ 863 w 2544"/>
                  <a:gd name="T73" fmla="*/ 951 h 3098"/>
                  <a:gd name="T74" fmla="*/ 863 w 2544"/>
                  <a:gd name="T75" fmla="*/ 954 h 3098"/>
                  <a:gd name="T76" fmla="*/ 483 w 2544"/>
                  <a:gd name="T77" fmla="*/ 945 h 3098"/>
                  <a:gd name="T78" fmla="*/ 865 w 2544"/>
                  <a:gd name="T79" fmla="*/ 943 h 3098"/>
                  <a:gd name="T80" fmla="*/ 866 w 2544"/>
                  <a:gd name="T81" fmla="*/ 940 h 3098"/>
                  <a:gd name="T82" fmla="*/ 867 w 2544"/>
                  <a:gd name="T83" fmla="*/ 936 h 3098"/>
                  <a:gd name="T84" fmla="*/ 868 w 2544"/>
                  <a:gd name="T85" fmla="*/ 932 h 3098"/>
                  <a:gd name="T86" fmla="*/ 846 w 2544"/>
                  <a:gd name="T87" fmla="*/ 945 h 3098"/>
                  <a:gd name="T88" fmla="*/ 827 w 2544"/>
                  <a:gd name="T89" fmla="*/ 800 h 3098"/>
                  <a:gd name="T90" fmla="*/ 547 w 2544"/>
                  <a:gd name="T91" fmla="*/ 708 h 3098"/>
                  <a:gd name="T92" fmla="*/ 1125 w 2544"/>
                  <a:gd name="T93" fmla="*/ 664 h 3098"/>
                  <a:gd name="T94" fmla="*/ 845 w 2544"/>
                  <a:gd name="T95" fmla="*/ 940 h 3098"/>
                  <a:gd name="T96" fmla="*/ 362 w 2544"/>
                  <a:gd name="T97" fmla="*/ 843 h 3098"/>
                  <a:gd name="T98" fmla="*/ 543 w 2544"/>
                  <a:gd name="T99" fmla="*/ 716 h 3098"/>
                  <a:gd name="T100" fmla="*/ 1408 w 2544"/>
                  <a:gd name="T101" fmla="*/ 296 h 3098"/>
                  <a:gd name="T102" fmla="*/ 842 w 2544"/>
                  <a:gd name="T103" fmla="*/ 470 h 3098"/>
                  <a:gd name="T104" fmla="*/ 990 w 2544"/>
                  <a:gd name="T105" fmla="*/ 537 h 3098"/>
                  <a:gd name="T106" fmla="*/ 1578 w 2544"/>
                  <a:gd name="T107" fmla="*/ 561 h 3098"/>
                  <a:gd name="T108" fmla="*/ 1020 w 2544"/>
                  <a:gd name="T109" fmla="*/ 246 h 3098"/>
                  <a:gd name="T110" fmla="*/ 840 w 2544"/>
                  <a:gd name="T111" fmla="*/ 549 h 3098"/>
                  <a:gd name="T112" fmla="*/ 710 w 2544"/>
                  <a:gd name="T113" fmla="*/ 459 h 3098"/>
                  <a:gd name="T114" fmla="*/ 785 w 2544"/>
                  <a:gd name="T115" fmla="*/ 1644 h 3098"/>
                  <a:gd name="T116" fmla="*/ 1126 w 2544"/>
                  <a:gd name="T117" fmla="*/ 1222 h 3098"/>
                  <a:gd name="T118" fmla="*/ 860 w 2544"/>
                  <a:gd name="T119" fmla="*/ 966 h 3098"/>
                  <a:gd name="T120" fmla="*/ 1019 w 2544"/>
                  <a:gd name="T121" fmla="*/ 1650 h 3098"/>
                  <a:gd name="T122" fmla="*/ 1014 w 2544"/>
                  <a:gd name="T123" fmla="*/ 531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4" h="3098">
                    <a:moveTo>
                      <a:pt x="2148" y="1044"/>
                    </a:moveTo>
                    <a:cubicBezTo>
                      <a:pt x="2190" y="965"/>
                      <a:pt x="2202" y="899"/>
                      <a:pt x="2201" y="845"/>
                    </a:cubicBezTo>
                    <a:cubicBezTo>
                      <a:pt x="2200" y="737"/>
                      <a:pt x="2139" y="593"/>
                      <a:pt x="2087" y="501"/>
                    </a:cubicBezTo>
                    <a:cubicBezTo>
                      <a:pt x="1854" y="93"/>
                      <a:pt x="1224" y="0"/>
                      <a:pt x="809" y="113"/>
                    </a:cubicBezTo>
                    <a:cubicBezTo>
                      <a:pt x="0" y="334"/>
                      <a:pt x="53" y="1213"/>
                      <a:pt x="117" y="1497"/>
                    </a:cubicBezTo>
                    <a:cubicBezTo>
                      <a:pt x="189" y="1862"/>
                      <a:pt x="420" y="2189"/>
                      <a:pt x="529" y="2269"/>
                    </a:cubicBezTo>
                    <a:cubicBezTo>
                      <a:pt x="484" y="2471"/>
                      <a:pt x="439" y="2672"/>
                      <a:pt x="393" y="2873"/>
                    </a:cubicBezTo>
                    <a:cubicBezTo>
                      <a:pt x="622" y="2956"/>
                      <a:pt x="925" y="3098"/>
                      <a:pt x="1497" y="2995"/>
                    </a:cubicBezTo>
                    <a:cubicBezTo>
                      <a:pt x="1542" y="2844"/>
                      <a:pt x="1586" y="2678"/>
                      <a:pt x="1789" y="2438"/>
                    </a:cubicBezTo>
                    <a:cubicBezTo>
                      <a:pt x="1964" y="2424"/>
                      <a:pt x="2139" y="2409"/>
                      <a:pt x="2313" y="2395"/>
                    </a:cubicBezTo>
                    <a:cubicBezTo>
                      <a:pt x="2519" y="2328"/>
                      <a:pt x="2416" y="2100"/>
                      <a:pt x="2421" y="2068"/>
                    </a:cubicBezTo>
                    <a:cubicBezTo>
                      <a:pt x="2544" y="1913"/>
                      <a:pt x="2413" y="1867"/>
                      <a:pt x="2410" y="1860"/>
                    </a:cubicBezTo>
                    <a:cubicBezTo>
                      <a:pt x="2459" y="1790"/>
                      <a:pt x="2517" y="1746"/>
                      <a:pt x="2377" y="1606"/>
                    </a:cubicBezTo>
                    <a:cubicBezTo>
                      <a:pt x="2406" y="1572"/>
                      <a:pt x="2457" y="1530"/>
                      <a:pt x="2481" y="1480"/>
                    </a:cubicBezTo>
                    <a:cubicBezTo>
                      <a:pt x="2502" y="1438"/>
                      <a:pt x="2502" y="1419"/>
                      <a:pt x="2471" y="1385"/>
                    </a:cubicBezTo>
                    <a:cubicBezTo>
                      <a:pt x="2409" y="1319"/>
                      <a:pt x="2246" y="1199"/>
                      <a:pt x="2168" y="1118"/>
                    </a:cubicBezTo>
                    <a:cubicBezTo>
                      <a:pt x="2136" y="1084"/>
                      <a:pt x="2129" y="1080"/>
                      <a:pt x="2148" y="1044"/>
                    </a:cubicBezTo>
                    <a:close/>
                    <a:moveTo>
                      <a:pt x="298" y="1970"/>
                    </a:moveTo>
                    <a:lnTo>
                      <a:pt x="365" y="1905"/>
                    </a:lnTo>
                    <a:lnTo>
                      <a:pt x="365" y="1905"/>
                    </a:lnTo>
                    <a:lnTo>
                      <a:pt x="376" y="1894"/>
                    </a:lnTo>
                    <a:lnTo>
                      <a:pt x="524" y="1894"/>
                    </a:lnTo>
                    <a:cubicBezTo>
                      <a:pt x="526" y="1897"/>
                      <a:pt x="527" y="1900"/>
                      <a:pt x="529" y="1903"/>
                    </a:cubicBezTo>
                    <a:lnTo>
                      <a:pt x="379" y="1903"/>
                    </a:lnTo>
                    <a:lnTo>
                      <a:pt x="370" y="1912"/>
                    </a:lnTo>
                    <a:lnTo>
                      <a:pt x="370" y="1912"/>
                    </a:lnTo>
                    <a:lnTo>
                      <a:pt x="368" y="1909"/>
                    </a:lnTo>
                    <a:lnTo>
                      <a:pt x="370" y="1912"/>
                    </a:lnTo>
                    <a:lnTo>
                      <a:pt x="302" y="1978"/>
                    </a:lnTo>
                    <a:cubicBezTo>
                      <a:pt x="301" y="1975"/>
                      <a:pt x="299" y="1973"/>
                      <a:pt x="298" y="1970"/>
                    </a:cubicBezTo>
                    <a:close/>
                    <a:moveTo>
                      <a:pt x="1939" y="322"/>
                    </a:moveTo>
                    <a:cubicBezTo>
                      <a:pt x="1936" y="319"/>
                      <a:pt x="1933" y="317"/>
                      <a:pt x="1930" y="314"/>
                    </a:cubicBezTo>
                    <a:lnTo>
                      <a:pt x="1930" y="391"/>
                    </a:lnTo>
                    <a:lnTo>
                      <a:pt x="1930" y="391"/>
                    </a:lnTo>
                    <a:lnTo>
                      <a:pt x="1930" y="444"/>
                    </a:lnTo>
                    <a:lnTo>
                      <a:pt x="1904" y="471"/>
                    </a:lnTo>
                    <a:lnTo>
                      <a:pt x="1906" y="473"/>
                    </a:lnTo>
                    <a:lnTo>
                      <a:pt x="1904" y="471"/>
                    </a:lnTo>
                    <a:lnTo>
                      <a:pt x="1832" y="547"/>
                    </a:lnTo>
                    <a:cubicBezTo>
                      <a:pt x="1819" y="529"/>
                      <a:pt x="1806" y="512"/>
                      <a:pt x="1793" y="495"/>
                    </a:cubicBezTo>
                    <a:lnTo>
                      <a:pt x="1846" y="443"/>
                    </a:lnTo>
                    <a:lnTo>
                      <a:pt x="1846" y="423"/>
                    </a:lnTo>
                    <a:lnTo>
                      <a:pt x="1843" y="420"/>
                    </a:lnTo>
                    <a:lnTo>
                      <a:pt x="1846" y="423"/>
                    </a:lnTo>
                    <a:lnTo>
                      <a:pt x="1846" y="423"/>
                    </a:lnTo>
                    <a:lnTo>
                      <a:pt x="1846" y="328"/>
                    </a:lnTo>
                    <a:cubicBezTo>
                      <a:pt x="1843" y="326"/>
                      <a:pt x="1841" y="324"/>
                      <a:pt x="1838" y="322"/>
                    </a:cubicBezTo>
                    <a:lnTo>
                      <a:pt x="1838" y="416"/>
                    </a:lnTo>
                    <a:lnTo>
                      <a:pt x="1839" y="417"/>
                    </a:lnTo>
                    <a:lnTo>
                      <a:pt x="1838" y="416"/>
                    </a:lnTo>
                    <a:lnTo>
                      <a:pt x="1838" y="439"/>
                    </a:lnTo>
                    <a:lnTo>
                      <a:pt x="1787" y="488"/>
                    </a:lnTo>
                    <a:cubicBezTo>
                      <a:pt x="1772" y="470"/>
                      <a:pt x="1756" y="453"/>
                      <a:pt x="1739" y="436"/>
                    </a:cubicBezTo>
                    <a:lnTo>
                      <a:pt x="1754" y="419"/>
                    </a:lnTo>
                    <a:lnTo>
                      <a:pt x="1754" y="362"/>
                    </a:lnTo>
                    <a:lnTo>
                      <a:pt x="1754" y="362"/>
                    </a:lnTo>
                    <a:lnTo>
                      <a:pt x="1754" y="274"/>
                    </a:lnTo>
                    <a:lnTo>
                      <a:pt x="1754" y="274"/>
                    </a:lnTo>
                    <a:lnTo>
                      <a:pt x="1754" y="274"/>
                    </a:lnTo>
                    <a:lnTo>
                      <a:pt x="1754" y="274"/>
                    </a:lnTo>
                    <a:lnTo>
                      <a:pt x="1754" y="199"/>
                    </a:lnTo>
                    <a:cubicBezTo>
                      <a:pt x="1751" y="198"/>
                      <a:pt x="1748" y="196"/>
                      <a:pt x="1745" y="195"/>
                    </a:cubicBezTo>
                    <a:lnTo>
                      <a:pt x="1745" y="270"/>
                    </a:lnTo>
                    <a:lnTo>
                      <a:pt x="1747" y="271"/>
                    </a:lnTo>
                    <a:lnTo>
                      <a:pt x="1745" y="270"/>
                    </a:lnTo>
                    <a:lnTo>
                      <a:pt x="1745" y="357"/>
                    </a:lnTo>
                    <a:lnTo>
                      <a:pt x="1745" y="357"/>
                    </a:lnTo>
                    <a:lnTo>
                      <a:pt x="1745" y="416"/>
                    </a:lnTo>
                    <a:lnTo>
                      <a:pt x="1733" y="430"/>
                    </a:lnTo>
                    <a:cubicBezTo>
                      <a:pt x="1717" y="414"/>
                      <a:pt x="1701" y="400"/>
                      <a:pt x="1685" y="386"/>
                    </a:cubicBezTo>
                    <a:lnTo>
                      <a:pt x="1688" y="382"/>
                    </a:lnTo>
                    <a:lnTo>
                      <a:pt x="1688" y="328"/>
                    </a:lnTo>
                    <a:lnTo>
                      <a:pt x="1688" y="328"/>
                    </a:lnTo>
                    <a:lnTo>
                      <a:pt x="1688" y="244"/>
                    </a:lnTo>
                    <a:lnTo>
                      <a:pt x="1688" y="244"/>
                    </a:lnTo>
                    <a:lnTo>
                      <a:pt x="1688" y="244"/>
                    </a:lnTo>
                    <a:lnTo>
                      <a:pt x="1688" y="169"/>
                    </a:lnTo>
                    <a:cubicBezTo>
                      <a:pt x="1685" y="168"/>
                      <a:pt x="1682" y="166"/>
                      <a:pt x="1679" y="165"/>
                    </a:cubicBezTo>
                    <a:lnTo>
                      <a:pt x="1679" y="241"/>
                    </a:lnTo>
                    <a:cubicBezTo>
                      <a:pt x="1682" y="242"/>
                      <a:pt x="1684" y="243"/>
                      <a:pt x="1686" y="243"/>
                    </a:cubicBezTo>
                    <a:cubicBezTo>
                      <a:pt x="1684" y="243"/>
                      <a:pt x="1682" y="242"/>
                      <a:pt x="1679" y="241"/>
                    </a:cubicBezTo>
                    <a:lnTo>
                      <a:pt x="1679" y="325"/>
                    </a:lnTo>
                    <a:lnTo>
                      <a:pt x="1679" y="325"/>
                    </a:lnTo>
                    <a:lnTo>
                      <a:pt x="1679" y="379"/>
                    </a:lnTo>
                    <a:lnTo>
                      <a:pt x="1678" y="380"/>
                    </a:lnTo>
                    <a:cubicBezTo>
                      <a:pt x="1600" y="315"/>
                      <a:pt x="1510" y="264"/>
                      <a:pt x="1411" y="230"/>
                    </a:cubicBezTo>
                    <a:lnTo>
                      <a:pt x="1411" y="230"/>
                    </a:lnTo>
                    <a:cubicBezTo>
                      <a:pt x="1409" y="229"/>
                      <a:pt x="1407" y="229"/>
                      <a:pt x="1405" y="228"/>
                    </a:cubicBezTo>
                    <a:lnTo>
                      <a:pt x="1403" y="227"/>
                    </a:lnTo>
                    <a:cubicBezTo>
                      <a:pt x="1319" y="200"/>
                      <a:pt x="1230" y="185"/>
                      <a:pt x="1137" y="185"/>
                    </a:cubicBezTo>
                    <a:cubicBezTo>
                      <a:pt x="1097" y="185"/>
                      <a:pt x="1058" y="187"/>
                      <a:pt x="1020" y="193"/>
                    </a:cubicBezTo>
                    <a:lnTo>
                      <a:pt x="1020" y="75"/>
                    </a:lnTo>
                    <a:cubicBezTo>
                      <a:pt x="1017" y="76"/>
                      <a:pt x="1014" y="76"/>
                      <a:pt x="1011" y="76"/>
                    </a:cubicBezTo>
                    <a:lnTo>
                      <a:pt x="1011" y="194"/>
                    </a:lnTo>
                    <a:cubicBezTo>
                      <a:pt x="916" y="208"/>
                      <a:pt x="826" y="238"/>
                      <a:pt x="743" y="281"/>
                    </a:cubicBezTo>
                    <a:lnTo>
                      <a:pt x="743" y="133"/>
                    </a:lnTo>
                    <a:cubicBezTo>
                      <a:pt x="740" y="134"/>
                      <a:pt x="737" y="135"/>
                      <a:pt x="735" y="136"/>
                    </a:cubicBezTo>
                    <a:lnTo>
                      <a:pt x="735" y="286"/>
                    </a:lnTo>
                    <a:cubicBezTo>
                      <a:pt x="715" y="296"/>
                      <a:pt x="696" y="308"/>
                      <a:pt x="677" y="320"/>
                    </a:cubicBezTo>
                    <a:lnTo>
                      <a:pt x="677" y="177"/>
                    </a:lnTo>
                    <a:lnTo>
                      <a:pt x="676" y="178"/>
                    </a:lnTo>
                    <a:lnTo>
                      <a:pt x="677" y="177"/>
                    </a:lnTo>
                    <a:lnTo>
                      <a:pt x="677" y="158"/>
                    </a:lnTo>
                    <a:cubicBezTo>
                      <a:pt x="675" y="159"/>
                      <a:pt x="672" y="160"/>
                      <a:pt x="669" y="161"/>
                    </a:cubicBezTo>
                    <a:lnTo>
                      <a:pt x="669" y="184"/>
                    </a:lnTo>
                    <a:lnTo>
                      <a:pt x="669" y="184"/>
                    </a:lnTo>
                    <a:lnTo>
                      <a:pt x="669" y="325"/>
                    </a:lnTo>
                    <a:cubicBezTo>
                      <a:pt x="640" y="345"/>
                      <a:pt x="612" y="366"/>
                      <a:pt x="585" y="388"/>
                    </a:cubicBezTo>
                    <a:lnTo>
                      <a:pt x="585" y="261"/>
                    </a:lnTo>
                    <a:lnTo>
                      <a:pt x="585" y="261"/>
                    </a:lnTo>
                    <a:lnTo>
                      <a:pt x="585" y="201"/>
                    </a:lnTo>
                    <a:cubicBezTo>
                      <a:pt x="582" y="203"/>
                      <a:pt x="579" y="204"/>
                      <a:pt x="576" y="206"/>
                    </a:cubicBezTo>
                    <a:lnTo>
                      <a:pt x="576" y="270"/>
                    </a:lnTo>
                    <a:lnTo>
                      <a:pt x="576" y="270"/>
                    </a:lnTo>
                    <a:cubicBezTo>
                      <a:pt x="579" y="268"/>
                      <a:pt x="582" y="265"/>
                      <a:pt x="584" y="262"/>
                    </a:cubicBezTo>
                    <a:lnTo>
                      <a:pt x="576" y="270"/>
                    </a:lnTo>
                    <a:lnTo>
                      <a:pt x="576" y="396"/>
                    </a:lnTo>
                    <a:cubicBezTo>
                      <a:pt x="563" y="408"/>
                      <a:pt x="550" y="420"/>
                      <a:pt x="537" y="433"/>
                    </a:cubicBezTo>
                    <a:cubicBezTo>
                      <a:pt x="528" y="442"/>
                      <a:pt x="519" y="451"/>
                      <a:pt x="511" y="460"/>
                    </a:cubicBezTo>
                    <a:lnTo>
                      <a:pt x="493" y="441"/>
                    </a:lnTo>
                    <a:lnTo>
                      <a:pt x="493" y="376"/>
                    </a:lnTo>
                    <a:lnTo>
                      <a:pt x="493" y="376"/>
                    </a:lnTo>
                    <a:lnTo>
                      <a:pt x="493" y="258"/>
                    </a:lnTo>
                    <a:cubicBezTo>
                      <a:pt x="490" y="260"/>
                      <a:pt x="487" y="262"/>
                      <a:pt x="484" y="264"/>
                    </a:cubicBezTo>
                    <a:lnTo>
                      <a:pt x="484" y="389"/>
                    </a:lnTo>
                    <a:lnTo>
                      <a:pt x="484" y="389"/>
                    </a:lnTo>
                    <a:cubicBezTo>
                      <a:pt x="487" y="385"/>
                      <a:pt x="489" y="381"/>
                      <a:pt x="491" y="378"/>
                    </a:cubicBezTo>
                    <a:lnTo>
                      <a:pt x="484" y="389"/>
                    </a:lnTo>
                    <a:lnTo>
                      <a:pt x="484" y="445"/>
                    </a:lnTo>
                    <a:lnTo>
                      <a:pt x="505" y="467"/>
                    </a:lnTo>
                    <a:cubicBezTo>
                      <a:pt x="486" y="488"/>
                      <a:pt x="468" y="510"/>
                      <a:pt x="452" y="532"/>
                    </a:cubicBezTo>
                    <a:lnTo>
                      <a:pt x="421" y="501"/>
                    </a:lnTo>
                    <a:lnTo>
                      <a:pt x="421" y="501"/>
                    </a:lnTo>
                    <a:lnTo>
                      <a:pt x="387" y="466"/>
                    </a:lnTo>
                    <a:lnTo>
                      <a:pt x="387" y="345"/>
                    </a:lnTo>
                    <a:cubicBezTo>
                      <a:pt x="384" y="348"/>
                      <a:pt x="382" y="351"/>
                      <a:pt x="379" y="353"/>
                    </a:cubicBezTo>
                    <a:lnTo>
                      <a:pt x="379" y="470"/>
                    </a:lnTo>
                    <a:lnTo>
                      <a:pt x="417" y="509"/>
                    </a:lnTo>
                    <a:lnTo>
                      <a:pt x="417" y="509"/>
                    </a:lnTo>
                    <a:lnTo>
                      <a:pt x="419" y="505"/>
                    </a:lnTo>
                    <a:cubicBezTo>
                      <a:pt x="418" y="506"/>
                      <a:pt x="418" y="508"/>
                      <a:pt x="417" y="509"/>
                    </a:cubicBezTo>
                    <a:lnTo>
                      <a:pt x="447" y="540"/>
                    </a:lnTo>
                    <a:cubicBezTo>
                      <a:pt x="430" y="562"/>
                      <a:pt x="415" y="586"/>
                      <a:pt x="401" y="610"/>
                    </a:cubicBezTo>
                    <a:lnTo>
                      <a:pt x="383" y="590"/>
                    </a:lnTo>
                    <a:lnTo>
                      <a:pt x="383" y="591"/>
                    </a:lnTo>
                    <a:lnTo>
                      <a:pt x="383" y="590"/>
                    </a:lnTo>
                    <a:lnTo>
                      <a:pt x="308" y="503"/>
                    </a:lnTo>
                    <a:lnTo>
                      <a:pt x="308" y="433"/>
                    </a:lnTo>
                    <a:cubicBezTo>
                      <a:pt x="305" y="436"/>
                      <a:pt x="302" y="440"/>
                      <a:pt x="300" y="444"/>
                    </a:cubicBezTo>
                    <a:lnTo>
                      <a:pt x="300" y="506"/>
                    </a:lnTo>
                    <a:lnTo>
                      <a:pt x="380" y="599"/>
                    </a:lnTo>
                    <a:lnTo>
                      <a:pt x="380" y="599"/>
                    </a:lnTo>
                    <a:lnTo>
                      <a:pt x="381" y="596"/>
                    </a:lnTo>
                    <a:lnTo>
                      <a:pt x="380" y="599"/>
                    </a:lnTo>
                    <a:lnTo>
                      <a:pt x="396" y="618"/>
                    </a:lnTo>
                    <a:cubicBezTo>
                      <a:pt x="382" y="643"/>
                      <a:pt x="370" y="669"/>
                      <a:pt x="358" y="696"/>
                    </a:cubicBezTo>
                    <a:lnTo>
                      <a:pt x="351" y="689"/>
                    </a:lnTo>
                    <a:cubicBezTo>
                      <a:pt x="350" y="692"/>
                      <a:pt x="350" y="694"/>
                      <a:pt x="349" y="697"/>
                    </a:cubicBezTo>
                    <a:cubicBezTo>
                      <a:pt x="350" y="694"/>
                      <a:pt x="350" y="692"/>
                      <a:pt x="351" y="689"/>
                    </a:cubicBezTo>
                    <a:lnTo>
                      <a:pt x="224" y="561"/>
                    </a:lnTo>
                    <a:cubicBezTo>
                      <a:pt x="223" y="564"/>
                      <a:pt x="221" y="566"/>
                      <a:pt x="220" y="569"/>
                    </a:cubicBezTo>
                    <a:lnTo>
                      <a:pt x="348" y="699"/>
                    </a:lnTo>
                    <a:lnTo>
                      <a:pt x="348" y="699"/>
                    </a:lnTo>
                    <a:lnTo>
                      <a:pt x="354" y="705"/>
                    </a:lnTo>
                    <a:cubicBezTo>
                      <a:pt x="350" y="714"/>
                      <a:pt x="346" y="724"/>
                      <a:pt x="343" y="733"/>
                    </a:cubicBezTo>
                    <a:cubicBezTo>
                      <a:pt x="342" y="736"/>
                      <a:pt x="341" y="739"/>
                      <a:pt x="339" y="742"/>
                    </a:cubicBezTo>
                    <a:cubicBezTo>
                      <a:pt x="318" y="801"/>
                      <a:pt x="303" y="862"/>
                      <a:pt x="295" y="926"/>
                    </a:cubicBezTo>
                    <a:lnTo>
                      <a:pt x="282" y="914"/>
                    </a:lnTo>
                    <a:lnTo>
                      <a:pt x="282" y="857"/>
                    </a:lnTo>
                    <a:lnTo>
                      <a:pt x="151" y="731"/>
                    </a:lnTo>
                    <a:cubicBezTo>
                      <a:pt x="150" y="734"/>
                      <a:pt x="149" y="737"/>
                      <a:pt x="148" y="740"/>
                    </a:cubicBezTo>
                    <a:lnTo>
                      <a:pt x="273" y="861"/>
                    </a:lnTo>
                    <a:lnTo>
                      <a:pt x="273" y="918"/>
                    </a:lnTo>
                    <a:lnTo>
                      <a:pt x="294" y="936"/>
                    </a:lnTo>
                    <a:cubicBezTo>
                      <a:pt x="291" y="966"/>
                      <a:pt x="289" y="997"/>
                      <a:pt x="289" y="1028"/>
                    </a:cubicBezTo>
                    <a:lnTo>
                      <a:pt x="203" y="948"/>
                    </a:lnTo>
                    <a:lnTo>
                      <a:pt x="203" y="886"/>
                    </a:lnTo>
                    <a:lnTo>
                      <a:pt x="127" y="812"/>
                    </a:lnTo>
                    <a:cubicBezTo>
                      <a:pt x="127" y="815"/>
                      <a:pt x="126" y="819"/>
                      <a:pt x="125" y="822"/>
                    </a:cubicBezTo>
                    <a:lnTo>
                      <a:pt x="194" y="889"/>
                    </a:lnTo>
                    <a:lnTo>
                      <a:pt x="194" y="951"/>
                    </a:lnTo>
                    <a:lnTo>
                      <a:pt x="289" y="1040"/>
                    </a:lnTo>
                    <a:cubicBezTo>
                      <a:pt x="289" y="1084"/>
                      <a:pt x="293" y="1127"/>
                      <a:pt x="299" y="1169"/>
                    </a:cubicBezTo>
                    <a:lnTo>
                      <a:pt x="274" y="1169"/>
                    </a:lnTo>
                    <a:lnTo>
                      <a:pt x="96" y="982"/>
                    </a:lnTo>
                    <a:cubicBezTo>
                      <a:pt x="95" y="986"/>
                      <a:pt x="95" y="990"/>
                      <a:pt x="94" y="994"/>
                    </a:cubicBezTo>
                    <a:lnTo>
                      <a:pt x="270" y="1178"/>
                    </a:lnTo>
                    <a:lnTo>
                      <a:pt x="301" y="1178"/>
                    </a:lnTo>
                    <a:cubicBezTo>
                      <a:pt x="304" y="1197"/>
                      <a:pt x="308" y="1216"/>
                      <a:pt x="313" y="1235"/>
                    </a:cubicBezTo>
                    <a:lnTo>
                      <a:pt x="307" y="1235"/>
                    </a:lnTo>
                    <a:lnTo>
                      <a:pt x="307" y="1235"/>
                    </a:lnTo>
                    <a:lnTo>
                      <a:pt x="274" y="1235"/>
                    </a:lnTo>
                    <a:lnTo>
                      <a:pt x="90" y="1039"/>
                    </a:lnTo>
                    <a:cubicBezTo>
                      <a:pt x="90" y="1043"/>
                      <a:pt x="89" y="1047"/>
                      <a:pt x="89" y="1050"/>
                    </a:cubicBezTo>
                    <a:lnTo>
                      <a:pt x="270" y="1244"/>
                    </a:lnTo>
                    <a:lnTo>
                      <a:pt x="308" y="1244"/>
                    </a:lnTo>
                    <a:lnTo>
                      <a:pt x="308" y="1244"/>
                    </a:lnTo>
                    <a:cubicBezTo>
                      <a:pt x="308" y="1242"/>
                      <a:pt x="308" y="1240"/>
                      <a:pt x="308" y="1237"/>
                    </a:cubicBezTo>
                    <a:lnTo>
                      <a:pt x="308" y="1244"/>
                    </a:lnTo>
                    <a:lnTo>
                      <a:pt x="315" y="1244"/>
                    </a:lnTo>
                    <a:cubicBezTo>
                      <a:pt x="323" y="1277"/>
                      <a:pt x="334" y="1309"/>
                      <a:pt x="346" y="1340"/>
                    </a:cubicBezTo>
                    <a:lnTo>
                      <a:pt x="321" y="1340"/>
                    </a:lnTo>
                    <a:lnTo>
                      <a:pt x="321" y="1340"/>
                    </a:lnTo>
                    <a:lnTo>
                      <a:pt x="92" y="1340"/>
                    </a:lnTo>
                    <a:cubicBezTo>
                      <a:pt x="93" y="1343"/>
                      <a:pt x="94" y="1346"/>
                      <a:pt x="94" y="1349"/>
                    </a:cubicBezTo>
                    <a:lnTo>
                      <a:pt x="322" y="1349"/>
                    </a:lnTo>
                    <a:lnTo>
                      <a:pt x="322" y="1349"/>
                    </a:lnTo>
                    <a:lnTo>
                      <a:pt x="322" y="1349"/>
                    </a:lnTo>
                    <a:lnTo>
                      <a:pt x="349" y="1349"/>
                    </a:lnTo>
                    <a:cubicBezTo>
                      <a:pt x="357" y="1368"/>
                      <a:pt x="366" y="1388"/>
                      <a:pt x="375" y="1406"/>
                    </a:cubicBezTo>
                    <a:lnTo>
                      <a:pt x="332" y="1406"/>
                    </a:lnTo>
                    <a:lnTo>
                      <a:pt x="332" y="1406"/>
                    </a:lnTo>
                    <a:lnTo>
                      <a:pt x="108" y="1406"/>
                    </a:lnTo>
                    <a:lnTo>
                      <a:pt x="108" y="1406"/>
                    </a:lnTo>
                    <a:lnTo>
                      <a:pt x="100" y="1406"/>
                    </a:lnTo>
                    <a:cubicBezTo>
                      <a:pt x="101" y="1409"/>
                      <a:pt x="101" y="1412"/>
                      <a:pt x="102" y="1415"/>
                    </a:cubicBezTo>
                    <a:lnTo>
                      <a:pt x="110" y="1415"/>
                    </a:lnTo>
                    <a:lnTo>
                      <a:pt x="110" y="1412"/>
                    </a:lnTo>
                    <a:cubicBezTo>
                      <a:pt x="110" y="1413"/>
                      <a:pt x="110" y="1414"/>
                      <a:pt x="110" y="1415"/>
                    </a:cubicBezTo>
                    <a:lnTo>
                      <a:pt x="334" y="1415"/>
                    </a:lnTo>
                    <a:lnTo>
                      <a:pt x="334" y="1415"/>
                    </a:lnTo>
                    <a:lnTo>
                      <a:pt x="334" y="1413"/>
                    </a:lnTo>
                    <a:lnTo>
                      <a:pt x="334" y="1415"/>
                    </a:lnTo>
                    <a:lnTo>
                      <a:pt x="379" y="1415"/>
                    </a:lnTo>
                    <a:cubicBezTo>
                      <a:pt x="392" y="1439"/>
                      <a:pt x="405" y="1463"/>
                      <a:pt x="419" y="1485"/>
                    </a:cubicBezTo>
                    <a:lnTo>
                      <a:pt x="351" y="1485"/>
                    </a:lnTo>
                    <a:lnTo>
                      <a:pt x="351" y="1485"/>
                    </a:lnTo>
                    <a:lnTo>
                      <a:pt x="167" y="1485"/>
                    </a:lnTo>
                    <a:lnTo>
                      <a:pt x="143" y="1517"/>
                    </a:lnTo>
                    <a:lnTo>
                      <a:pt x="143" y="1518"/>
                    </a:lnTo>
                    <a:lnTo>
                      <a:pt x="143" y="1517"/>
                    </a:lnTo>
                    <a:lnTo>
                      <a:pt x="126" y="1538"/>
                    </a:lnTo>
                    <a:cubicBezTo>
                      <a:pt x="126" y="1542"/>
                      <a:pt x="127" y="1546"/>
                      <a:pt x="128" y="1549"/>
                    </a:cubicBezTo>
                    <a:lnTo>
                      <a:pt x="146" y="1526"/>
                    </a:lnTo>
                    <a:lnTo>
                      <a:pt x="146" y="1526"/>
                    </a:lnTo>
                    <a:lnTo>
                      <a:pt x="171" y="1494"/>
                    </a:lnTo>
                    <a:lnTo>
                      <a:pt x="353" y="1494"/>
                    </a:lnTo>
                    <a:lnTo>
                      <a:pt x="353" y="1494"/>
                    </a:lnTo>
                    <a:lnTo>
                      <a:pt x="425" y="1494"/>
                    </a:lnTo>
                    <a:cubicBezTo>
                      <a:pt x="450" y="1533"/>
                      <a:pt x="479" y="1570"/>
                      <a:pt x="510" y="1604"/>
                    </a:cubicBezTo>
                    <a:lnTo>
                      <a:pt x="387" y="1604"/>
                    </a:lnTo>
                    <a:cubicBezTo>
                      <a:pt x="387" y="1606"/>
                      <a:pt x="388" y="1608"/>
                      <a:pt x="389" y="1611"/>
                    </a:cubicBezTo>
                    <a:lnTo>
                      <a:pt x="387" y="1604"/>
                    </a:lnTo>
                    <a:lnTo>
                      <a:pt x="195" y="1604"/>
                    </a:lnTo>
                    <a:lnTo>
                      <a:pt x="183" y="1615"/>
                    </a:lnTo>
                    <a:lnTo>
                      <a:pt x="183" y="1615"/>
                    </a:lnTo>
                    <a:lnTo>
                      <a:pt x="154" y="1641"/>
                    </a:lnTo>
                    <a:cubicBezTo>
                      <a:pt x="155" y="1644"/>
                      <a:pt x="156" y="1647"/>
                      <a:pt x="157" y="1650"/>
                    </a:cubicBezTo>
                    <a:lnTo>
                      <a:pt x="187" y="1623"/>
                    </a:lnTo>
                    <a:lnTo>
                      <a:pt x="187" y="1623"/>
                    </a:lnTo>
                    <a:lnTo>
                      <a:pt x="199" y="1613"/>
                    </a:lnTo>
                    <a:lnTo>
                      <a:pt x="390" y="1613"/>
                    </a:lnTo>
                    <a:lnTo>
                      <a:pt x="390" y="1613"/>
                    </a:lnTo>
                    <a:lnTo>
                      <a:pt x="514" y="1613"/>
                    </a:lnTo>
                    <a:lnTo>
                      <a:pt x="514" y="1613"/>
                    </a:lnTo>
                    <a:lnTo>
                      <a:pt x="516" y="1611"/>
                    </a:lnTo>
                    <a:cubicBezTo>
                      <a:pt x="523" y="1618"/>
                      <a:pt x="530" y="1625"/>
                      <a:pt x="537" y="1632"/>
                    </a:cubicBezTo>
                    <a:cubicBezTo>
                      <a:pt x="546" y="1642"/>
                      <a:pt x="556" y="1651"/>
                      <a:pt x="566" y="1660"/>
                    </a:cubicBezTo>
                    <a:lnTo>
                      <a:pt x="556" y="1670"/>
                    </a:lnTo>
                    <a:lnTo>
                      <a:pt x="411" y="1670"/>
                    </a:lnTo>
                    <a:lnTo>
                      <a:pt x="411" y="1670"/>
                    </a:lnTo>
                    <a:lnTo>
                      <a:pt x="266" y="1670"/>
                    </a:lnTo>
                    <a:lnTo>
                      <a:pt x="229" y="1707"/>
                    </a:lnTo>
                    <a:lnTo>
                      <a:pt x="229" y="1707"/>
                    </a:lnTo>
                    <a:lnTo>
                      <a:pt x="191" y="1746"/>
                    </a:lnTo>
                    <a:cubicBezTo>
                      <a:pt x="192" y="1749"/>
                      <a:pt x="193" y="1752"/>
                      <a:pt x="194" y="1755"/>
                    </a:cubicBezTo>
                    <a:lnTo>
                      <a:pt x="234" y="1715"/>
                    </a:lnTo>
                    <a:lnTo>
                      <a:pt x="232" y="1712"/>
                    </a:lnTo>
                    <a:lnTo>
                      <a:pt x="234" y="1715"/>
                    </a:lnTo>
                    <a:lnTo>
                      <a:pt x="234" y="1715"/>
                    </a:lnTo>
                    <a:lnTo>
                      <a:pt x="270" y="1679"/>
                    </a:lnTo>
                    <a:lnTo>
                      <a:pt x="415" y="1679"/>
                    </a:lnTo>
                    <a:lnTo>
                      <a:pt x="415" y="1679"/>
                    </a:lnTo>
                    <a:lnTo>
                      <a:pt x="560" y="1679"/>
                    </a:lnTo>
                    <a:lnTo>
                      <a:pt x="560" y="1679"/>
                    </a:lnTo>
                    <a:lnTo>
                      <a:pt x="572" y="1666"/>
                    </a:lnTo>
                    <a:cubicBezTo>
                      <a:pt x="588" y="1680"/>
                      <a:pt x="605" y="1694"/>
                      <a:pt x="622" y="1707"/>
                    </a:cubicBezTo>
                    <a:lnTo>
                      <a:pt x="590" y="1736"/>
                    </a:lnTo>
                    <a:lnTo>
                      <a:pt x="440" y="1736"/>
                    </a:lnTo>
                    <a:lnTo>
                      <a:pt x="440" y="1736"/>
                    </a:lnTo>
                    <a:lnTo>
                      <a:pt x="301" y="1736"/>
                    </a:lnTo>
                    <a:lnTo>
                      <a:pt x="267" y="1771"/>
                    </a:lnTo>
                    <a:lnTo>
                      <a:pt x="267" y="1771"/>
                    </a:lnTo>
                    <a:lnTo>
                      <a:pt x="221" y="1819"/>
                    </a:lnTo>
                    <a:cubicBezTo>
                      <a:pt x="222" y="1822"/>
                      <a:pt x="224" y="1824"/>
                      <a:pt x="225" y="1827"/>
                    </a:cubicBezTo>
                    <a:lnTo>
                      <a:pt x="272" y="1778"/>
                    </a:lnTo>
                    <a:lnTo>
                      <a:pt x="271" y="1776"/>
                    </a:lnTo>
                    <a:lnTo>
                      <a:pt x="272" y="1778"/>
                    </a:lnTo>
                    <a:lnTo>
                      <a:pt x="272" y="1778"/>
                    </a:lnTo>
                    <a:lnTo>
                      <a:pt x="304" y="1745"/>
                    </a:lnTo>
                    <a:lnTo>
                      <a:pt x="444" y="1745"/>
                    </a:lnTo>
                    <a:lnTo>
                      <a:pt x="441" y="1740"/>
                    </a:lnTo>
                    <a:cubicBezTo>
                      <a:pt x="442" y="1741"/>
                      <a:pt x="443" y="1743"/>
                      <a:pt x="444" y="1745"/>
                    </a:cubicBezTo>
                    <a:lnTo>
                      <a:pt x="593" y="1745"/>
                    </a:lnTo>
                    <a:lnTo>
                      <a:pt x="629" y="1712"/>
                    </a:lnTo>
                    <a:cubicBezTo>
                      <a:pt x="651" y="1728"/>
                      <a:pt x="673" y="1744"/>
                      <a:pt x="696" y="1758"/>
                    </a:cubicBezTo>
                    <a:lnTo>
                      <a:pt x="617" y="1841"/>
                    </a:lnTo>
                    <a:lnTo>
                      <a:pt x="493" y="1841"/>
                    </a:lnTo>
                    <a:cubicBezTo>
                      <a:pt x="495" y="1844"/>
                      <a:pt x="496" y="1847"/>
                      <a:pt x="498" y="1850"/>
                    </a:cubicBezTo>
                    <a:lnTo>
                      <a:pt x="620" y="1850"/>
                    </a:lnTo>
                    <a:lnTo>
                      <a:pt x="704" y="1762"/>
                    </a:lnTo>
                    <a:cubicBezTo>
                      <a:pt x="712" y="1767"/>
                      <a:pt x="720" y="1772"/>
                      <a:pt x="729" y="1777"/>
                    </a:cubicBezTo>
                    <a:lnTo>
                      <a:pt x="632" y="1894"/>
                    </a:lnTo>
                    <a:lnTo>
                      <a:pt x="524" y="1894"/>
                    </a:lnTo>
                    <a:cubicBezTo>
                      <a:pt x="526" y="1897"/>
                      <a:pt x="527" y="1900"/>
                      <a:pt x="529" y="1903"/>
                    </a:cubicBezTo>
                    <a:lnTo>
                      <a:pt x="636" y="1903"/>
                    </a:lnTo>
                    <a:lnTo>
                      <a:pt x="636" y="1903"/>
                    </a:lnTo>
                    <a:lnTo>
                      <a:pt x="737" y="1781"/>
                    </a:lnTo>
                    <a:cubicBezTo>
                      <a:pt x="856" y="1845"/>
                      <a:pt x="992" y="1881"/>
                      <a:pt x="1137" y="1881"/>
                    </a:cubicBezTo>
                    <a:cubicBezTo>
                      <a:pt x="1371" y="1881"/>
                      <a:pt x="1583" y="1786"/>
                      <a:pt x="1736" y="1632"/>
                    </a:cubicBezTo>
                    <a:cubicBezTo>
                      <a:pt x="1890" y="1479"/>
                      <a:pt x="1985" y="1267"/>
                      <a:pt x="1985" y="1033"/>
                    </a:cubicBezTo>
                    <a:cubicBezTo>
                      <a:pt x="1985" y="855"/>
                      <a:pt x="1930" y="690"/>
                      <a:pt x="1837" y="554"/>
                    </a:cubicBezTo>
                    <a:lnTo>
                      <a:pt x="1939" y="448"/>
                    </a:lnTo>
                    <a:lnTo>
                      <a:pt x="1939" y="442"/>
                    </a:lnTo>
                    <a:lnTo>
                      <a:pt x="1908" y="475"/>
                    </a:lnTo>
                    <a:cubicBezTo>
                      <a:pt x="1908" y="474"/>
                      <a:pt x="1908" y="474"/>
                      <a:pt x="1907" y="474"/>
                    </a:cubicBezTo>
                    <a:lnTo>
                      <a:pt x="1908" y="475"/>
                    </a:lnTo>
                    <a:lnTo>
                      <a:pt x="1908" y="475"/>
                    </a:lnTo>
                    <a:lnTo>
                      <a:pt x="1939" y="442"/>
                    </a:lnTo>
                    <a:lnTo>
                      <a:pt x="1939" y="398"/>
                    </a:lnTo>
                    <a:lnTo>
                      <a:pt x="1939" y="398"/>
                    </a:lnTo>
                    <a:lnTo>
                      <a:pt x="1939" y="322"/>
                    </a:lnTo>
                    <a:close/>
                    <a:moveTo>
                      <a:pt x="1846" y="252"/>
                    </a:moveTo>
                    <a:cubicBezTo>
                      <a:pt x="1844" y="250"/>
                      <a:pt x="1841" y="248"/>
                      <a:pt x="1838" y="246"/>
                    </a:cubicBezTo>
                    <a:lnTo>
                      <a:pt x="1838" y="322"/>
                    </a:lnTo>
                    <a:cubicBezTo>
                      <a:pt x="1841" y="324"/>
                      <a:pt x="1844" y="326"/>
                      <a:pt x="1846" y="328"/>
                    </a:cubicBezTo>
                    <a:lnTo>
                      <a:pt x="1846" y="328"/>
                    </a:lnTo>
                    <a:lnTo>
                      <a:pt x="1846" y="252"/>
                    </a:lnTo>
                    <a:close/>
                    <a:moveTo>
                      <a:pt x="92" y="1340"/>
                    </a:moveTo>
                    <a:cubicBezTo>
                      <a:pt x="93" y="1343"/>
                      <a:pt x="93" y="1346"/>
                      <a:pt x="93" y="1349"/>
                    </a:cubicBezTo>
                    <a:lnTo>
                      <a:pt x="94" y="1349"/>
                    </a:lnTo>
                    <a:cubicBezTo>
                      <a:pt x="94" y="1346"/>
                      <a:pt x="93" y="1343"/>
                      <a:pt x="92" y="1340"/>
                    </a:cubicBezTo>
                    <a:close/>
                    <a:moveTo>
                      <a:pt x="270" y="1919"/>
                    </a:moveTo>
                    <a:cubicBezTo>
                      <a:pt x="271" y="1922"/>
                      <a:pt x="273" y="1924"/>
                      <a:pt x="274" y="1927"/>
                    </a:cubicBezTo>
                    <a:lnTo>
                      <a:pt x="336" y="1869"/>
                    </a:lnTo>
                    <a:lnTo>
                      <a:pt x="336" y="1869"/>
                    </a:lnTo>
                    <a:lnTo>
                      <a:pt x="336" y="1869"/>
                    </a:lnTo>
                    <a:lnTo>
                      <a:pt x="356" y="1850"/>
                    </a:lnTo>
                    <a:lnTo>
                      <a:pt x="498" y="1850"/>
                    </a:lnTo>
                    <a:cubicBezTo>
                      <a:pt x="496" y="1847"/>
                      <a:pt x="495" y="1844"/>
                      <a:pt x="493" y="1841"/>
                    </a:cubicBezTo>
                    <a:lnTo>
                      <a:pt x="353" y="1841"/>
                    </a:lnTo>
                    <a:lnTo>
                      <a:pt x="331" y="1862"/>
                    </a:lnTo>
                    <a:lnTo>
                      <a:pt x="332" y="1864"/>
                    </a:lnTo>
                    <a:lnTo>
                      <a:pt x="331" y="1862"/>
                    </a:lnTo>
                    <a:lnTo>
                      <a:pt x="270" y="1919"/>
                    </a:lnTo>
                    <a:close/>
                    <a:moveTo>
                      <a:pt x="1051" y="947"/>
                    </a:moveTo>
                    <a:cubicBezTo>
                      <a:pt x="1067" y="931"/>
                      <a:pt x="1088" y="919"/>
                      <a:pt x="1111" y="914"/>
                    </a:cubicBezTo>
                    <a:lnTo>
                      <a:pt x="1131" y="934"/>
                    </a:lnTo>
                    <a:lnTo>
                      <a:pt x="1131" y="934"/>
                    </a:lnTo>
                    <a:lnTo>
                      <a:pt x="1131" y="934"/>
                    </a:lnTo>
                    <a:cubicBezTo>
                      <a:pt x="1125" y="939"/>
                      <a:pt x="1121" y="946"/>
                      <a:pt x="1121" y="954"/>
                    </a:cubicBezTo>
                    <a:cubicBezTo>
                      <a:pt x="1121" y="968"/>
                      <a:pt x="1133" y="979"/>
                      <a:pt x="1147" y="979"/>
                    </a:cubicBezTo>
                    <a:lnTo>
                      <a:pt x="1147" y="979"/>
                    </a:lnTo>
                    <a:cubicBezTo>
                      <a:pt x="1161" y="979"/>
                      <a:pt x="1172" y="968"/>
                      <a:pt x="1172" y="954"/>
                    </a:cubicBezTo>
                    <a:cubicBezTo>
                      <a:pt x="1172" y="940"/>
                      <a:pt x="1161" y="929"/>
                      <a:pt x="1147" y="929"/>
                    </a:cubicBezTo>
                    <a:cubicBezTo>
                      <a:pt x="1144" y="929"/>
                      <a:pt x="1142" y="929"/>
                      <a:pt x="1139" y="930"/>
                    </a:cubicBezTo>
                    <a:lnTo>
                      <a:pt x="1139" y="930"/>
                    </a:lnTo>
                    <a:cubicBezTo>
                      <a:pt x="1136" y="931"/>
                      <a:pt x="1134" y="932"/>
                      <a:pt x="1132" y="934"/>
                    </a:cubicBezTo>
                    <a:cubicBezTo>
                      <a:pt x="1134" y="932"/>
                      <a:pt x="1136" y="931"/>
                      <a:pt x="1139" y="930"/>
                    </a:cubicBezTo>
                    <a:lnTo>
                      <a:pt x="1121" y="912"/>
                    </a:lnTo>
                    <a:cubicBezTo>
                      <a:pt x="1126" y="912"/>
                      <a:pt x="1131" y="911"/>
                      <a:pt x="1137" y="911"/>
                    </a:cubicBezTo>
                    <a:cubicBezTo>
                      <a:pt x="1170" y="911"/>
                      <a:pt x="1200" y="925"/>
                      <a:pt x="1222" y="947"/>
                    </a:cubicBezTo>
                    <a:cubicBezTo>
                      <a:pt x="1244" y="969"/>
                      <a:pt x="1258" y="999"/>
                      <a:pt x="1258" y="1033"/>
                    </a:cubicBezTo>
                    <a:cubicBezTo>
                      <a:pt x="1258" y="1066"/>
                      <a:pt x="1244" y="1097"/>
                      <a:pt x="1222" y="1118"/>
                    </a:cubicBezTo>
                    <a:cubicBezTo>
                      <a:pt x="1200" y="1140"/>
                      <a:pt x="1170" y="1154"/>
                      <a:pt x="1137" y="1154"/>
                    </a:cubicBezTo>
                    <a:cubicBezTo>
                      <a:pt x="1103" y="1154"/>
                      <a:pt x="1073" y="1140"/>
                      <a:pt x="1051" y="1118"/>
                    </a:cubicBezTo>
                    <a:cubicBezTo>
                      <a:pt x="1045" y="1113"/>
                      <a:pt x="1040" y="1107"/>
                      <a:pt x="1036" y="1100"/>
                    </a:cubicBezTo>
                    <a:cubicBezTo>
                      <a:pt x="1039" y="1096"/>
                      <a:pt x="1040" y="1091"/>
                      <a:pt x="1040" y="1086"/>
                    </a:cubicBezTo>
                    <a:cubicBezTo>
                      <a:pt x="1040" y="1073"/>
                      <a:pt x="1031" y="1063"/>
                      <a:pt x="1019" y="1061"/>
                    </a:cubicBezTo>
                    <a:cubicBezTo>
                      <a:pt x="1017" y="1052"/>
                      <a:pt x="1015" y="1042"/>
                      <a:pt x="1015" y="1033"/>
                    </a:cubicBezTo>
                    <a:cubicBezTo>
                      <a:pt x="1015" y="999"/>
                      <a:pt x="1029" y="969"/>
                      <a:pt x="1051" y="947"/>
                    </a:cubicBezTo>
                    <a:close/>
                    <a:moveTo>
                      <a:pt x="845" y="1349"/>
                    </a:moveTo>
                    <a:lnTo>
                      <a:pt x="845" y="1349"/>
                    </a:lnTo>
                    <a:lnTo>
                      <a:pt x="835" y="1349"/>
                    </a:lnTo>
                    <a:lnTo>
                      <a:pt x="832" y="1345"/>
                    </a:lnTo>
                    <a:cubicBezTo>
                      <a:pt x="833" y="1347"/>
                      <a:pt x="834" y="1348"/>
                      <a:pt x="834" y="1349"/>
                    </a:cubicBezTo>
                    <a:lnTo>
                      <a:pt x="834" y="1349"/>
                    </a:lnTo>
                    <a:lnTo>
                      <a:pt x="728" y="1349"/>
                    </a:lnTo>
                    <a:cubicBezTo>
                      <a:pt x="744" y="1370"/>
                      <a:pt x="762" y="1389"/>
                      <a:pt x="780" y="1406"/>
                    </a:cubicBezTo>
                    <a:lnTo>
                      <a:pt x="836" y="1406"/>
                    </a:lnTo>
                    <a:cubicBezTo>
                      <a:pt x="832" y="1403"/>
                      <a:pt x="829" y="1400"/>
                      <a:pt x="825" y="1397"/>
                    </a:cubicBezTo>
                    <a:lnTo>
                      <a:pt x="852" y="1367"/>
                    </a:lnTo>
                    <a:cubicBezTo>
                      <a:pt x="847" y="1362"/>
                      <a:pt x="845" y="1356"/>
                      <a:pt x="845" y="1350"/>
                    </a:cubicBezTo>
                    <a:cubicBezTo>
                      <a:pt x="845" y="1349"/>
                      <a:pt x="845" y="1349"/>
                      <a:pt x="845" y="1349"/>
                    </a:cubicBezTo>
                    <a:close/>
                    <a:moveTo>
                      <a:pt x="666" y="1349"/>
                    </a:moveTo>
                    <a:lnTo>
                      <a:pt x="595" y="1349"/>
                    </a:lnTo>
                    <a:lnTo>
                      <a:pt x="595" y="1349"/>
                    </a:lnTo>
                    <a:lnTo>
                      <a:pt x="595" y="1349"/>
                    </a:lnTo>
                    <a:lnTo>
                      <a:pt x="513" y="1349"/>
                    </a:lnTo>
                    <a:cubicBezTo>
                      <a:pt x="512" y="1348"/>
                      <a:pt x="512" y="1346"/>
                      <a:pt x="511" y="1344"/>
                    </a:cubicBezTo>
                    <a:cubicBezTo>
                      <a:pt x="512" y="1346"/>
                      <a:pt x="512" y="1347"/>
                      <a:pt x="513" y="1349"/>
                    </a:cubicBezTo>
                    <a:lnTo>
                      <a:pt x="500" y="1349"/>
                    </a:lnTo>
                    <a:lnTo>
                      <a:pt x="444" y="1415"/>
                    </a:lnTo>
                    <a:lnTo>
                      <a:pt x="437" y="1415"/>
                    </a:lnTo>
                    <a:cubicBezTo>
                      <a:pt x="450" y="1439"/>
                      <a:pt x="465" y="1463"/>
                      <a:pt x="480" y="1485"/>
                    </a:cubicBezTo>
                    <a:lnTo>
                      <a:pt x="481" y="1485"/>
                    </a:lnTo>
                    <a:lnTo>
                      <a:pt x="541" y="1422"/>
                    </a:lnTo>
                    <a:lnTo>
                      <a:pt x="541" y="1422"/>
                    </a:lnTo>
                    <a:lnTo>
                      <a:pt x="541" y="1422"/>
                    </a:lnTo>
                    <a:lnTo>
                      <a:pt x="555" y="1406"/>
                    </a:lnTo>
                    <a:lnTo>
                      <a:pt x="619" y="1406"/>
                    </a:lnTo>
                    <a:lnTo>
                      <a:pt x="619" y="1406"/>
                    </a:lnTo>
                    <a:lnTo>
                      <a:pt x="710" y="1406"/>
                    </a:lnTo>
                    <a:cubicBezTo>
                      <a:pt x="694" y="1388"/>
                      <a:pt x="679" y="1369"/>
                      <a:pt x="666" y="1349"/>
                    </a:cubicBezTo>
                    <a:close/>
                    <a:moveTo>
                      <a:pt x="432" y="1406"/>
                    </a:moveTo>
                    <a:lnTo>
                      <a:pt x="440" y="1406"/>
                    </a:lnTo>
                    <a:lnTo>
                      <a:pt x="496" y="1340"/>
                    </a:lnTo>
                    <a:lnTo>
                      <a:pt x="510" y="1340"/>
                    </a:lnTo>
                    <a:lnTo>
                      <a:pt x="510" y="1340"/>
                    </a:lnTo>
                    <a:lnTo>
                      <a:pt x="592" y="1340"/>
                    </a:lnTo>
                    <a:cubicBezTo>
                      <a:pt x="593" y="1343"/>
                      <a:pt x="594" y="1345"/>
                      <a:pt x="595" y="1348"/>
                    </a:cubicBezTo>
                    <a:lnTo>
                      <a:pt x="592" y="1340"/>
                    </a:lnTo>
                    <a:lnTo>
                      <a:pt x="660" y="1340"/>
                    </a:lnTo>
                    <a:cubicBezTo>
                      <a:pt x="655" y="1333"/>
                      <a:pt x="650" y="1325"/>
                      <a:pt x="645" y="1316"/>
                    </a:cubicBezTo>
                    <a:cubicBezTo>
                      <a:pt x="636" y="1301"/>
                      <a:pt x="628" y="1286"/>
                      <a:pt x="621" y="1270"/>
                    </a:cubicBezTo>
                    <a:lnTo>
                      <a:pt x="571" y="1270"/>
                    </a:lnTo>
                    <a:lnTo>
                      <a:pt x="570" y="1268"/>
                    </a:lnTo>
                    <a:lnTo>
                      <a:pt x="571" y="1270"/>
                    </a:lnTo>
                    <a:lnTo>
                      <a:pt x="571" y="1270"/>
                    </a:lnTo>
                    <a:lnTo>
                      <a:pt x="491" y="1270"/>
                    </a:lnTo>
                    <a:lnTo>
                      <a:pt x="491" y="1270"/>
                    </a:lnTo>
                    <a:lnTo>
                      <a:pt x="464" y="1270"/>
                    </a:lnTo>
                    <a:lnTo>
                      <a:pt x="410" y="1349"/>
                    </a:lnTo>
                    <a:lnTo>
                      <a:pt x="405" y="1349"/>
                    </a:lnTo>
                    <a:cubicBezTo>
                      <a:pt x="413" y="1369"/>
                      <a:pt x="422" y="1388"/>
                      <a:pt x="432" y="1406"/>
                    </a:cubicBezTo>
                    <a:close/>
                    <a:moveTo>
                      <a:pt x="722" y="1340"/>
                    </a:moveTo>
                    <a:lnTo>
                      <a:pt x="830" y="1340"/>
                    </a:lnTo>
                    <a:lnTo>
                      <a:pt x="830" y="1340"/>
                    </a:lnTo>
                    <a:lnTo>
                      <a:pt x="846" y="1340"/>
                    </a:lnTo>
                    <a:lnTo>
                      <a:pt x="846" y="1340"/>
                    </a:lnTo>
                    <a:cubicBezTo>
                      <a:pt x="850" y="1331"/>
                      <a:pt x="859" y="1324"/>
                      <a:pt x="870" y="1324"/>
                    </a:cubicBezTo>
                    <a:cubicBezTo>
                      <a:pt x="884" y="1324"/>
                      <a:pt x="895" y="1336"/>
                      <a:pt x="895" y="1350"/>
                    </a:cubicBezTo>
                    <a:cubicBezTo>
                      <a:pt x="895" y="1361"/>
                      <a:pt x="887" y="1371"/>
                      <a:pt x="877" y="1374"/>
                    </a:cubicBezTo>
                    <a:cubicBezTo>
                      <a:pt x="892" y="1386"/>
                      <a:pt x="908" y="1397"/>
                      <a:pt x="924" y="1406"/>
                    </a:cubicBezTo>
                    <a:lnTo>
                      <a:pt x="981" y="1406"/>
                    </a:lnTo>
                    <a:lnTo>
                      <a:pt x="981" y="1406"/>
                    </a:lnTo>
                    <a:lnTo>
                      <a:pt x="1072" y="1406"/>
                    </a:lnTo>
                    <a:lnTo>
                      <a:pt x="1124" y="1461"/>
                    </a:lnTo>
                    <a:cubicBezTo>
                      <a:pt x="1179" y="1462"/>
                      <a:pt x="1235" y="1451"/>
                      <a:pt x="1287" y="1429"/>
                    </a:cubicBezTo>
                    <a:lnTo>
                      <a:pt x="1307" y="1476"/>
                    </a:lnTo>
                    <a:cubicBezTo>
                      <a:pt x="1262" y="1495"/>
                      <a:pt x="1214" y="1506"/>
                      <a:pt x="1167" y="1510"/>
                    </a:cubicBezTo>
                    <a:cubicBezTo>
                      <a:pt x="1162" y="1516"/>
                      <a:pt x="1155" y="1520"/>
                      <a:pt x="1147" y="1520"/>
                    </a:cubicBezTo>
                    <a:lnTo>
                      <a:pt x="1147" y="1520"/>
                    </a:lnTo>
                    <a:cubicBezTo>
                      <a:pt x="1140" y="1520"/>
                      <a:pt x="1133" y="1517"/>
                      <a:pt x="1128" y="1512"/>
                    </a:cubicBezTo>
                    <a:cubicBezTo>
                      <a:pt x="1104" y="1512"/>
                      <a:pt x="1079" y="1510"/>
                      <a:pt x="1055" y="1506"/>
                    </a:cubicBezTo>
                    <a:cubicBezTo>
                      <a:pt x="980" y="1494"/>
                      <a:pt x="908" y="1463"/>
                      <a:pt x="847" y="1415"/>
                    </a:cubicBezTo>
                    <a:lnTo>
                      <a:pt x="789" y="1415"/>
                    </a:lnTo>
                    <a:cubicBezTo>
                      <a:pt x="812" y="1436"/>
                      <a:pt x="837" y="1454"/>
                      <a:pt x="863" y="1470"/>
                    </a:cubicBezTo>
                    <a:cubicBezTo>
                      <a:pt x="865" y="1470"/>
                      <a:pt x="867" y="1469"/>
                      <a:pt x="870" y="1469"/>
                    </a:cubicBezTo>
                    <a:cubicBezTo>
                      <a:pt x="882" y="1469"/>
                      <a:pt x="892" y="1478"/>
                      <a:pt x="895" y="1489"/>
                    </a:cubicBezTo>
                    <a:cubicBezTo>
                      <a:pt x="899" y="1491"/>
                      <a:pt x="903" y="1493"/>
                      <a:pt x="907" y="1495"/>
                    </a:cubicBezTo>
                    <a:cubicBezTo>
                      <a:pt x="998" y="1540"/>
                      <a:pt x="1101" y="1558"/>
                      <a:pt x="1202" y="1546"/>
                    </a:cubicBezTo>
                    <a:lnTo>
                      <a:pt x="1208" y="1596"/>
                    </a:lnTo>
                    <a:cubicBezTo>
                      <a:pt x="1097" y="1610"/>
                      <a:pt x="984" y="1590"/>
                      <a:pt x="884" y="1540"/>
                    </a:cubicBezTo>
                    <a:cubicBezTo>
                      <a:pt x="858" y="1527"/>
                      <a:pt x="832" y="1512"/>
                      <a:pt x="807" y="1494"/>
                    </a:cubicBezTo>
                    <a:lnTo>
                      <a:pt x="606" y="1494"/>
                    </a:lnTo>
                    <a:lnTo>
                      <a:pt x="547" y="1570"/>
                    </a:lnTo>
                    <a:cubicBezTo>
                      <a:pt x="556" y="1579"/>
                      <a:pt x="564" y="1588"/>
                      <a:pt x="573" y="1597"/>
                    </a:cubicBezTo>
                    <a:cubicBezTo>
                      <a:pt x="582" y="1606"/>
                      <a:pt x="592" y="1615"/>
                      <a:pt x="602" y="1624"/>
                    </a:cubicBezTo>
                    <a:lnTo>
                      <a:pt x="634" y="1591"/>
                    </a:lnTo>
                    <a:lnTo>
                      <a:pt x="951" y="1591"/>
                    </a:lnTo>
                    <a:lnTo>
                      <a:pt x="1011" y="1635"/>
                    </a:lnTo>
                    <a:cubicBezTo>
                      <a:pt x="1015" y="1630"/>
                      <a:pt x="1021" y="1627"/>
                      <a:pt x="1028" y="1627"/>
                    </a:cubicBezTo>
                    <a:cubicBezTo>
                      <a:pt x="1042" y="1627"/>
                      <a:pt x="1053" y="1639"/>
                      <a:pt x="1053" y="1653"/>
                    </a:cubicBezTo>
                    <a:cubicBezTo>
                      <a:pt x="1053" y="1667"/>
                      <a:pt x="1042" y="1678"/>
                      <a:pt x="1028" y="1678"/>
                    </a:cubicBezTo>
                    <a:lnTo>
                      <a:pt x="1028" y="1678"/>
                    </a:lnTo>
                    <a:cubicBezTo>
                      <a:pt x="1014" y="1678"/>
                      <a:pt x="1003" y="1667"/>
                      <a:pt x="1003" y="1653"/>
                    </a:cubicBezTo>
                    <a:cubicBezTo>
                      <a:pt x="1003" y="1649"/>
                      <a:pt x="1004" y="1645"/>
                      <a:pt x="1005" y="1642"/>
                    </a:cubicBezTo>
                    <a:lnTo>
                      <a:pt x="1005" y="1642"/>
                    </a:lnTo>
                    <a:cubicBezTo>
                      <a:pt x="1006" y="1641"/>
                      <a:pt x="1006" y="1640"/>
                      <a:pt x="1007" y="1639"/>
                    </a:cubicBezTo>
                    <a:cubicBezTo>
                      <a:pt x="1006" y="1640"/>
                      <a:pt x="1006" y="1641"/>
                      <a:pt x="1005" y="1642"/>
                    </a:cubicBezTo>
                    <a:lnTo>
                      <a:pt x="948" y="1600"/>
                    </a:lnTo>
                    <a:lnTo>
                      <a:pt x="638" y="1600"/>
                    </a:lnTo>
                    <a:lnTo>
                      <a:pt x="608" y="1630"/>
                    </a:lnTo>
                    <a:cubicBezTo>
                      <a:pt x="625" y="1645"/>
                      <a:pt x="642" y="1659"/>
                      <a:pt x="660" y="1672"/>
                    </a:cubicBezTo>
                    <a:lnTo>
                      <a:pt x="692" y="1644"/>
                    </a:lnTo>
                    <a:lnTo>
                      <a:pt x="774" y="1644"/>
                    </a:lnTo>
                    <a:lnTo>
                      <a:pt x="774" y="1644"/>
                    </a:lnTo>
                    <a:lnTo>
                      <a:pt x="785" y="1644"/>
                    </a:lnTo>
                    <a:cubicBezTo>
                      <a:pt x="788" y="1647"/>
                      <a:pt x="791" y="1649"/>
                      <a:pt x="794" y="1652"/>
                    </a:cubicBezTo>
                    <a:lnTo>
                      <a:pt x="794" y="1652"/>
                    </a:lnTo>
                    <a:lnTo>
                      <a:pt x="765" y="1652"/>
                    </a:lnTo>
                    <a:lnTo>
                      <a:pt x="765" y="1652"/>
                    </a:lnTo>
                    <a:lnTo>
                      <a:pt x="695" y="1652"/>
                    </a:lnTo>
                    <a:lnTo>
                      <a:pt x="667" y="1677"/>
                    </a:lnTo>
                    <a:cubicBezTo>
                      <a:pt x="688" y="1693"/>
                      <a:pt x="710" y="1707"/>
                      <a:pt x="732" y="1720"/>
                    </a:cubicBezTo>
                    <a:lnTo>
                      <a:pt x="742" y="1710"/>
                    </a:lnTo>
                    <a:lnTo>
                      <a:pt x="742" y="1710"/>
                    </a:lnTo>
                    <a:lnTo>
                      <a:pt x="755" y="1696"/>
                    </a:lnTo>
                    <a:lnTo>
                      <a:pt x="843" y="1696"/>
                    </a:lnTo>
                    <a:lnTo>
                      <a:pt x="843" y="1696"/>
                    </a:lnTo>
                    <a:lnTo>
                      <a:pt x="936" y="1696"/>
                    </a:lnTo>
                    <a:lnTo>
                      <a:pt x="999" y="1752"/>
                    </a:lnTo>
                    <a:cubicBezTo>
                      <a:pt x="996" y="1754"/>
                      <a:pt x="995" y="1756"/>
                      <a:pt x="993" y="1759"/>
                    </a:cubicBezTo>
                    <a:lnTo>
                      <a:pt x="993" y="1759"/>
                    </a:lnTo>
                    <a:lnTo>
                      <a:pt x="933" y="1705"/>
                    </a:lnTo>
                    <a:lnTo>
                      <a:pt x="854" y="1705"/>
                    </a:lnTo>
                    <a:cubicBezTo>
                      <a:pt x="852" y="1704"/>
                      <a:pt x="850" y="1702"/>
                      <a:pt x="848" y="1700"/>
                    </a:cubicBezTo>
                    <a:cubicBezTo>
                      <a:pt x="850" y="1702"/>
                      <a:pt x="852" y="1704"/>
                      <a:pt x="854" y="1705"/>
                    </a:cubicBezTo>
                    <a:lnTo>
                      <a:pt x="759" y="1705"/>
                    </a:lnTo>
                    <a:lnTo>
                      <a:pt x="748" y="1716"/>
                    </a:lnTo>
                    <a:lnTo>
                      <a:pt x="748" y="1716"/>
                    </a:lnTo>
                    <a:lnTo>
                      <a:pt x="747" y="1715"/>
                    </a:lnTo>
                    <a:lnTo>
                      <a:pt x="748" y="1716"/>
                    </a:lnTo>
                    <a:lnTo>
                      <a:pt x="740" y="1724"/>
                    </a:lnTo>
                    <a:cubicBezTo>
                      <a:pt x="755" y="1733"/>
                      <a:pt x="770" y="1741"/>
                      <a:pt x="786" y="1749"/>
                    </a:cubicBezTo>
                    <a:lnTo>
                      <a:pt x="845" y="1749"/>
                    </a:lnTo>
                    <a:cubicBezTo>
                      <a:pt x="845" y="1748"/>
                      <a:pt x="845" y="1746"/>
                      <a:pt x="845" y="1745"/>
                    </a:cubicBezTo>
                    <a:cubicBezTo>
                      <a:pt x="845" y="1731"/>
                      <a:pt x="856" y="1720"/>
                      <a:pt x="870" y="1720"/>
                    </a:cubicBezTo>
                    <a:cubicBezTo>
                      <a:pt x="871" y="1720"/>
                      <a:pt x="873" y="1720"/>
                      <a:pt x="874" y="1720"/>
                    </a:cubicBezTo>
                    <a:cubicBezTo>
                      <a:pt x="876" y="1721"/>
                      <a:pt x="877" y="1723"/>
                      <a:pt x="879" y="1724"/>
                    </a:cubicBezTo>
                    <a:cubicBezTo>
                      <a:pt x="877" y="1723"/>
                      <a:pt x="876" y="1721"/>
                      <a:pt x="874" y="1720"/>
                    </a:cubicBezTo>
                    <a:cubicBezTo>
                      <a:pt x="882" y="1721"/>
                      <a:pt x="889" y="1726"/>
                      <a:pt x="892" y="1733"/>
                    </a:cubicBezTo>
                    <a:lnTo>
                      <a:pt x="892" y="1733"/>
                    </a:lnTo>
                    <a:lnTo>
                      <a:pt x="890" y="1732"/>
                    </a:lnTo>
                    <a:lnTo>
                      <a:pt x="892" y="1733"/>
                    </a:lnTo>
                    <a:cubicBezTo>
                      <a:pt x="894" y="1737"/>
                      <a:pt x="895" y="1741"/>
                      <a:pt x="895" y="1745"/>
                    </a:cubicBezTo>
                    <a:cubicBezTo>
                      <a:pt x="895" y="1759"/>
                      <a:pt x="884" y="1770"/>
                      <a:pt x="870" y="1770"/>
                    </a:cubicBezTo>
                    <a:lnTo>
                      <a:pt x="870" y="1770"/>
                    </a:lnTo>
                    <a:cubicBezTo>
                      <a:pt x="861" y="1770"/>
                      <a:pt x="852" y="1765"/>
                      <a:pt x="848" y="1758"/>
                    </a:cubicBezTo>
                    <a:lnTo>
                      <a:pt x="877" y="1758"/>
                    </a:lnTo>
                    <a:lnTo>
                      <a:pt x="877" y="1749"/>
                    </a:lnTo>
                    <a:lnTo>
                      <a:pt x="877" y="1749"/>
                    </a:lnTo>
                    <a:lnTo>
                      <a:pt x="877" y="1758"/>
                    </a:lnTo>
                    <a:lnTo>
                      <a:pt x="877" y="1758"/>
                    </a:lnTo>
                    <a:lnTo>
                      <a:pt x="848" y="1758"/>
                    </a:lnTo>
                    <a:lnTo>
                      <a:pt x="848" y="1758"/>
                    </a:lnTo>
                    <a:lnTo>
                      <a:pt x="848" y="1758"/>
                    </a:lnTo>
                    <a:lnTo>
                      <a:pt x="804" y="1758"/>
                    </a:lnTo>
                    <a:cubicBezTo>
                      <a:pt x="906" y="1804"/>
                      <a:pt x="1018" y="1830"/>
                      <a:pt x="1137" y="1830"/>
                    </a:cubicBezTo>
                    <a:cubicBezTo>
                      <a:pt x="1357" y="1830"/>
                      <a:pt x="1556" y="1741"/>
                      <a:pt x="1700" y="1597"/>
                    </a:cubicBezTo>
                    <a:cubicBezTo>
                      <a:pt x="1845" y="1452"/>
                      <a:pt x="1934" y="1253"/>
                      <a:pt x="1934" y="1033"/>
                    </a:cubicBezTo>
                    <a:cubicBezTo>
                      <a:pt x="1934" y="869"/>
                      <a:pt x="1885" y="718"/>
                      <a:pt x="1801" y="591"/>
                    </a:cubicBezTo>
                    <a:lnTo>
                      <a:pt x="1716" y="679"/>
                    </a:lnTo>
                    <a:lnTo>
                      <a:pt x="1578" y="679"/>
                    </a:lnTo>
                    <a:lnTo>
                      <a:pt x="1578" y="680"/>
                    </a:lnTo>
                    <a:cubicBezTo>
                      <a:pt x="1578" y="694"/>
                      <a:pt x="1567" y="705"/>
                      <a:pt x="1553" y="705"/>
                    </a:cubicBezTo>
                    <a:lnTo>
                      <a:pt x="1553" y="705"/>
                    </a:lnTo>
                    <a:cubicBezTo>
                      <a:pt x="1539" y="705"/>
                      <a:pt x="1528" y="694"/>
                      <a:pt x="1528" y="680"/>
                    </a:cubicBezTo>
                    <a:cubicBezTo>
                      <a:pt x="1528" y="666"/>
                      <a:pt x="1539" y="655"/>
                      <a:pt x="1553" y="655"/>
                    </a:cubicBezTo>
                    <a:cubicBezTo>
                      <a:pt x="1564" y="655"/>
                      <a:pt x="1573" y="661"/>
                      <a:pt x="1576" y="671"/>
                    </a:cubicBezTo>
                    <a:lnTo>
                      <a:pt x="1712" y="671"/>
                    </a:lnTo>
                    <a:lnTo>
                      <a:pt x="1796" y="584"/>
                    </a:lnTo>
                    <a:cubicBezTo>
                      <a:pt x="1783" y="566"/>
                      <a:pt x="1770" y="548"/>
                      <a:pt x="1756" y="531"/>
                    </a:cubicBezTo>
                    <a:lnTo>
                      <a:pt x="1699" y="586"/>
                    </a:lnTo>
                    <a:lnTo>
                      <a:pt x="1698" y="585"/>
                    </a:lnTo>
                    <a:lnTo>
                      <a:pt x="1699" y="586"/>
                    </a:lnTo>
                    <a:lnTo>
                      <a:pt x="1644" y="640"/>
                    </a:lnTo>
                    <a:lnTo>
                      <a:pt x="1644" y="640"/>
                    </a:lnTo>
                    <a:lnTo>
                      <a:pt x="1625" y="640"/>
                    </a:lnTo>
                    <a:cubicBezTo>
                      <a:pt x="1622" y="638"/>
                      <a:pt x="1619" y="636"/>
                      <a:pt x="1616" y="634"/>
                    </a:cubicBezTo>
                    <a:cubicBezTo>
                      <a:pt x="1619" y="636"/>
                      <a:pt x="1622" y="638"/>
                      <a:pt x="1625" y="640"/>
                    </a:cubicBezTo>
                    <a:lnTo>
                      <a:pt x="1400" y="640"/>
                    </a:lnTo>
                    <a:cubicBezTo>
                      <a:pt x="1427" y="657"/>
                      <a:pt x="1451" y="677"/>
                      <a:pt x="1473" y="699"/>
                    </a:cubicBezTo>
                    <a:cubicBezTo>
                      <a:pt x="1556" y="782"/>
                      <a:pt x="1607" y="897"/>
                      <a:pt x="1607" y="1023"/>
                    </a:cubicBezTo>
                    <a:cubicBezTo>
                      <a:pt x="1607" y="1067"/>
                      <a:pt x="1601" y="1111"/>
                      <a:pt x="1589" y="1152"/>
                    </a:cubicBezTo>
                    <a:cubicBezTo>
                      <a:pt x="1576" y="1194"/>
                      <a:pt x="1558" y="1234"/>
                      <a:pt x="1535" y="1270"/>
                    </a:cubicBezTo>
                    <a:lnTo>
                      <a:pt x="1492" y="1243"/>
                    </a:lnTo>
                    <a:cubicBezTo>
                      <a:pt x="1513" y="1210"/>
                      <a:pt x="1529" y="1175"/>
                      <a:pt x="1540" y="1138"/>
                    </a:cubicBezTo>
                    <a:cubicBezTo>
                      <a:pt x="1551" y="1101"/>
                      <a:pt x="1556" y="1063"/>
                      <a:pt x="1556" y="1023"/>
                    </a:cubicBezTo>
                    <a:cubicBezTo>
                      <a:pt x="1556" y="911"/>
                      <a:pt x="1511" y="809"/>
                      <a:pt x="1437" y="735"/>
                    </a:cubicBezTo>
                    <a:cubicBezTo>
                      <a:pt x="1404" y="702"/>
                      <a:pt x="1365" y="674"/>
                      <a:pt x="1321" y="654"/>
                    </a:cubicBezTo>
                    <a:lnTo>
                      <a:pt x="1300" y="671"/>
                    </a:lnTo>
                    <a:cubicBezTo>
                      <a:pt x="1299" y="668"/>
                      <a:pt x="1298" y="666"/>
                      <a:pt x="1296" y="664"/>
                    </a:cubicBezTo>
                    <a:cubicBezTo>
                      <a:pt x="1298" y="666"/>
                      <a:pt x="1299" y="668"/>
                      <a:pt x="1300" y="671"/>
                    </a:cubicBezTo>
                    <a:cubicBezTo>
                      <a:pt x="1301" y="674"/>
                      <a:pt x="1301" y="677"/>
                      <a:pt x="1301" y="680"/>
                    </a:cubicBezTo>
                    <a:cubicBezTo>
                      <a:pt x="1301" y="694"/>
                      <a:pt x="1290" y="705"/>
                      <a:pt x="1276" y="705"/>
                    </a:cubicBezTo>
                    <a:lnTo>
                      <a:pt x="1276" y="705"/>
                    </a:lnTo>
                    <a:cubicBezTo>
                      <a:pt x="1262" y="705"/>
                      <a:pt x="1251" y="694"/>
                      <a:pt x="1251" y="680"/>
                    </a:cubicBezTo>
                    <a:cubicBezTo>
                      <a:pt x="1251" y="666"/>
                      <a:pt x="1262" y="655"/>
                      <a:pt x="1276" y="655"/>
                    </a:cubicBezTo>
                    <a:cubicBezTo>
                      <a:pt x="1284" y="655"/>
                      <a:pt x="1290" y="658"/>
                      <a:pt x="1295" y="663"/>
                    </a:cubicBezTo>
                    <a:lnTo>
                      <a:pt x="1295" y="663"/>
                    </a:lnTo>
                    <a:lnTo>
                      <a:pt x="1312" y="650"/>
                    </a:lnTo>
                    <a:cubicBezTo>
                      <a:pt x="1263" y="628"/>
                      <a:pt x="1207" y="616"/>
                      <a:pt x="1150" y="616"/>
                    </a:cubicBezTo>
                    <a:cubicBezTo>
                      <a:pt x="1126" y="616"/>
                      <a:pt x="1103" y="618"/>
                      <a:pt x="1081" y="622"/>
                    </a:cubicBezTo>
                    <a:cubicBezTo>
                      <a:pt x="1070" y="624"/>
                      <a:pt x="1060" y="626"/>
                      <a:pt x="1050" y="628"/>
                    </a:cubicBezTo>
                    <a:lnTo>
                      <a:pt x="1086" y="628"/>
                    </a:lnTo>
                    <a:lnTo>
                      <a:pt x="1128" y="661"/>
                    </a:lnTo>
                    <a:cubicBezTo>
                      <a:pt x="1132" y="655"/>
                      <a:pt x="1139" y="652"/>
                      <a:pt x="1147" y="652"/>
                    </a:cubicBezTo>
                    <a:cubicBezTo>
                      <a:pt x="1159" y="652"/>
                      <a:pt x="1169" y="660"/>
                      <a:pt x="1171" y="672"/>
                    </a:cubicBezTo>
                    <a:cubicBezTo>
                      <a:pt x="1175" y="672"/>
                      <a:pt x="1178" y="672"/>
                      <a:pt x="1182" y="673"/>
                    </a:cubicBezTo>
                    <a:cubicBezTo>
                      <a:pt x="1197" y="675"/>
                      <a:pt x="1212" y="677"/>
                      <a:pt x="1226" y="681"/>
                    </a:cubicBezTo>
                    <a:lnTo>
                      <a:pt x="1214" y="730"/>
                    </a:lnTo>
                    <a:cubicBezTo>
                      <a:pt x="1201" y="727"/>
                      <a:pt x="1188" y="725"/>
                      <a:pt x="1176" y="723"/>
                    </a:cubicBezTo>
                    <a:cubicBezTo>
                      <a:pt x="1164" y="721"/>
                      <a:pt x="1151" y="721"/>
                      <a:pt x="1137" y="721"/>
                    </a:cubicBezTo>
                    <a:cubicBezTo>
                      <a:pt x="1076" y="721"/>
                      <a:pt x="1019" y="739"/>
                      <a:pt x="972" y="769"/>
                    </a:cubicBezTo>
                    <a:lnTo>
                      <a:pt x="994" y="794"/>
                    </a:lnTo>
                    <a:cubicBezTo>
                      <a:pt x="999" y="788"/>
                      <a:pt x="1006" y="784"/>
                      <a:pt x="1015" y="784"/>
                    </a:cubicBezTo>
                    <a:cubicBezTo>
                      <a:pt x="1029" y="784"/>
                      <a:pt x="1040" y="795"/>
                      <a:pt x="1040" y="809"/>
                    </a:cubicBezTo>
                    <a:cubicBezTo>
                      <a:pt x="1040" y="823"/>
                      <a:pt x="1029" y="834"/>
                      <a:pt x="1015" y="834"/>
                    </a:cubicBezTo>
                    <a:lnTo>
                      <a:pt x="1015" y="834"/>
                    </a:lnTo>
                    <a:cubicBezTo>
                      <a:pt x="1001" y="834"/>
                      <a:pt x="990" y="823"/>
                      <a:pt x="990" y="809"/>
                    </a:cubicBezTo>
                    <a:cubicBezTo>
                      <a:pt x="990" y="807"/>
                      <a:pt x="990" y="805"/>
                      <a:pt x="990" y="803"/>
                    </a:cubicBezTo>
                    <a:lnTo>
                      <a:pt x="990" y="803"/>
                    </a:lnTo>
                    <a:cubicBezTo>
                      <a:pt x="991" y="802"/>
                      <a:pt x="991" y="802"/>
                      <a:pt x="991" y="801"/>
                    </a:cubicBezTo>
                    <a:cubicBezTo>
                      <a:pt x="991" y="802"/>
                      <a:pt x="991" y="802"/>
                      <a:pt x="990" y="803"/>
                    </a:cubicBezTo>
                    <a:lnTo>
                      <a:pt x="964" y="774"/>
                    </a:lnTo>
                    <a:cubicBezTo>
                      <a:pt x="961" y="777"/>
                      <a:pt x="958" y="779"/>
                      <a:pt x="954" y="781"/>
                    </a:cubicBezTo>
                    <a:cubicBezTo>
                      <a:pt x="920" y="807"/>
                      <a:pt x="891" y="841"/>
                      <a:pt x="870" y="879"/>
                    </a:cubicBezTo>
                    <a:lnTo>
                      <a:pt x="886" y="879"/>
                    </a:lnTo>
                    <a:lnTo>
                      <a:pt x="886" y="879"/>
                    </a:lnTo>
                    <a:lnTo>
                      <a:pt x="1059" y="879"/>
                    </a:lnTo>
                    <a:cubicBezTo>
                      <a:pt x="1083" y="867"/>
                      <a:pt x="1109" y="861"/>
                      <a:pt x="1137" y="861"/>
                    </a:cubicBezTo>
                    <a:cubicBezTo>
                      <a:pt x="1184" y="861"/>
                      <a:pt x="1227" y="880"/>
                      <a:pt x="1258" y="911"/>
                    </a:cubicBezTo>
                    <a:cubicBezTo>
                      <a:pt x="1289" y="942"/>
                      <a:pt x="1309" y="985"/>
                      <a:pt x="1309" y="1033"/>
                    </a:cubicBezTo>
                    <a:cubicBezTo>
                      <a:pt x="1309" y="1080"/>
                      <a:pt x="1289" y="1123"/>
                      <a:pt x="1258" y="1154"/>
                    </a:cubicBezTo>
                    <a:cubicBezTo>
                      <a:pt x="1227" y="1185"/>
                      <a:pt x="1184" y="1205"/>
                      <a:pt x="1137" y="1205"/>
                    </a:cubicBezTo>
                    <a:cubicBezTo>
                      <a:pt x="1132" y="1205"/>
                      <a:pt x="1127" y="1205"/>
                      <a:pt x="1122" y="1204"/>
                    </a:cubicBezTo>
                    <a:lnTo>
                      <a:pt x="1129" y="1212"/>
                    </a:lnTo>
                    <a:cubicBezTo>
                      <a:pt x="1127" y="1215"/>
                      <a:pt x="1126" y="1217"/>
                      <a:pt x="1124" y="1220"/>
                    </a:cubicBezTo>
                    <a:lnTo>
                      <a:pt x="1108" y="1202"/>
                    </a:lnTo>
                    <a:cubicBezTo>
                      <a:pt x="1085" y="1199"/>
                      <a:pt x="1063" y="1190"/>
                      <a:pt x="1044" y="1178"/>
                    </a:cubicBezTo>
                    <a:lnTo>
                      <a:pt x="874" y="1178"/>
                    </a:lnTo>
                    <a:cubicBezTo>
                      <a:pt x="892" y="1209"/>
                      <a:pt x="915" y="1236"/>
                      <a:pt x="943" y="1259"/>
                    </a:cubicBezTo>
                    <a:cubicBezTo>
                      <a:pt x="995" y="1303"/>
                      <a:pt x="1063" y="1329"/>
                      <a:pt x="1137" y="1329"/>
                    </a:cubicBezTo>
                    <a:cubicBezTo>
                      <a:pt x="1221" y="1329"/>
                      <a:pt x="1297" y="1295"/>
                      <a:pt x="1352" y="1240"/>
                    </a:cubicBezTo>
                    <a:cubicBezTo>
                      <a:pt x="1407" y="1185"/>
                      <a:pt x="1441" y="1109"/>
                      <a:pt x="1441" y="1025"/>
                    </a:cubicBezTo>
                    <a:cubicBezTo>
                      <a:pt x="1441" y="1005"/>
                      <a:pt x="1439" y="986"/>
                      <a:pt x="1436" y="968"/>
                    </a:cubicBezTo>
                    <a:cubicBezTo>
                      <a:pt x="1432" y="949"/>
                      <a:pt x="1427" y="931"/>
                      <a:pt x="1420" y="913"/>
                    </a:cubicBezTo>
                    <a:lnTo>
                      <a:pt x="1467" y="895"/>
                    </a:lnTo>
                    <a:cubicBezTo>
                      <a:pt x="1475" y="915"/>
                      <a:pt x="1482" y="936"/>
                      <a:pt x="1486" y="958"/>
                    </a:cubicBezTo>
                    <a:cubicBezTo>
                      <a:pt x="1490" y="980"/>
                      <a:pt x="1492" y="1002"/>
                      <a:pt x="1492" y="1025"/>
                    </a:cubicBezTo>
                    <a:cubicBezTo>
                      <a:pt x="1492" y="1123"/>
                      <a:pt x="1452" y="1212"/>
                      <a:pt x="1388" y="1276"/>
                    </a:cubicBezTo>
                    <a:cubicBezTo>
                      <a:pt x="1324" y="1340"/>
                      <a:pt x="1235" y="1380"/>
                      <a:pt x="1137" y="1380"/>
                    </a:cubicBezTo>
                    <a:cubicBezTo>
                      <a:pt x="1105" y="1380"/>
                      <a:pt x="1075" y="1376"/>
                      <a:pt x="1046" y="1368"/>
                    </a:cubicBezTo>
                    <a:cubicBezTo>
                      <a:pt x="1041" y="1372"/>
                      <a:pt x="1035" y="1375"/>
                      <a:pt x="1028" y="1375"/>
                    </a:cubicBezTo>
                    <a:lnTo>
                      <a:pt x="1028" y="1375"/>
                    </a:lnTo>
                    <a:cubicBezTo>
                      <a:pt x="1016" y="1375"/>
                      <a:pt x="1005" y="1366"/>
                      <a:pt x="1003" y="1354"/>
                    </a:cubicBezTo>
                    <a:cubicBezTo>
                      <a:pt x="969" y="1340"/>
                      <a:pt x="938" y="1321"/>
                      <a:pt x="910" y="1298"/>
                    </a:cubicBezTo>
                    <a:cubicBezTo>
                      <a:pt x="900" y="1289"/>
                      <a:pt x="890" y="1280"/>
                      <a:pt x="880" y="1270"/>
                    </a:cubicBezTo>
                    <a:lnTo>
                      <a:pt x="799" y="1270"/>
                    </a:lnTo>
                    <a:lnTo>
                      <a:pt x="799" y="1270"/>
                    </a:lnTo>
                    <a:lnTo>
                      <a:pt x="765" y="1270"/>
                    </a:lnTo>
                    <a:lnTo>
                      <a:pt x="737" y="1289"/>
                    </a:lnTo>
                    <a:cubicBezTo>
                      <a:pt x="732" y="1283"/>
                      <a:pt x="728" y="1276"/>
                      <a:pt x="724" y="1270"/>
                    </a:cubicBezTo>
                    <a:lnTo>
                      <a:pt x="677" y="1270"/>
                    </a:lnTo>
                    <a:cubicBezTo>
                      <a:pt x="681" y="1277"/>
                      <a:pt x="685" y="1284"/>
                      <a:pt x="689" y="1291"/>
                    </a:cubicBezTo>
                    <a:cubicBezTo>
                      <a:pt x="699" y="1308"/>
                      <a:pt x="710" y="1325"/>
                      <a:pt x="722" y="1340"/>
                    </a:cubicBezTo>
                    <a:close/>
                    <a:moveTo>
                      <a:pt x="864" y="1340"/>
                    </a:moveTo>
                    <a:lnTo>
                      <a:pt x="864" y="1349"/>
                    </a:lnTo>
                    <a:lnTo>
                      <a:pt x="864" y="1349"/>
                    </a:lnTo>
                    <a:lnTo>
                      <a:pt x="864" y="1340"/>
                    </a:lnTo>
                    <a:close/>
                    <a:moveTo>
                      <a:pt x="845" y="1349"/>
                    </a:moveTo>
                    <a:lnTo>
                      <a:pt x="864" y="1349"/>
                    </a:lnTo>
                    <a:moveTo>
                      <a:pt x="846" y="1235"/>
                    </a:moveTo>
                    <a:lnTo>
                      <a:pt x="846" y="1235"/>
                    </a:lnTo>
                    <a:lnTo>
                      <a:pt x="846" y="1235"/>
                    </a:lnTo>
                    <a:cubicBezTo>
                      <a:pt x="847" y="1234"/>
                      <a:pt x="847" y="1232"/>
                      <a:pt x="848" y="1231"/>
                    </a:cubicBezTo>
                    <a:cubicBezTo>
                      <a:pt x="836" y="1214"/>
                      <a:pt x="826" y="1196"/>
                      <a:pt x="817" y="1178"/>
                    </a:cubicBezTo>
                    <a:lnTo>
                      <a:pt x="774" y="1178"/>
                    </a:lnTo>
                    <a:lnTo>
                      <a:pt x="774" y="1178"/>
                    </a:lnTo>
                    <a:lnTo>
                      <a:pt x="735" y="1178"/>
                    </a:lnTo>
                    <a:cubicBezTo>
                      <a:pt x="742" y="1197"/>
                      <a:pt x="752" y="1216"/>
                      <a:pt x="762" y="1235"/>
                    </a:cubicBezTo>
                    <a:lnTo>
                      <a:pt x="787" y="1235"/>
                    </a:lnTo>
                    <a:lnTo>
                      <a:pt x="787" y="1235"/>
                    </a:lnTo>
                    <a:lnTo>
                      <a:pt x="846" y="1235"/>
                    </a:lnTo>
                    <a:close/>
                    <a:moveTo>
                      <a:pt x="401" y="1340"/>
                    </a:moveTo>
                    <a:lnTo>
                      <a:pt x="405" y="1340"/>
                    </a:lnTo>
                    <a:lnTo>
                      <a:pt x="459" y="1261"/>
                    </a:lnTo>
                    <a:lnTo>
                      <a:pt x="489" y="1261"/>
                    </a:lnTo>
                    <a:lnTo>
                      <a:pt x="489" y="1261"/>
                    </a:lnTo>
                    <a:lnTo>
                      <a:pt x="568" y="1261"/>
                    </a:lnTo>
                    <a:lnTo>
                      <a:pt x="568" y="1262"/>
                    </a:lnTo>
                    <a:lnTo>
                      <a:pt x="568" y="1261"/>
                    </a:lnTo>
                    <a:lnTo>
                      <a:pt x="617" y="1261"/>
                    </a:lnTo>
                    <a:cubicBezTo>
                      <a:pt x="614" y="1255"/>
                      <a:pt x="612" y="1249"/>
                      <a:pt x="610" y="1244"/>
                    </a:cubicBezTo>
                    <a:lnTo>
                      <a:pt x="564" y="1244"/>
                    </a:lnTo>
                    <a:lnTo>
                      <a:pt x="564" y="1244"/>
                    </a:lnTo>
                    <a:lnTo>
                      <a:pt x="485" y="1244"/>
                    </a:lnTo>
                    <a:cubicBezTo>
                      <a:pt x="484" y="1241"/>
                      <a:pt x="484" y="1238"/>
                      <a:pt x="483" y="1235"/>
                    </a:cubicBezTo>
                    <a:lnTo>
                      <a:pt x="562" y="1235"/>
                    </a:lnTo>
                    <a:lnTo>
                      <a:pt x="562" y="1235"/>
                    </a:lnTo>
                    <a:lnTo>
                      <a:pt x="606" y="1235"/>
                    </a:lnTo>
                    <a:cubicBezTo>
                      <a:pt x="599" y="1216"/>
                      <a:pt x="593" y="1197"/>
                      <a:pt x="588" y="1178"/>
                    </a:cubicBezTo>
                    <a:lnTo>
                      <a:pt x="553" y="1178"/>
                    </a:lnTo>
                    <a:cubicBezTo>
                      <a:pt x="552" y="1175"/>
                      <a:pt x="552" y="1172"/>
                      <a:pt x="551" y="1170"/>
                    </a:cubicBezTo>
                    <a:cubicBezTo>
                      <a:pt x="552" y="1172"/>
                      <a:pt x="552" y="1175"/>
                      <a:pt x="553" y="1178"/>
                    </a:cubicBezTo>
                    <a:lnTo>
                      <a:pt x="553" y="1178"/>
                    </a:lnTo>
                    <a:lnTo>
                      <a:pt x="474" y="1178"/>
                    </a:lnTo>
                    <a:lnTo>
                      <a:pt x="474" y="1178"/>
                    </a:lnTo>
                    <a:lnTo>
                      <a:pt x="474" y="1178"/>
                    </a:lnTo>
                    <a:lnTo>
                      <a:pt x="352" y="1178"/>
                    </a:lnTo>
                    <a:cubicBezTo>
                      <a:pt x="356" y="1197"/>
                      <a:pt x="360" y="1216"/>
                      <a:pt x="365" y="1235"/>
                    </a:cubicBezTo>
                    <a:lnTo>
                      <a:pt x="483" y="1235"/>
                    </a:lnTo>
                    <a:cubicBezTo>
                      <a:pt x="484" y="1238"/>
                      <a:pt x="484" y="1241"/>
                      <a:pt x="485" y="1244"/>
                    </a:cubicBezTo>
                    <a:lnTo>
                      <a:pt x="485" y="1244"/>
                    </a:lnTo>
                    <a:lnTo>
                      <a:pt x="368" y="1244"/>
                    </a:lnTo>
                    <a:cubicBezTo>
                      <a:pt x="377" y="1277"/>
                      <a:pt x="388" y="1309"/>
                      <a:pt x="401" y="1340"/>
                    </a:cubicBezTo>
                    <a:close/>
                    <a:moveTo>
                      <a:pt x="673" y="1261"/>
                    </a:moveTo>
                    <a:lnTo>
                      <a:pt x="719" y="1261"/>
                    </a:lnTo>
                    <a:cubicBezTo>
                      <a:pt x="716" y="1255"/>
                      <a:pt x="712" y="1250"/>
                      <a:pt x="709" y="1244"/>
                    </a:cubicBezTo>
                    <a:lnTo>
                      <a:pt x="665" y="1244"/>
                    </a:lnTo>
                    <a:cubicBezTo>
                      <a:pt x="667" y="1249"/>
                      <a:pt x="670" y="1255"/>
                      <a:pt x="673" y="1261"/>
                    </a:cubicBezTo>
                    <a:close/>
                    <a:moveTo>
                      <a:pt x="778" y="1261"/>
                    </a:moveTo>
                    <a:lnTo>
                      <a:pt x="796" y="1261"/>
                    </a:lnTo>
                    <a:cubicBezTo>
                      <a:pt x="796" y="1263"/>
                      <a:pt x="797" y="1265"/>
                      <a:pt x="798" y="1266"/>
                    </a:cubicBezTo>
                    <a:lnTo>
                      <a:pt x="796" y="1261"/>
                    </a:lnTo>
                    <a:lnTo>
                      <a:pt x="851" y="1261"/>
                    </a:lnTo>
                    <a:cubicBezTo>
                      <a:pt x="847" y="1257"/>
                      <a:pt x="845" y="1251"/>
                      <a:pt x="845" y="1244"/>
                    </a:cubicBezTo>
                    <a:cubicBezTo>
                      <a:pt x="845" y="1244"/>
                      <a:pt x="845" y="1244"/>
                      <a:pt x="845" y="1244"/>
                    </a:cubicBezTo>
                    <a:lnTo>
                      <a:pt x="790" y="1244"/>
                    </a:lnTo>
                    <a:lnTo>
                      <a:pt x="789" y="1241"/>
                    </a:lnTo>
                    <a:lnTo>
                      <a:pt x="790" y="1244"/>
                    </a:lnTo>
                    <a:lnTo>
                      <a:pt x="767" y="1244"/>
                    </a:lnTo>
                    <a:cubicBezTo>
                      <a:pt x="771" y="1249"/>
                      <a:pt x="775" y="1255"/>
                      <a:pt x="779" y="1261"/>
                    </a:cubicBezTo>
                    <a:lnTo>
                      <a:pt x="778" y="1261"/>
                    </a:lnTo>
                    <a:close/>
                    <a:moveTo>
                      <a:pt x="661" y="1235"/>
                    </a:moveTo>
                    <a:lnTo>
                      <a:pt x="705" y="1235"/>
                    </a:lnTo>
                    <a:cubicBezTo>
                      <a:pt x="695" y="1216"/>
                      <a:pt x="687" y="1197"/>
                      <a:pt x="681" y="1178"/>
                    </a:cubicBezTo>
                    <a:lnTo>
                      <a:pt x="640" y="1178"/>
                    </a:lnTo>
                    <a:cubicBezTo>
                      <a:pt x="646" y="1197"/>
                      <a:pt x="653" y="1216"/>
                      <a:pt x="661" y="1235"/>
                    </a:cubicBezTo>
                    <a:close/>
                    <a:moveTo>
                      <a:pt x="878" y="1268"/>
                    </a:moveTo>
                    <a:lnTo>
                      <a:pt x="878" y="1268"/>
                    </a:lnTo>
                    <a:cubicBezTo>
                      <a:pt x="878" y="1268"/>
                      <a:pt x="878" y="1268"/>
                      <a:pt x="878" y="1268"/>
                    </a:cubicBezTo>
                    <a:close/>
                    <a:moveTo>
                      <a:pt x="351" y="1169"/>
                    </a:moveTo>
                    <a:lnTo>
                      <a:pt x="473" y="1169"/>
                    </a:lnTo>
                    <a:cubicBezTo>
                      <a:pt x="473" y="1170"/>
                      <a:pt x="473" y="1171"/>
                      <a:pt x="474" y="1172"/>
                    </a:cubicBezTo>
                    <a:lnTo>
                      <a:pt x="473" y="1169"/>
                    </a:lnTo>
                    <a:lnTo>
                      <a:pt x="551" y="1169"/>
                    </a:lnTo>
                    <a:lnTo>
                      <a:pt x="551" y="1169"/>
                    </a:lnTo>
                    <a:lnTo>
                      <a:pt x="585" y="1169"/>
                    </a:lnTo>
                    <a:cubicBezTo>
                      <a:pt x="585" y="1166"/>
                      <a:pt x="584" y="1163"/>
                      <a:pt x="583" y="1160"/>
                    </a:cubicBezTo>
                    <a:cubicBezTo>
                      <a:pt x="578" y="1135"/>
                      <a:pt x="574" y="1110"/>
                      <a:pt x="571" y="1085"/>
                    </a:cubicBezTo>
                    <a:lnTo>
                      <a:pt x="341" y="1085"/>
                    </a:lnTo>
                    <a:cubicBezTo>
                      <a:pt x="343" y="1114"/>
                      <a:pt x="346" y="1142"/>
                      <a:pt x="351" y="1169"/>
                    </a:cubicBezTo>
                    <a:close/>
                    <a:moveTo>
                      <a:pt x="638" y="1169"/>
                    </a:moveTo>
                    <a:lnTo>
                      <a:pt x="678" y="1169"/>
                    </a:lnTo>
                    <a:cubicBezTo>
                      <a:pt x="669" y="1142"/>
                      <a:pt x="663" y="1114"/>
                      <a:pt x="660" y="1085"/>
                    </a:cubicBezTo>
                    <a:lnTo>
                      <a:pt x="622" y="1085"/>
                    </a:lnTo>
                    <a:cubicBezTo>
                      <a:pt x="624" y="1107"/>
                      <a:pt x="628" y="1128"/>
                      <a:pt x="633" y="1149"/>
                    </a:cubicBezTo>
                    <a:cubicBezTo>
                      <a:pt x="634" y="1155"/>
                      <a:pt x="636" y="1162"/>
                      <a:pt x="638" y="1169"/>
                    </a:cubicBezTo>
                    <a:close/>
                    <a:moveTo>
                      <a:pt x="732" y="1169"/>
                    </a:moveTo>
                    <a:lnTo>
                      <a:pt x="772" y="1169"/>
                    </a:lnTo>
                    <a:lnTo>
                      <a:pt x="772" y="1169"/>
                    </a:lnTo>
                    <a:lnTo>
                      <a:pt x="813" y="1169"/>
                    </a:lnTo>
                    <a:cubicBezTo>
                      <a:pt x="801" y="1144"/>
                      <a:pt x="793" y="1118"/>
                      <a:pt x="788" y="1090"/>
                    </a:cubicBezTo>
                    <a:lnTo>
                      <a:pt x="813" y="1085"/>
                    </a:lnTo>
                    <a:lnTo>
                      <a:pt x="711" y="1085"/>
                    </a:lnTo>
                    <a:cubicBezTo>
                      <a:pt x="715" y="1114"/>
                      <a:pt x="722" y="1142"/>
                      <a:pt x="732" y="1169"/>
                    </a:cubicBezTo>
                    <a:close/>
                    <a:moveTo>
                      <a:pt x="869" y="1169"/>
                    </a:moveTo>
                    <a:lnTo>
                      <a:pt x="1032" y="1169"/>
                    </a:lnTo>
                    <a:cubicBezTo>
                      <a:pt x="1026" y="1164"/>
                      <a:pt x="1020" y="1160"/>
                      <a:pt x="1015" y="1154"/>
                    </a:cubicBezTo>
                    <a:cubicBezTo>
                      <a:pt x="987" y="1126"/>
                      <a:pt x="968" y="1088"/>
                      <a:pt x="965" y="1045"/>
                    </a:cubicBezTo>
                    <a:lnTo>
                      <a:pt x="939" y="1019"/>
                    </a:lnTo>
                    <a:lnTo>
                      <a:pt x="708" y="1019"/>
                    </a:lnTo>
                    <a:cubicBezTo>
                      <a:pt x="707" y="1039"/>
                      <a:pt x="708" y="1058"/>
                      <a:pt x="710" y="1077"/>
                    </a:cubicBezTo>
                    <a:lnTo>
                      <a:pt x="846" y="1077"/>
                    </a:lnTo>
                    <a:cubicBezTo>
                      <a:pt x="850" y="1067"/>
                      <a:pt x="859" y="1061"/>
                      <a:pt x="870" y="1061"/>
                    </a:cubicBezTo>
                    <a:cubicBezTo>
                      <a:pt x="884" y="1061"/>
                      <a:pt x="895" y="1072"/>
                      <a:pt x="895" y="1086"/>
                    </a:cubicBezTo>
                    <a:cubicBezTo>
                      <a:pt x="895" y="1100"/>
                      <a:pt x="884" y="1111"/>
                      <a:pt x="870" y="1111"/>
                    </a:cubicBezTo>
                    <a:lnTo>
                      <a:pt x="870" y="1111"/>
                    </a:lnTo>
                    <a:cubicBezTo>
                      <a:pt x="856" y="1111"/>
                      <a:pt x="845" y="1100"/>
                      <a:pt x="845" y="1086"/>
                    </a:cubicBezTo>
                    <a:lnTo>
                      <a:pt x="845" y="1085"/>
                    </a:lnTo>
                    <a:lnTo>
                      <a:pt x="839" y="1085"/>
                    </a:lnTo>
                    <a:cubicBezTo>
                      <a:pt x="845" y="1115"/>
                      <a:pt x="855" y="1143"/>
                      <a:pt x="869" y="1169"/>
                    </a:cubicBezTo>
                    <a:close/>
                    <a:moveTo>
                      <a:pt x="773" y="1175"/>
                    </a:moveTo>
                    <a:cubicBezTo>
                      <a:pt x="773" y="1174"/>
                      <a:pt x="773" y="1172"/>
                      <a:pt x="772" y="1171"/>
                    </a:cubicBezTo>
                    <a:cubicBezTo>
                      <a:pt x="773" y="1172"/>
                      <a:pt x="773" y="1174"/>
                      <a:pt x="773" y="1175"/>
                    </a:cubicBezTo>
                    <a:close/>
                    <a:moveTo>
                      <a:pt x="989" y="1415"/>
                    </a:moveTo>
                    <a:lnTo>
                      <a:pt x="940" y="1415"/>
                    </a:lnTo>
                    <a:cubicBezTo>
                      <a:pt x="979" y="1435"/>
                      <a:pt x="1020" y="1449"/>
                      <a:pt x="1063" y="1456"/>
                    </a:cubicBezTo>
                    <a:cubicBezTo>
                      <a:pt x="1079" y="1458"/>
                      <a:pt x="1095" y="1460"/>
                      <a:pt x="1112" y="1461"/>
                    </a:cubicBezTo>
                    <a:lnTo>
                      <a:pt x="1068" y="1415"/>
                    </a:lnTo>
                    <a:lnTo>
                      <a:pt x="989" y="1415"/>
                    </a:lnTo>
                    <a:lnTo>
                      <a:pt x="989" y="1415"/>
                    </a:lnTo>
                    <a:close/>
                    <a:moveTo>
                      <a:pt x="718" y="1415"/>
                    </a:moveTo>
                    <a:lnTo>
                      <a:pt x="623" y="1415"/>
                    </a:lnTo>
                    <a:lnTo>
                      <a:pt x="623" y="1415"/>
                    </a:lnTo>
                    <a:lnTo>
                      <a:pt x="559" y="1415"/>
                    </a:lnTo>
                    <a:lnTo>
                      <a:pt x="545" y="1430"/>
                    </a:lnTo>
                    <a:lnTo>
                      <a:pt x="545" y="1430"/>
                    </a:lnTo>
                    <a:lnTo>
                      <a:pt x="486" y="1493"/>
                    </a:lnTo>
                    <a:cubicBezTo>
                      <a:pt x="503" y="1518"/>
                      <a:pt x="522" y="1541"/>
                      <a:pt x="541" y="1563"/>
                    </a:cubicBezTo>
                    <a:lnTo>
                      <a:pt x="601" y="1485"/>
                    </a:lnTo>
                    <a:lnTo>
                      <a:pt x="795" y="1485"/>
                    </a:lnTo>
                    <a:cubicBezTo>
                      <a:pt x="767" y="1465"/>
                      <a:pt x="741" y="1441"/>
                      <a:pt x="718" y="1415"/>
                    </a:cubicBezTo>
                    <a:close/>
                    <a:moveTo>
                      <a:pt x="863" y="954"/>
                    </a:moveTo>
                    <a:lnTo>
                      <a:pt x="863" y="954"/>
                    </a:lnTo>
                    <a:lnTo>
                      <a:pt x="863" y="954"/>
                    </a:lnTo>
                    <a:lnTo>
                      <a:pt x="853" y="954"/>
                    </a:lnTo>
                    <a:lnTo>
                      <a:pt x="845" y="954"/>
                    </a:lnTo>
                    <a:lnTo>
                      <a:pt x="845" y="953"/>
                    </a:lnTo>
                    <a:lnTo>
                      <a:pt x="845" y="953"/>
                    </a:lnTo>
                    <a:lnTo>
                      <a:pt x="845" y="953"/>
                    </a:lnTo>
                    <a:lnTo>
                      <a:pt x="845" y="953"/>
                    </a:lnTo>
                    <a:lnTo>
                      <a:pt x="845" y="953"/>
                    </a:lnTo>
                    <a:lnTo>
                      <a:pt x="845" y="953"/>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1"/>
                    </a:lnTo>
                    <a:lnTo>
                      <a:pt x="845" y="951"/>
                    </a:lnTo>
                    <a:cubicBezTo>
                      <a:pt x="845" y="949"/>
                      <a:pt x="846" y="947"/>
                      <a:pt x="846" y="945"/>
                    </a:cubicBezTo>
                    <a:lnTo>
                      <a:pt x="846" y="945"/>
                    </a:lnTo>
                    <a:lnTo>
                      <a:pt x="865" y="945"/>
                    </a:lnTo>
                    <a:lnTo>
                      <a:pt x="865" y="945"/>
                    </a:lnTo>
                    <a:lnTo>
                      <a:pt x="865" y="945"/>
                    </a:lnTo>
                    <a:cubicBezTo>
                      <a:pt x="864" y="947"/>
                      <a:pt x="864" y="948"/>
                      <a:pt x="863" y="950"/>
                    </a:cubicBezTo>
                    <a:lnTo>
                      <a:pt x="863" y="950"/>
                    </a:lnTo>
                    <a:lnTo>
                      <a:pt x="863" y="951"/>
                    </a:lnTo>
                    <a:lnTo>
                      <a:pt x="863" y="951"/>
                    </a:lnTo>
                    <a:lnTo>
                      <a:pt x="863" y="951"/>
                    </a:lnTo>
                    <a:lnTo>
                      <a:pt x="863" y="951"/>
                    </a:lnTo>
                    <a:lnTo>
                      <a:pt x="863" y="951"/>
                    </a:lnTo>
                    <a:lnTo>
                      <a:pt x="863" y="951"/>
                    </a:lnTo>
                    <a:lnTo>
                      <a:pt x="863" y="951"/>
                    </a:lnTo>
                    <a:lnTo>
                      <a:pt x="863" y="951"/>
                    </a:lnTo>
                    <a:lnTo>
                      <a:pt x="863" y="952"/>
                    </a:lnTo>
                    <a:lnTo>
                      <a:pt x="863" y="952"/>
                    </a:lnTo>
                    <a:lnTo>
                      <a:pt x="863" y="952"/>
                    </a:lnTo>
                    <a:lnTo>
                      <a:pt x="863" y="952"/>
                    </a:lnTo>
                    <a:lnTo>
                      <a:pt x="863" y="952"/>
                    </a:lnTo>
                    <a:lnTo>
                      <a:pt x="863" y="952"/>
                    </a:lnTo>
                    <a:lnTo>
                      <a:pt x="863" y="952"/>
                    </a:lnTo>
                    <a:lnTo>
                      <a:pt x="863" y="952"/>
                    </a:lnTo>
                    <a:lnTo>
                      <a:pt x="863" y="953"/>
                    </a:lnTo>
                    <a:lnTo>
                      <a:pt x="863" y="953"/>
                    </a:lnTo>
                    <a:lnTo>
                      <a:pt x="863" y="953"/>
                    </a:lnTo>
                    <a:lnTo>
                      <a:pt x="863" y="953"/>
                    </a:lnTo>
                    <a:lnTo>
                      <a:pt x="863" y="953"/>
                    </a:lnTo>
                    <a:lnTo>
                      <a:pt x="863" y="953"/>
                    </a:lnTo>
                    <a:lnTo>
                      <a:pt x="863" y="953"/>
                    </a:lnTo>
                    <a:lnTo>
                      <a:pt x="863" y="953"/>
                    </a:lnTo>
                    <a:lnTo>
                      <a:pt x="863" y="953"/>
                    </a:lnTo>
                    <a:lnTo>
                      <a:pt x="863" y="953"/>
                    </a:lnTo>
                    <a:lnTo>
                      <a:pt x="863" y="954"/>
                    </a:lnTo>
                    <a:lnTo>
                      <a:pt x="863" y="954"/>
                    </a:lnTo>
                    <a:close/>
                    <a:moveTo>
                      <a:pt x="860" y="966"/>
                    </a:moveTo>
                    <a:lnTo>
                      <a:pt x="846" y="963"/>
                    </a:lnTo>
                    <a:cubicBezTo>
                      <a:pt x="845" y="961"/>
                      <a:pt x="845" y="957"/>
                      <a:pt x="845" y="954"/>
                    </a:cubicBezTo>
                    <a:lnTo>
                      <a:pt x="845" y="954"/>
                    </a:lnTo>
                    <a:lnTo>
                      <a:pt x="797" y="954"/>
                    </a:lnTo>
                    <a:lnTo>
                      <a:pt x="797" y="954"/>
                    </a:lnTo>
                    <a:lnTo>
                      <a:pt x="715" y="954"/>
                    </a:lnTo>
                    <a:moveTo>
                      <a:pt x="663" y="954"/>
                    </a:moveTo>
                    <a:lnTo>
                      <a:pt x="480" y="954"/>
                    </a:lnTo>
                    <a:lnTo>
                      <a:pt x="360" y="852"/>
                    </a:lnTo>
                    <a:moveTo>
                      <a:pt x="339" y="742"/>
                    </a:moveTo>
                    <a:lnTo>
                      <a:pt x="338" y="741"/>
                    </a:lnTo>
                    <a:cubicBezTo>
                      <a:pt x="338" y="739"/>
                      <a:pt x="339" y="737"/>
                      <a:pt x="339" y="736"/>
                    </a:cubicBezTo>
                    <a:cubicBezTo>
                      <a:pt x="339" y="737"/>
                      <a:pt x="338" y="739"/>
                      <a:pt x="338" y="741"/>
                    </a:cubicBezTo>
                    <a:lnTo>
                      <a:pt x="338" y="741"/>
                    </a:lnTo>
                    <a:lnTo>
                      <a:pt x="203" y="602"/>
                    </a:lnTo>
                    <a:moveTo>
                      <a:pt x="208" y="593"/>
                    </a:moveTo>
                    <a:lnTo>
                      <a:pt x="340" y="731"/>
                    </a:lnTo>
                    <a:lnTo>
                      <a:pt x="340" y="731"/>
                    </a:lnTo>
                    <a:lnTo>
                      <a:pt x="343" y="733"/>
                    </a:lnTo>
                    <a:moveTo>
                      <a:pt x="362" y="843"/>
                    </a:moveTo>
                    <a:lnTo>
                      <a:pt x="483" y="945"/>
                    </a:lnTo>
                    <a:lnTo>
                      <a:pt x="665" y="945"/>
                    </a:lnTo>
                    <a:moveTo>
                      <a:pt x="717" y="945"/>
                    </a:moveTo>
                    <a:lnTo>
                      <a:pt x="776" y="945"/>
                    </a:lnTo>
                    <a:cubicBezTo>
                      <a:pt x="775" y="946"/>
                      <a:pt x="775" y="948"/>
                      <a:pt x="775" y="949"/>
                    </a:cubicBezTo>
                    <a:lnTo>
                      <a:pt x="792" y="952"/>
                    </a:lnTo>
                    <a:lnTo>
                      <a:pt x="775" y="949"/>
                    </a:lnTo>
                    <a:cubicBezTo>
                      <a:pt x="775" y="948"/>
                      <a:pt x="775" y="946"/>
                      <a:pt x="776" y="945"/>
                    </a:cubicBezTo>
                    <a:lnTo>
                      <a:pt x="846" y="945"/>
                    </a:lnTo>
                    <a:cubicBezTo>
                      <a:pt x="846" y="947"/>
                      <a:pt x="845" y="949"/>
                      <a:pt x="845" y="951"/>
                    </a:cubicBezTo>
                    <a:moveTo>
                      <a:pt x="863" y="954"/>
                    </a:moveTo>
                    <a:lnTo>
                      <a:pt x="862" y="955"/>
                    </a:lnTo>
                    <a:lnTo>
                      <a:pt x="863" y="954"/>
                    </a:lnTo>
                    <a:moveTo>
                      <a:pt x="865" y="945"/>
                    </a:moveTo>
                    <a:lnTo>
                      <a:pt x="865" y="945"/>
                    </a:lnTo>
                    <a:lnTo>
                      <a:pt x="865" y="945"/>
                    </a:lnTo>
                    <a:lnTo>
                      <a:pt x="865" y="945"/>
                    </a:lnTo>
                    <a:lnTo>
                      <a:pt x="865" y="944"/>
                    </a:lnTo>
                    <a:lnTo>
                      <a:pt x="865" y="944"/>
                    </a:lnTo>
                    <a:lnTo>
                      <a:pt x="865" y="944"/>
                    </a:lnTo>
                    <a:lnTo>
                      <a:pt x="865" y="944"/>
                    </a:lnTo>
                    <a:lnTo>
                      <a:pt x="865" y="944"/>
                    </a:lnTo>
                    <a:lnTo>
                      <a:pt x="865" y="943"/>
                    </a:lnTo>
                    <a:lnTo>
                      <a:pt x="865" y="943"/>
                    </a:lnTo>
                    <a:lnTo>
                      <a:pt x="865" y="943"/>
                    </a:lnTo>
                    <a:lnTo>
                      <a:pt x="865" y="943"/>
                    </a:lnTo>
                    <a:lnTo>
                      <a:pt x="865" y="943"/>
                    </a:lnTo>
                    <a:lnTo>
                      <a:pt x="865" y="943"/>
                    </a:lnTo>
                    <a:lnTo>
                      <a:pt x="865" y="943"/>
                    </a:lnTo>
                    <a:lnTo>
                      <a:pt x="865" y="942"/>
                    </a:lnTo>
                    <a:lnTo>
                      <a:pt x="865" y="942"/>
                    </a:lnTo>
                    <a:lnTo>
                      <a:pt x="865" y="942"/>
                    </a:lnTo>
                    <a:lnTo>
                      <a:pt x="865" y="942"/>
                    </a:lnTo>
                    <a:lnTo>
                      <a:pt x="865" y="942"/>
                    </a:lnTo>
                    <a:lnTo>
                      <a:pt x="865" y="942"/>
                    </a:lnTo>
                    <a:lnTo>
                      <a:pt x="865" y="942"/>
                    </a:lnTo>
                    <a:lnTo>
                      <a:pt x="866" y="941"/>
                    </a:lnTo>
                    <a:lnTo>
                      <a:pt x="866" y="941"/>
                    </a:lnTo>
                    <a:lnTo>
                      <a:pt x="866" y="941"/>
                    </a:lnTo>
                    <a:lnTo>
                      <a:pt x="866" y="941"/>
                    </a:lnTo>
                    <a:lnTo>
                      <a:pt x="866" y="941"/>
                    </a:lnTo>
                    <a:lnTo>
                      <a:pt x="866" y="941"/>
                    </a:lnTo>
                    <a:lnTo>
                      <a:pt x="866" y="941"/>
                    </a:lnTo>
                    <a:lnTo>
                      <a:pt x="866" y="941"/>
                    </a:lnTo>
                    <a:lnTo>
                      <a:pt x="866" y="940"/>
                    </a:lnTo>
                    <a:lnTo>
                      <a:pt x="866" y="940"/>
                    </a:lnTo>
                    <a:lnTo>
                      <a:pt x="866" y="940"/>
                    </a:lnTo>
                    <a:lnTo>
                      <a:pt x="866" y="940"/>
                    </a:lnTo>
                    <a:lnTo>
                      <a:pt x="866" y="940"/>
                    </a:lnTo>
                    <a:lnTo>
                      <a:pt x="866" y="940"/>
                    </a:lnTo>
                    <a:lnTo>
                      <a:pt x="866" y="940"/>
                    </a:lnTo>
                    <a:lnTo>
                      <a:pt x="866" y="940"/>
                    </a:lnTo>
                    <a:lnTo>
                      <a:pt x="866" y="939"/>
                    </a:lnTo>
                    <a:lnTo>
                      <a:pt x="866" y="939"/>
                    </a:lnTo>
                    <a:lnTo>
                      <a:pt x="866" y="939"/>
                    </a:lnTo>
                    <a:lnTo>
                      <a:pt x="866" y="939"/>
                    </a:lnTo>
                    <a:lnTo>
                      <a:pt x="866" y="939"/>
                    </a:lnTo>
                    <a:lnTo>
                      <a:pt x="866" y="939"/>
                    </a:lnTo>
                    <a:lnTo>
                      <a:pt x="867" y="938"/>
                    </a:lnTo>
                    <a:lnTo>
                      <a:pt x="867" y="938"/>
                    </a:lnTo>
                    <a:lnTo>
                      <a:pt x="867" y="937"/>
                    </a:lnTo>
                    <a:lnTo>
                      <a:pt x="867" y="937"/>
                    </a:lnTo>
                    <a:lnTo>
                      <a:pt x="867" y="937"/>
                    </a:lnTo>
                    <a:lnTo>
                      <a:pt x="867" y="937"/>
                    </a:lnTo>
                    <a:lnTo>
                      <a:pt x="867" y="937"/>
                    </a:lnTo>
                    <a:lnTo>
                      <a:pt x="867" y="936"/>
                    </a:lnTo>
                    <a:lnTo>
                      <a:pt x="867" y="936"/>
                    </a:lnTo>
                    <a:lnTo>
                      <a:pt x="867" y="936"/>
                    </a:lnTo>
                    <a:lnTo>
                      <a:pt x="867" y="935"/>
                    </a:lnTo>
                    <a:lnTo>
                      <a:pt x="867" y="935"/>
                    </a:lnTo>
                    <a:lnTo>
                      <a:pt x="867" y="935"/>
                    </a:lnTo>
                    <a:lnTo>
                      <a:pt x="867" y="935"/>
                    </a:lnTo>
                    <a:lnTo>
                      <a:pt x="867" y="935"/>
                    </a:lnTo>
                    <a:lnTo>
                      <a:pt x="867" y="935"/>
                    </a:lnTo>
                    <a:lnTo>
                      <a:pt x="867" y="934"/>
                    </a:lnTo>
                    <a:lnTo>
                      <a:pt x="867" y="934"/>
                    </a:lnTo>
                    <a:lnTo>
                      <a:pt x="868" y="934"/>
                    </a:lnTo>
                    <a:lnTo>
                      <a:pt x="868" y="934"/>
                    </a:lnTo>
                    <a:lnTo>
                      <a:pt x="868" y="933"/>
                    </a:lnTo>
                    <a:lnTo>
                      <a:pt x="868" y="933"/>
                    </a:lnTo>
                    <a:lnTo>
                      <a:pt x="868" y="933"/>
                    </a:lnTo>
                    <a:lnTo>
                      <a:pt x="868" y="933"/>
                    </a:lnTo>
                    <a:lnTo>
                      <a:pt x="868" y="933"/>
                    </a:lnTo>
                    <a:lnTo>
                      <a:pt x="868" y="933"/>
                    </a:lnTo>
                    <a:lnTo>
                      <a:pt x="868" y="933"/>
                    </a:lnTo>
                    <a:lnTo>
                      <a:pt x="868" y="933"/>
                    </a:lnTo>
                    <a:lnTo>
                      <a:pt x="868" y="932"/>
                    </a:lnTo>
                    <a:lnTo>
                      <a:pt x="868" y="932"/>
                    </a:lnTo>
                    <a:lnTo>
                      <a:pt x="868" y="932"/>
                    </a:lnTo>
                    <a:lnTo>
                      <a:pt x="868" y="932"/>
                    </a:lnTo>
                    <a:lnTo>
                      <a:pt x="868" y="932"/>
                    </a:lnTo>
                    <a:lnTo>
                      <a:pt x="868" y="932"/>
                    </a:lnTo>
                    <a:lnTo>
                      <a:pt x="868" y="932"/>
                    </a:lnTo>
                    <a:lnTo>
                      <a:pt x="868" y="931"/>
                    </a:lnTo>
                    <a:lnTo>
                      <a:pt x="868" y="931"/>
                    </a:lnTo>
                    <a:lnTo>
                      <a:pt x="868" y="931"/>
                    </a:lnTo>
                    <a:lnTo>
                      <a:pt x="868" y="931"/>
                    </a:lnTo>
                    <a:lnTo>
                      <a:pt x="868" y="931"/>
                    </a:lnTo>
                    <a:lnTo>
                      <a:pt x="868" y="931"/>
                    </a:lnTo>
                    <a:lnTo>
                      <a:pt x="868" y="930"/>
                    </a:lnTo>
                    <a:lnTo>
                      <a:pt x="869" y="930"/>
                    </a:lnTo>
                    <a:lnTo>
                      <a:pt x="869" y="930"/>
                    </a:lnTo>
                    <a:lnTo>
                      <a:pt x="869" y="930"/>
                    </a:lnTo>
                    <a:lnTo>
                      <a:pt x="869" y="930"/>
                    </a:lnTo>
                    <a:lnTo>
                      <a:pt x="869" y="929"/>
                    </a:lnTo>
                    <a:lnTo>
                      <a:pt x="869" y="929"/>
                    </a:lnTo>
                    <a:lnTo>
                      <a:pt x="869" y="929"/>
                    </a:lnTo>
                    <a:lnTo>
                      <a:pt x="869" y="929"/>
                    </a:lnTo>
                    <a:lnTo>
                      <a:pt x="869" y="929"/>
                    </a:lnTo>
                    <a:lnTo>
                      <a:pt x="869" y="929"/>
                    </a:lnTo>
                    <a:cubicBezTo>
                      <a:pt x="859" y="929"/>
                      <a:pt x="850" y="936"/>
                      <a:pt x="846" y="945"/>
                    </a:cubicBezTo>
                    <a:moveTo>
                      <a:pt x="861" y="959"/>
                    </a:moveTo>
                    <a:cubicBezTo>
                      <a:pt x="861" y="961"/>
                      <a:pt x="860" y="964"/>
                      <a:pt x="860" y="966"/>
                    </a:cubicBezTo>
                    <a:moveTo>
                      <a:pt x="856" y="808"/>
                    </a:moveTo>
                    <a:lnTo>
                      <a:pt x="845" y="808"/>
                    </a:lnTo>
                    <a:lnTo>
                      <a:pt x="845" y="808"/>
                    </a:lnTo>
                    <a:lnTo>
                      <a:pt x="845" y="808"/>
                    </a:lnTo>
                    <a:lnTo>
                      <a:pt x="845" y="808"/>
                    </a:lnTo>
                    <a:lnTo>
                      <a:pt x="822" y="808"/>
                    </a:lnTo>
                    <a:cubicBezTo>
                      <a:pt x="824" y="806"/>
                      <a:pt x="825" y="803"/>
                      <a:pt x="827" y="800"/>
                    </a:cubicBezTo>
                    <a:lnTo>
                      <a:pt x="846" y="800"/>
                    </a:lnTo>
                    <a:lnTo>
                      <a:pt x="846" y="800"/>
                    </a:lnTo>
                    <a:lnTo>
                      <a:pt x="846" y="800"/>
                    </a:lnTo>
                    <a:lnTo>
                      <a:pt x="846" y="800"/>
                    </a:lnTo>
                    <a:cubicBezTo>
                      <a:pt x="850" y="790"/>
                      <a:pt x="859" y="784"/>
                      <a:pt x="870" y="784"/>
                    </a:cubicBezTo>
                    <a:cubicBezTo>
                      <a:pt x="872" y="784"/>
                      <a:pt x="874" y="784"/>
                      <a:pt x="876" y="784"/>
                    </a:cubicBezTo>
                    <a:cubicBezTo>
                      <a:pt x="885" y="774"/>
                      <a:pt x="895" y="765"/>
                      <a:pt x="906" y="756"/>
                    </a:cubicBezTo>
                    <a:lnTo>
                      <a:pt x="852" y="756"/>
                    </a:lnTo>
                    <a:lnTo>
                      <a:pt x="852" y="756"/>
                    </a:lnTo>
                    <a:lnTo>
                      <a:pt x="852" y="756"/>
                    </a:lnTo>
                    <a:lnTo>
                      <a:pt x="814" y="756"/>
                    </a:lnTo>
                    <a:cubicBezTo>
                      <a:pt x="801" y="770"/>
                      <a:pt x="790" y="785"/>
                      <a:pt x="779" y="800"/>
                    </a:cubicBezTo>
                    <a:lnTo>
                      <a:pt x="827" y="800"/>
                    </a:lnTo>
                    <a:cubicBezTo>
                      <a:pt x="825" y="803"/>
                      <a:pt x="824" y="806"/>
                      <a:pt x="822" y="808"/>
                    </a:cubicBezTo>
                    <a:lnTo>
                      <a:pt x="822" y="808"/>
                    </a:lnTo>
                    <a:lnTo>
                      <a:pt x="773" y="808"/>
                    </a:lnTo>
                    <a:cubicBezTo>
                      <a:pt x="759" y="831"/>
                      <a:pt x="746" y="855"/>
                      <a:pt x="737" y="879"/>
                    </a:cubicBezTo>
                    <a:lnTo>
                      <a:pt x="794" y="879"/>
                    </a:lnTo>
                    <a:lnTo>
                      <a:pt x="793" y="880"/>
                    </a:lnTo>
                    <a:lnTo>
                      <a:pt x="794" y="879"/>
                    </a:lnTo>
                    <a:lnTo>
                      <a:pt x="813" y="879"/>
                    </a:lnTo>
                    <a:cubicBezTo>
                      <a:pt x="823" y="858"/>
                      <a:pt x="834" y="838"/>
                      <a:pt x="847" y="820"/>
                    </a:cubicBezTo>
                    <a:cubicBezTo>
                      <a:pt x="846" y="817"/>
                      <a:pt x="845" y="813"/>
                      <a:pt x="845" y="809"/>
                    </a:cubicBezTo>
                    <a:cubicBezTo>
                      <a:pt x="845" y="809"/>
                      <a:pt x="845" y="809"/>
                      <a:pt x="845" y="808"/>
                    </a:cubicBezTo>
                    <a:lnTo>
                      <a:pt x="856" y="808"/>
                    </a:lnTo>
                    <a:close/>
                    <a:moveTo>
                      <a:pt x="749" y="756"/>
                    </a:moveTo>
                    <a:lnTo>
                      <a:pt x="700" y="756"/>
                    </a:lnTo>
                    <a:cubicBezTo>
                      <a:pt x="691" y="770"/>
                      <a:pt x="683" y="785"/>
                      <a:pt x="675" y="800"/>
                    </a:cubicBezTo>
                    <a:lnTo>
                      <a:pt x="719" y="800"/>
                    </a:lnTo>
                    <a:cubicBezTo>
                      <a:pt x="728" y="785"/>
                      <a:pt x="738" y="770"/>
                      <a:pt x="749" y="756"/>
                    </a:cubicBezTo>
                    <a:close/>
                    <a:moveTo>
                      <a:pt x="647" y="746"/>
                    </a:moveTo>
                    <a:lnTo>
                      <a:pt x="483" y="577"/>
                    </a:lnTo>
                    <a:cubicBezTo>
                      <a:pt x="466" y="601"/>
                      <a:pt x="450" y="625"/>
                      <a:pt x="436" y="651"/>
                    </a:cubicBezTo>
                    <a:lnTo>
                      <a:pt x="485" y="708"/>
                    </a:lnTo>
                    <a:lnTo>
                      <a:pt x="547" y="708"/>
                    </a:lnTo>
                    <a:lnTo>
                      <a:pt x="621" y="796"/>
                    </a:lnTo>
                    <a:cubicBezTo>
                      <a:pt x="629" y="779"/>
                      <a:pt x="638" y="762"/>
                      <a:pt x="647" y="746"/>
                    </a:cubicBezTo>
                    <a:close/>
                    <a:moveTo>
                      <a:pt x="488" y="569"/>
                    </a:moveTo>
                    <a:lnTo>
                      <a:pt x="652" y="738"/>
                    </a:lnTo>
                    <a:cubicBezTo>
                      <a:pt x="666" y="714"/>
                      <a:pt x="683" y="691"/>
                      <a:pt x="701" y="670"/>
                    </a:cubicBezTo>
                    <a:lnTo>
                      <a:pt x="540" y="503"/>
                    </a:lnTo>
                    <a:cubicBezTo>
                      <a:pt x="522" y="524"/>
                      <a:pt x="504" y="546"/>
                      <a:pt x="488" y="569"/>
                    </a:cubicBezTo>
                    <a:close/>
                    <a:moveTo>
                      <a:pt x="706" y="747"/>
                    </a:moveTo>
                    <a:lnTo>
                      <a:pt x="755" y="747"/>
                    </a:lnTo>
                    <a:cubicBezTo>
                      <a:pt x="774" y="723"/>
                      <a:pt x="795" y="701"/>
                      <a:pt x="820" y="681"/>
                    </a:cubicBezTo>
                    <a:lnTo>
                      <a:pt x="852" y="720"/>
                    </a:lnTo>
                    <a:cubicBezTo>
                      <a:pt x="842" y="728"/>
                      <a:pt x="832" y="738"/>
                      <a:pt x="823" y="747"/>
                    </a:cubicBezTo>
                    <a:lnTo>
                      <a:pt x="857" y="747"/>
                    </a:lnTo>
                    <a:lnTo>
                      <a:pt x="857" y="747"/>
                    </a:lnTo>
                    <a:lnTo>
                      <a:pt x="916" y="747"/>
                    </a:lnTo>
                    <a:cubicBezTo>
                      <a:pt x="919" y="745"/>
                      <a:pt x="921" y="743"/>
                      <a:pt x="924" y="741"/>
                    </a:cubicBezTo>
                    <a:cubicBezTo>
                      <a:pt x="980" y="699"/>
                      <a:pt x="1048" y="673"/>
                      <a:pt x="1122" y="670"/>
                    </a:cubicBezTo>
                    <a:cubicBezTo>
                      <a:pt x="1123" y="669"/>
                      <a:pt x="1123" y="669"/>
                      <a:pt x="1123" y="668"/>
                    </a:cubicBezTo>
                    <a:lnTo>
                      <a:pt x="1126" y="670"/>
                    </a:lnTo>
                    <a:lnTo>
                      <a:pt x="1126" y="670"/>
                    </a:lnTo>
                    <a:lnTo>
                      <a:pt x="1123" y="668"/>
                    </a:lnTo>
                    <a:cubicBezTo>
                      <a:pt x="1124" y="667"/>
                      <a:pt x="1124" y="666"/>
                      <a:pt x="1125" y="664"/>
                    </a:cubicBezTo>
                    <a:cubicBezTo>
                      <a:pt x="1124" y="666"/>
                      <a:pt x="1124" y="667"/>
                      <a:pt x="1123" y="668"/>
                    </a:cubicBezTo>
                    <a:lnTo>
                      <a:pt x="1123" y="668"/>
                    </a:lnTo>
                    <a:lnTo>
                      <a:pt x="1083" y="637"/>
                    </a:lnTo>
                    <a:lnTo>
                      <a:pt x="1020" y="637"/>
                    </a:lnTo>
                    <a:cubicBezTo>
                      <a:pt x="1018" y="638"/>
                      <a:pt x="1017" y="638"/>
                      <a:pt x="1015" y="639"/>
                    </a:cubicBezTo>
                    <a:lnTo>
                      <a:pt x="1014" y="637"/>
                    </a:lnTo>
                    <a:lnTo>
                      <a:pt x="805" y="637"/>
                    </a:lnTo>
                    <a:cubicBezTo>
                      <a:pt x="793" y="647"/>
                      <a:pt x="782" y="657"/>
                      <a:pt x="771" y="668"/>
                    </a:cubicBezTo>
                    <a:lnTo>
                      <a:pt x="846" y="668"/>
                    </a:lnTo>
                    <a:cubicBezTo>
                      <a:pt x="850" y="659"/>
                      <a:pt x="859" y="652"/>
                      <a:pt x="870" y="652"/>
                    </a:cubicBezTo>
                    <a:cubicBezTo>
                      <a:pt x="884" y="652"/>
                      <a:pt x="895" y="663"/>
                      <a:pt x="895" y="677"/>
                    </a:cubicBezTo>
                    <a:cubicBezTo>
                      <a:pt x="895" y="691"/>
                      <a:pt x="884" y="702"/>
                      <a:pt x="870" y="702"/>
                    </a:cubicBezTo>
                    <a:lnTo>
                      <a:pt x="870" y="702"/>
                    </a:lnTo>
                    <a:cubicBezTo>
                      <a:pt x="856" y="702"/>
                      <a:pt x="845" y="691"/>
                      <a:pt x="845" y="677"/>
                    </a:cubicBezTo>
                    <a:lnTo>
                      <a:pt x="845" y="677"/>
                    </a:lnTo>
                    <a:lnTo>
                      <a:pt x="845" y="677"/>
                    </a:lnTo>
                    <a:lnTo>
                      <a:pt x="845" y="677"/>
                    </a:lnTo>
                    <a:lnTo>
                      <a:pt x="763" y="677"/>
                    </a:lnTo>
                    <a:cubicBezTo>
                      <a:pt x="742" y="698"/>
                      <a:pt x="723" y="722"/>
                      <a:pt x="706" y="747"/>
                    </a:cubicBezTo>
                    <a:close/>
                    <a:moveTo>
                      <a:pt x="883" y="888"/>
                    </a:moveTo>
                    <a:lnTo>
                      <a:pt x="865" y="888"/>
                    </a:lnTo>
                    <a:cubicBezTo>
                      <a:pt x="857" y="904"/>
                      <a:pt x="850" y="922"/>
                      <a:pt x="845" y="940"/>
                    </a:cubicBezTo>
                    <a:lnTo>
                      <a:pt x="796" y="926"/>
                    </a:lnTo>
                    <a:cubicBezTo>
                      <a:pt x="800" y="913"/>
                      <a:pt x="804" y="900"/>
                      <a:pt x="810" y="888"/>
                    </a:cubicBezTo>
                    <a:lnTo>
                      <a:pt x="791" y="888"/>
                    </a:lnTo>
                    <a:lnTo>
                      <a:pt x="791" y="888"/>
                    </a:lnTo>
                    <a:lnTo>
                      <a:pt x="733" y="888"/>
                    </a:lnTo>
                    <a:cubicBezTo>
                      <a:pt x="726" y="906"/>
                      <a:pt x="721" y="925"/>
                      <a:pt x="717" y="945"/>
                    </a:cubicBezTo>
                    <a:cubicBezTo>
                      <a:pt x="716" y="948"/>
                      <a:pt x="715" y="951"/>
                      <a:pt x="715" y="954"/>
                    </a:cubicBezTo>
                    <a:cubicBezTo>
                      <a:pt x="713" y="961"/>
                      <a:pt x="712" y="968"/>
                      <a:pt x="711" y="976"/>
                    </a:cubicBezTo>
                    <a:cubicBezTo>
                      <a:pt x="710" y="987"/>
                      <a:pt x="708" y="999"/>
                      <a:pt x="708" y="1011"/>
                    </a:cubicBezTo>
                    <a:lnTo>
                      <a:pt x="942" y="1011"/>
                    </a:lnTo>
                    <a:lnTo>
                      <a:pt x="965" y="1033"/>
                    </a:lnTo>
                    <a:lnTo>
                      <a:pt x="965" y="1033"/>
                    </a:lnTo>
                    <a:cubicBezTo>
                      <a:pt x="965" y="985"/>
                      <a:pt x="984" y="942"/>
                      <a:pt x="1015" y="911"/>
                    </a:cubicBezTo>
                    <a:cubicBezTo>
                      <a:pt x="1024" y="902"/>
                      <a:pt x="1034" y="894"/>
                      <a:pt x="1044" y="888"/>
                    </a:cubicBezTo>
                    <a:lnTo>
                      <a:pt x="883" y="888"/>
                    </a:lnTo>
                    <a:cubicBezTo>
                      <a:pt x="884" y="885"/>
                      <a:pt x="885" y="882"/>
                      <a:pt x="886" y="879"/>
                    </a:cubicBezTo>
                    <a:cubicBezTo>
                      <a:pt x="885" y="882"/>
                      <a:pt x="884" y="885"/>
                      <a:pt x="883" y="888"/>
                    </a:cubicBezTo>
                    <a:close/>
                    <a:moveTo>
                      <a:pt x="680" y="888"/>
                    </a:moveTo>
                    <a:lnTo>
                      <a:pt x="457" y="888"/>
                    </a:lnTo>
                    <a:lnTo>
                      <a:pt x="379" y="816"/>
                    </a:lnTo>
                    <a:lnTo>
                      <a:pt x="379" y="785"/>
                    </a:lnTo>
                    <a:cubicBezTo>
                      <a:pt x="372" y="804"/>
                      <a:pt x="367" y="823"/>
                      <a:pt x="362" y="843"/>
                    </a:cubicBezTo>
                    <a:cubicBezTo>
                      <a:pt x="361" y="846"/>
                      <a:pt x="361" y="849"/>
                      <a:pt x="360" y="852"/>
                    </a:cubicBezTo>
                    <a:cubicBezTo>
                      <a:pt x="351" y="889"/>
                      <a:pt x="345" y="927"/>
                      <a:pt x="342" y="966"/>
                    </a:cubicBezTo>
                    <a:lnTo>
                      <a:pt x="393" y="1011"/>
                    </a:lnTo>
                    <a:lnTo>
                      <a:pt x="569" y="1011"/>
                    </a:lnTo>
                    <a:cubicBezTo>
                      <a:pt x="570" y="1004"/>
                      <a:pt x="570" y="998"/>
                      <a:pt x="571" y="992"/>
                    </a:cubicBezTo>
                    <a:lnTo>
                      <a:pt x="621" y="995"/>
                    </a:lnTo>
                    <a:cubicBezTo>
                      <a:pt x="621" y="1000"/>
                      <a:pt x="620" y="1006"/>
                      <a:pt x="620" y="1011"/>
                    </a:cubicBezTo>
                    <a:lnTo>
                      <a:pt x="657" y="1011"/>
                    </a:lnTo>
                    <a:cubicBezTo>
                      <a:pt x="658" y="997"/>
                      <a:pt x="659" y="983"/>
                      <a:pt x="661" y="969"/>
                    </a:cubicBezTo>
                    <a:cubicBezTo>
                      <a:pt x="662" y="964"/>
                      <a:pt x="662" y="959"/>
                      <a:pt x="663" y="954"/>
                    </a:cubicBezTo>
                    <a:cubicBezTo>
                      <a:pt x="664" y="951"/>
                      <a:pt x="664" y="948"/>
                      <a:pt x="665" y="945"/>
                    </a:cubicBezTo>
                    <a:cubicBezTo>
                      <a:pt x="669" y="925"/>
                      <a:pt x="673" y="906"/>
                      <a:pt x="680" y="888"/>
                    </a:cubicBezTo>
                    <a:close/>
                    <a:moveTo>
                      <a:pt x="387" y="760"/>
                    </a:moveTo>
                    <a:lnTo>
                      <a:pt x="387" y="812"/>
                    </a:lnTo>
                    <a:lnTo>
                      <a:pt x="461" y="879"/>
                    </a:lnTo>
                    <a:lnTo>
                      <a:pt x="683" y="879"/>
                    </a:lnTo>
                    <a:cubicBezTo>
                      <a:pt x="691" y="855"/>
                      <a:pt x="702" y="831"/>
                      <a:pt x="714" y="808"/>
                    </a:cubicBezTo>
                    <a:lnTo>
                      <a:pt x="671" y="808"/>
                    </a:lnTo>
                    <a:cubicBezTo>
                      <a:pt x="667" y="816"/>
                      <a:pt x="663" y="824"/>
                      <a:pt x="660" y="833"/>
                    </a:cubicBezTo>
                    <a:lnTo>
                      <a:pt x="613" y="813"/>
                    </a:lnTo>
                    <a:cubicBezTo>
                      <a:pt x="614" y="810"/>
                      <a:pt x="616" y="807"/>
                      <a:pt x="617" y="805"/>
                    </a:cubicBezTo>
                    <a:lnTo>
                      <a:pt x="543" y="716"/>
                    </a:lnTo>
                    <a:lnTo>
                      <a:pt x="481" y="716"/>
                    </a:lnTo>
                    <a:lnTo>
                      <a:pt x="432" y="659"/>
                    </a:lnTo>
                    <a:cubicBezTo>
                      <a:pt x="415" y="692"/>
                      <a:pt x="400" y="725"/>
                      <a:pt x="387" y="760"/>
                    </a:cubicBezTo>
                    <a:close/>
                    <a:moveTo>
                      <a:pt x="1553" y="587"/>
                    </a:moveTo>
                    <a:cubicBezTo>
                      <a:pt x="1539" y="587"/>
                      <a:pt x="1528" y="575"/>
                      <a:pt x="1528" y="561"/>
                    </a:cubicBezTo>
                    <a:cubicBezTo>
                      <a:pt x="1528" y="547"/>
                      <a:pt x="1539" y="536"/>
                      <a:pt x="1553" y="536"/>
                    </a:cubicBezTo>
                    <a:cubicBezTo>
                      <a:pt x="1564" y="536"/>
                      <a:pt x="1573" y="543"/>
                      <a:pt x="1576" y="552"/>
                    </a:cubicBezTo>
                    <a:lnTo>
                      <a:pt x="1622" y="552"/>
                    </a:lnTo>
                    <a:lnTo>
                      <a:pt x="1630" y="543"/>
                    </a:lnTo>
                    <a:lnTo>
                      <a:pt x="1630" y="543"/>
                    </a:lnTo>
                    <a:lnTo>
                      <a:pt x="1699" y="467"/>
                    </a:lnTo>
                    <a:cubicBezTo>
                      <a:pt x="1683" y="451"/>
                      <a:pt x="1666" y="436"/>
                      <a:pt x="1648" y="421"/>
                    </a:cubicBezTo>
                    <a:lnTo>
                      <a:pt x="1584" y="482"/>
                    </a:lnTo>
                    <a:lnTo>
                      <a:pt x="1475" y="482"/>
                    </a:lnTo>
                    <a:lnTo>
                      <a:pt x="1470" y="486"/>
                    </a:lnTo>
                    <a:cubicBezTo>
                      <a:pt x="1467" y="486"/>
                      <a:pt x="1463" y="485"/>
                      <a:pt x="1460" y="484"/>
                    </a:cubicBezTo>
                    <a:lnTo>
                      <a:pt x="1472" y="473"/>
                    </a:lnTo>
                    <a:lnTo>
                      <a:pt x="1581" y="473"/>
                    </a:lnTo>
                    <a:lnTo>
                      <a:pt x="1641" y="415"/>
                    </a:lnTo>
                    <a:cubicBezTo>
                      <a:pt x="1577" y="363"/>
                      <a:pt x="1504" y="320"/>
                      <a:pt x="1425" y="289"/>
                    </a:cubicBezTo>
                    <a:cubicBezTo>
                      <a:pt x="1421" y="294"/>
                      <a:pt x="1415" y="296"/>
                      <a:pt x="1408" y="296"/>
                    </a:cubicBezTo>
                    <a:lnTo>
                      <a:pt x="1408" y="296"/>
                    </a:lnTo>
                    <a:cubicBezTo>
                      <a:pt x="1395" y="296"/>
                      <a:pt x="1384" y="287"/>
                      <a:pt x="1383" y="274"/>
                    </a:cubicBezTo>
                    <a:cubicBezTo>
                      <a:pt x="1305" y="249"/>
                      <a:pt x="1223" y="235"/>
                      <a:pt x="1137" y="235"/>
                    </a:cubicBezTo>
                    <a:cubicBezTo>
                      <a:pt x="1097" y="235"/>
                      <a:pt x="1059" y="238"/>
                      <a:pt x="1021" y="244"/>
                    </a:cubicBezTo>
                    <a:cubicBezTo>
                      <a:pt x="1021" y="244"/>
                      <a:pt x="1022" y="244"/>
                      <a:pt x="1023" y="244"/>
                    </a:cubicBezTo>
                    <a:lnTo>
                      <a:pt x="1023" y="245"/>
                    </a:lnTo>
                    <a:lnTo>
                      <a:pt x="1023" y="244"/>
                    </a:lnTo>
                    <a:cubicBezTo>
                      <a:pt x="1033" y="248"/>
                      <a:pt x="1040" y="257"/>
                      <a:pt x="1040" y="268"/>
                    </a:cubicBezTo>
                    <a:cubicBezTo>
                      <a:pt x="1040" y="282"/>
                      <a:pt x="1029" y="294"/>
                      <a:pt x="1015" y="294"/>
                    </a:cubicBezTo>
                    <a:lnTo>
                      <a:pt x="1015" y="294"/>
                    </a:lnTo>
                    <a:cubicBezTo>
                      <a:pt x="1001" y="294"/>
                      <a:pt x="990" y="282"/>
                      <a:pt x="990" y="268"/>
                    </a:cubicBezTo>
                    <a:cubicBezTo>
                      <a:pt x="990" y="265"/>
                      <a:pt x="991" y="261"/>
                      <a:pt x="992" y="258"/>
                    </a:cubicBezTo>
                    <a:lnTo>
                      <a:pt x="997" y="256"/>
                    </a:lnTo>
                    <a:lnTo>
                      <a:pt x="992" y="258"/>
                    </a:lnTo>
                    <a:cubicBezTo>
                      <a:pt x="994" y="253"/>
                      <a:pt x="998" y="249"/>
                      <a:pt x="1002" y="247"/>
                    </a:cubicBezTo>
                    <a:cubicBezTo>
                      <a:pt x="909" y="263"/>
                      <a:pt x="822" y="294"/>
                      <a:pt x="743" y="339"/>
                    </a:cubicBezTo>
                    <a:lnTo>
                      <a:pt x="743" y="376"/>
                    </a:lnTo>
                    <a:lnTo>
                      <a:pt x="769" y="401"/>
                    </a:lnTo>
                    <a:lnTo>
                      <a:pt x="769" y="401"/>
                    </a:lnTo>
                    <a:lnTo>
                      <a:pt x="769" y="401"/>
                    </a:lnTo>
                    <a:lnTo>
                      <a:pt x="826" y="455"/>
                    </a:lnTo>
                    <a:lnTo>
                      <a:pt x="826" y="455"/>
                    </a:lnTo>
                    <a:lnTo>
                      <a:pt x="842" y="470"/>
                    </a:lnTo>
                    <a:lnTo>
                      <a:pt x="951" y="470"/>
                    </a:lnTo>
                    <a:lnTo>
                      <a:pt x="972" y="490"/>
                    </a:lnTo>
                    <a:cubicBezTo>
                      <a:pt x="1024" y="474"/>
                      <a:pt x="1079" y="465"/>
                      <a:pt x="1137" y="465"/>
                    </a:cubicBezTo>
                    <a:cubicBezTo>
                      <a:pt x="1195" y="465"/>
                      <a:pt x="1250" y="474"/>
                      <a:pt x="1303" y="490"/>
                    </a:cubicBezTo>
                    <a:cubicBezTo>
                      <a:pt x="1332" y="499"/>
                      <a:pt x="1359" y="510"/>
                      <a:pt x="1386" y="523"/>
                    </a:cubicBezTo>
                    <a:cubicBezTo>
                      <a:pt x="1390" y="515"/>
                      <a:pt x="1398" y="510"/>
                      <a:pt x="1408" y="510"/>
                    </a:cubicBezTo>
                    <a:cubicBezTo>
                      <a:pt x="1415" y="510"/>
                      <a:pt x="1421" y="512"/>
                      <a:pt x="1426" y="517"/>
                    </a:cubicBezTo>
                    <a:lnTo>
                      <a:pt x="1460" y="484"/>
                    </a:lnTo>
                    <a:cubicBezTo>
                      <a:pt x="1463" y="485"/>
                      <a:pt x="1467" y="486"/>
                      <a:pt x="1470" y="486"/>
                    </a:cubicBezTo>
                    <a:lnTo>
                      <a:pt x="1431" y="524"/>
                    </a:lnTo>
                    <a:lnTo>
                      <a:pt x="1431" y="524"/>
                    </a:lnTo>
                    <a:cubicBezTo>
                      <a:pt x="1432" y="528"/>
                      <a:pt x="1433" y="531"/>
                      <a:pt x="1433" y="535"/>
                    </a:cubicBezTo>
                    <a:cubicBezTo>
                      <a:pt x="1433" y="539"/>
                      <a:pt x="1432" y="543"/>
                      <a:pt x="1430" y="547"/>
                    </a:cubicBezTo>
                    <a:cubicBezTo>
                      <a:pt x="1439" y="552"/>
                      <a:pt x="1447" y="558"/>
                      <a:pt x="1455" y="563"/>
                    </a:cubicBezTo>
                    <a:lnTo>
                      <a:pt x="1427" y="605"/>
                    </a:lnTo>
                    <a:cubicBezTo>
                      <a:pt x="1385" y="576"/>
                      <a:pt x="1338" y="554"/>
                      <a:pt x="1288" y="538"/>
                    </a:cubicBezTo>
                    <a:cubicBezTo>
                      <a:pt x="1240" y="524"/>
                      <a:pt x="1189" y="516"/>
                      <a:pt x="1137" y="516"/>
                    </a:cubicBezTo>
                    <a:cubicBezTo>
                      <a:pt x="1103" y="516"/>
                      <a:pt x="1071" y="519"/>
                      <a:pt x="1039" y="525"/>
                    </a:cubicBezTo>
                    <a:cubicBezTo>
                      <a:pt x="1040" y="528"/>
                      <a:pt x="1040" y="530"/>
                      <a:pt x="1040" y="532"/>
                    </a:cubicBezTo>
                    <a:cubicBezTo>
                      <a:pt x="1040" y="546"/>
                      <a:pt x="1029" y="557"/>
                      <a:pt x="1015" y="557"/>
                    </a:cubicBezTo>
                    <a:lnTo>
                      <a:pt x="1015" y="557"/>
                    </a:lnTo>
                    <a:cubicBezTo>
                      <a:pt x="1003" y="557"/>
                      <a:pt x="993" y="549"/>
                      <a:pt x="990" y="537"/>
                    </a:cubicBezTo>
                    <a:cubicBezTo>
                      <a:pt x="940" y="552"/>
                      <a:pt x="894" y="574"/>
                      <a:pt x="851" y="603"/>
                    </a:cubicBezTo>
                    <a:cubicBezTo>
                      <a:pt x="839" y="611"/>
                      <a:pt x="827" y="619"/>
                      <a:pt x="816" y="628"/>
                    </a:cubicBezTo>
                    <a:lnTo>
                      <a:pt x="1011" y="628"/>
                    </a:lnTo>
                    <a:lnTo>
                      <a:pt x="998" y="591"/>
                    </a:lnTo>
                    <a:cubicBezTo>
                      <a:pt x="1022" y="583"/>
                      <a:pt x="1047" y="576"/>
                      <a:pt x="1073" y="572"/>
                    </a:cubicBezTo>
                    <a:cubicBezTo>
                      <a:pt x="1098" y="567"/>
                      <a:pt x="1124" y="565"/>
                      <a:pt x="1150" y="565"/>
                    </a:cubicBezTo>
                    <a:cubicBezTo>
                      <a:pt x="1236" y="565"/>
                      <a:pt x="1317" y="589"/>
                      <a:pt x="1386" y="631"/>
                    </a:cubicBezTo>
                    <a:lnTo>
                      <a:pt x="1610" y="631"/>
                    </a:lnTo>
                    <a:lnTo>
                      <a:pt x="1610" y="631"/>
                    </a:lnTo>
                    <a:lnTo>
                      <a:pt x="1640" y="631"/>
                    </a:lnTo>
                    <a:lnTo>
                      <a:pt x="1692" y="581"/>
                    </a:lnTo>
                    <a:lnTo>
                      <a:pt x="1692" y="581"/>
                    </a:lnTo>
                    <a:lnTo>
                      <a:pt x="1750" y="524"/>
                    </a:lnTo>
                    <a:cubicBezTo>
                      <a:pt x="1736" y="506"/>
                      <a:pt x="1721" y="490"/>
                      <a:pt x="1705" y="473"/>
                    </a:cubicBezTo>
                    <a:lnTo>
                      <a:pt x="1638" y="547"/>
                    </a:lnTo>
                    <a:lnTo>
                      <a:pt x="1638" y="547"/>
                    </a:lnTo>
                    <a:lnTo>
                      <a:pt x="1626" y="561"/>
                    </a:lnTo>
                    <a:lnTo>
                      <a:pt x="1626" y="561"/>
                    </a:lnTo>
                    <a:lnTo>
                      <a:pt x="1578" y="561"/>
                    </a:lnTo>
                    <a:lnTo>
                      <a:pt x="1578" y="560"/>
                    </a:lnTo>
                    <a:lnTo>
                      <a:pt x="1578" y="561"/>
                    </a:lnTo>
                    <a:cubicBezTo>
                      <a:pt x="1578" y="561"/>
                      <a:pt x="1578" y="561"/>
                      <a:pt x="1578" y="561"/>
                    </a:cubicBezTo>
                    <a:cubicBezTo>
                      <a:pt x="1578" y="575"/>
                      <a:pt x="1567" y="587"/>
                      <a:pt x="1553" y="587"/>
                    </a:cubicBezTo>
                    <a:close/>
                    <a:moveTo>
                      <a:pt x="1578" y="555"/>
                    </a:moveTo>
                    <a:cubicBezTo>
                      <a:pt x="1578" y="557"/>
                      <a:pt x="1578" y="559"/>
                      <a:pt x="1578" y="560"/>
                    </a:cubicBezTo>
                    <a:cubicBezTo>
                      <a:pt x="1578" y="559"/>
                      <a:pt x="1578" y="557"/>
                      <a:pt x="1578" y="555"/>
                    </a:cubicBezTo>
                    <a:close/>
                    <a:moveTo>
                      <a:pt x="1426" y="518"/>
                    </a:moveTo>
                    <a:cubicBezTo>
                      <a:pt x="1428" y="519"/>
                      <a:pt x="1429" y="521"/>
                      <a:pt x="1430" y="523"/>
                    </a:cubicBezTo>
                    <a:cubicBezTo>
                      <a:pt x="1429" y="521"/>
                      <a:pt x="1428" y="519"/>
                      <a:pt x="1426" y="518"/>
                    </a:cubicBezTo>
                    <a:close/>
                    <a:moveTo>
                      <a:pt x="563" y="1237"/>
                    </a:moveTo>
                    <a:lnTo>
                      <a:pt x="564" y="1240"/>
                    </a:lnTo>
                    <a:cubicBezTo>
                      <a:pt x="563" y="1239"/>
                      <a:pt x="563" y="1238"/>
                      <a:pt x="563" y="1237"/>
                    </a:cubicBezTo>
                    <a:close/>
                    <a:moveTo>
                      <a:pt x="490" y="1269"/>
                    </a:moveTo>
                    <a:cubicBezTo>
                      <a:pt x="490" y="1267"/>
                      <a:pt x="489" y="1265"/>
                      <a:pt x="489" y="1263"/>
                    </a:cubicBezTo>
                    <a:cubicBezTo>
                      <a:pt x="489" y="1265"/>
                      <a:pt x="490" y="1267"/>
                      <a:pt x="490" y="1269"/>
                    </a:cubicBezTo>
                    <a:close/>
                    <a:moveTo>
                      <a:pt x="1020" y="270"/>
                    </a:moveTo>
                    <a:lnTo>
                      <a:pt x="1011" y="270"/>
                    </a:lnTo>
                    <a:lnTo>
                      <a:pt x="1011" y="249"/>
                    </a:lnTo>
                    <a:lnTo>
                      <a:pt x="1011" y="249"/>
                    </a:lnTo>
                    <a:lnTo>
                      <a:pt x="1011" y="270"/>
                    </a:lnTo>
                    <a:lnTo>
                      <a:pt x="1020" y="270"/>
                    </a:lnTo>
                    <a:close/>
                    <a:moveTo>
                      <a:pt x="1019" y="246"/>
                    </a:moveTo>
                    <a:lnTo>
                      <a:pt x="1020" y="246"/>
                    </a:lnTo>
                    <a:lnTo>
                      <a:pt x="1020" y="246"/>
                    </a:lnTo>
                    <a:lnTo>
                      <a:pt x="1019" y="246"/>
                    </a:lnTo>
                    <a:close/>
                    <a:moveTo>
                      <a:pt x="1020" y="244"/>
                    </a:moveTo>
                    <a:lnTo>
                      <a:pt x="1020" y="246"/>
                    </a:lnTo>
                    <a:lnTo>
                      <a:pt x="1020" y="246"/>
                    </a:lnTo>
                    <a:lnTo>
                      <a:pt x="1020" y="244"/>
                    </a:lnTo>
                    <a:close/>
                    <a:moveTo>
                      <a:pt x="819" y="460"/>
                    </a:moveTo>
                    <a:lnTo>
                      <a:pt x="763" y="407"/>
                    </a:lnTo>
                    <a:lnTo>
                      <a:pt x="765" y="405"/>
                    </a:lnTo>
                    <a:cubicBezTo>
                      <a:pt x="764" y="405"/>
                      <a:pt x="764" y="406"/>
                      <a:pt x="763" y="407"/>
                    </a:cubicBezTo>
                    <a:lnTo>
                      <a:pt x="763" y="407"/>
                    </a:lnTo>
                    <a:lnTo>
                      <a:pt x="735" y="380"/>
                    </a:lnTo>
                    <a:lnTo>
                      <a:pt x="735" y="344"/>
                    </a:lnTo>
                    <a:cubicBezTo>
                      <a:pt x="715" y="356"/>
                      <a:pt x="696" y="368"/>
                      <a:pt x="677" y="381"/>
                    </a:cubicBezTo>
                    <a:lnTo>
                      <a:pt x="677" y="413"/>
                    </a:lnTo>
                    <a:lnTo>
                      <a:pt x="714" y="454"/>
                    </a:lnTo>
                    <a:lnTo>
                      <a:pt x="714" y="454"/>
                    </a:lnTo>
                    <a:lnTo>
                      <a:pt x="767" y="511"/>
                    </a:lnTo>
                    <a:cubicBezTo>
                      <a:pt x="765" y="513"/>
                      <a:pt x="764" y="514"/>
                      <a:pt x="763" y="516"/>
                    </a:cubicBezTo>
                    <a:lnTo>
                      <a:pt x="763" y="516"/>
                    </a:lnTo>
                    <a:cubicBezTo>
                      <a:pt x="764" y="514"/>
                      <a:pt x="765" y="513"/>
                      <a:pt x="767" y="511"/>
                    </a:cubicBezTo>
                    <a:lnTo>
                      <a:pt x="801" y="549"/>
                    </a:lnTo>
                    <a:lnTo>
                      <a:pt x="840" y="549"/>
                    </a:lnTo>
                    <a:cubicBezTo>
                      <a:pt x="843" y="548"/>
                      <a:pt x="846" y="546"/>
                      <a:pt x="849" y="544"/>
                    </a:cubicBezTo>
                    <a:cubicBezTo>
                      <a:pt x="853" y="538"/>
                      <a:pt x="860" y="534"/>
                      <a:pt x="868" y="533"/>
                    </a:cubicBezTo>
                    <a:cubicBezTo>
                      <a:pt x="898" y="517"/>
                      <a:pt x="930" y="504"/>
                      <a:pt x="962" y="493"/>
                    </a:cubicBezTo>
                    <a:lnTo>
                      <a:pt x="948" y="479"/>
                    </a:lnTo>
                    <a:lnTo>
                      <a:pt x="838" y="479"/>
                    </a:lnTo>
                    <a:lnTo>
                      <a:pt x="819" y="460"/>
                    </a:lnTo>
                    <a:lnTo>
                      <a:pt x="819" y="460"/>
                    </a:lnTo>
                    <a:close/>
                    <a:moveTo>
                      <a:pt x="759" y="512"/>
                    </a:moveTo>
                    <a:lnTo>
                      <a:pt x="737" y="492"/>
                    </a:lnTo>
                    <a:lnTo>
                      <a:pt x="708" y="460"/>
                    </a:lnTo>
                    <a:lnTo>
                      <a:pt x="708" y="460"/>
                    </a:lnTo>
                    <a:lnTo>
                      <a:pt x="708" y="460"/>
                    </a:lnTo>
                    <a:lnTo>
                      <a:pt x="669" y="416"/>
                    </a:lnTo>
                    <a:lnTo>
                      <a:pt x="669" y="387"/>
                    </a:lnTo>
                    <a:cubicBezTo>
                      <a:pt x="643" y="406"/>
                      <a:pt x="619" y="425"/>
                      <a:pt x="596" y="447"/>
                    </a:cubicBezTo>
                    <a:lnTo>
                      <a:pt x="761" y="608"/>
                    </a:lnTo>
                    <a:cubicBezTo>
                      <a:pt x="781" y="591"/>
                      <a:pt x="802" y="575"/>
                      <a:pt x="823" y="560"/>
                    </a:cubicBezTo>
                    <a:lnTo>
                      <a:pt x="827" y="558"/>
                    </a:lnTo>
                    <a:lnTo>
                      <a:pt x="797" y="558"/>
                    </a:lnTo>
                    <a:lnTo>
                      <a:pt x="737" y="492"/>
                    </a:lnTo>
                    <a:lnTo>
                      <a:pt x="759" y="512"/>
                    </a:lnTo>
                    <a:close/>
                    <a:moveTo>
                      <a:pt x="710" y="459"/>
                    </a:moveTo>
                    <a:cubicBezTo>
                      <a:pt x="711" y="457"/>
                      <a:pt x="712" y="456"/>
                      <a:pt x="713" y="455"/>
                    </a:cubicBezTo>
                    <a:cubicBezTo>
                      <a:pt x="712" y="456"/>
                      <a:pt x="711" y="457"/>
                      <a:pt x="710" y="459"/>
                    </a:cubicBezTo>
                    <a:close/>
                    <a:moveTo>
                      <a:pt x="1403" y="227"/>
                    </a:moveTo>
                    <a:lnTo>
                      <a:pt x="1403" y="88"/>
                    </a:lnTo>
                    <a:moveTo>
                      <a:pt x="1411" y="90"/>
                    </a:moveTo>
                    <a:lnTo>
                      <a:pt x="1411" y="230"/>
                    </a:lnTo>
                    <a:moveTo>
                      <a:pt x="845" y="1650"/>
                    </a:moveTo>
                    <a:cubicBezTo>
                      <a:pt x="845" y="1648"/>
                      <a:pt x="846" y="1646"/>
                      <a:pt x="846" y="1644"/>
                    </a:cubicBezTo>
                    <a:lnTo>
                      <a:pt x="877" y="1644"/>
                    </a:lnTo>
                    <a:lnTo>
                      <a:pt x="877" y="1652"/>
                    </a:lnTo>
                    <a:lnTo>
                      <a:pt x="877" y="1652"/>
                    </a:lnTo>
                    <a:lnTo>
                      <a:pt x="877" y="1644"/>
                    </a:lnTo>
                    <a:lnTo>
                      <a:pt x="846" y="1644"/>
                    </a:lnTo>
                    <a:cubicBezTo>
                      <a:pt x="850" y="1634"/>
                      <a:pt x="859" y="1627"/>
                      <a:pt x="870" y="1627"/>
                    </a:cubicBezTo>
                    <a:cubicBezTo>
                      <a:pt x="884" y="1627"/>
                      <a:pt x="895" y="1639"/>
                      <a:pt x="895" y="1653"/>
                    </a:cubicBezTo>
                    <a:cubicBezTo>
                      <a:pt x="895" y="1667"/>
                      <a:pt x="884" y="1678"/>
                      <a:pt x="870" y="1678"/>
                    </a:cubicBezTo>
                    <a:lnTo>
                      <a:pt x="870" y="1678"/>
                    </a:lnTo>
                    <a:cubicBezTo>
                      <a:pt x="856" y="1678"/>
                      <a:pt x="845" y="1667"/>
                      <a:pt x="845" y="1653"/>
                    </a:cubicBezTo>
                    <a:lnTo>
                      <a:pt x="845" y="1652"/>
                    </a:lnTo>
                    <a:lnTo>
                      <a:pt x="845" y="1652"/>
                    </a:lnTo>
                    <a:lnTo>
                      <a:pt x="794" y="1652"/>
                    </a:lnTo>
                    <a:cubicBezTo>
                      <a:pt x="791" y="1649"/>
                      <a:pt x="788" y="1647"/>
                      <a:pt x="785" y="1644"/>
                    </a:cubicBezTo>
                    <a:lnTo>
                      <a:pt x="846" y="1644"/>
                    </a:lnTo>
                    <a:cubicBezTo>
                      <a:pt x="845" y="1646"/>
                      <a:pt x="845" y="1648"/>
                      <a:pt x="845" y="1650"/>
                    </a:cubicBezTo>
                    <a:close/>
                    <a:moveTo>
                      <a:pt x="846" y="1077"/>
                    </a:moveTo>
                    <a:lnTo>
                      <a:pt x="877" y="1077"/>
                    </a:lnTo>
                    <a:lnTo>
                      <a:pt x="877" y="1085"/>
                    </a:lnTo>
                    <a:lnTo>
                      <a:pt x="877" y="1085"/>
                    </a:lnTo>
                    <a:lnTo>
                      <a:pt x="877" y="1077"/>
                    </a:lnTo>
                    <a:lnTo>
                      <a:pt x="846" y="1077"/>
                    </a:lnTo>
                    <a:close/>
                    <a:moveTo>
                      <a:pt x="341" y="1077"/>
                    </a:moveTo>
                    <a:lnTo>
                      <a:pt x="571" y="1077"/>
                    </a:lnTo>
                    <a:cubicBezTo>
                      <a:pt x="569" y="1058"/>
                      <a:pt x="569" y="1038"/>
                      <a:pt x="569" y="1019"/>
                    </a:cubicBezTo>
                    <a:lnTo>
                      <a:pt x="390" y="1019"/>
                    </a:lnTo>
                    <a:lnTo>
                      <a:pt x="341" y="977"/>
                    </a:lnTo>
                    <a:cubicBezTo>
                      <a:pt x="340" y="995"/>
                      <a:pt x="339" y="1014"/>
                      <a:pt x="339" y="1033"/>
                    </a:cubicBezTo>
                    <a:cubicBezTo>
                      <a:pt x="339" y="1047"/>
                      <a:pt x="340" y="1062"/>
                      <a:pt x="341" y="1077"/>
                    </a:cubicBezTo>
                    <a:close/>
                    <a:moveTo>
                      <a:pt x="622" y="1077"/>
                    </a:moveTo>
                    <a:lnTo>
                      <a:pt x="659" y="1077"/>
                    </a:lnTo>
                    <a:cubicBezTo>
                      <a:pt x="657" y="1058"/>
                      <a:pt x="656" y="1039"/>
                      <a:pt x="657" y="1019"/>
                    </a:cubicBezTo>
                    <a:lnTo>
                      <a:pt x="620" y="1019"/>
                    </a:lnTo>
                    <a:cubicBezTo>
                      <a:pt x="619" y="1038"/>
                      <a:pt x="620" y="1058"/>
                      <a:pt x="622" y="1077"/>
                    </a:cubicBezTo>
                    <a:close/>
                    <a:moveTo>
                      <a:pt x="1134" y="1230"/>
                    </a:moveTo>
                    <a:lnTo>
                      <a:pt x="1126" y="1222"/>
                    </a:lnTo>
                    <a:lnTo>
                      <a:pt x="1134" y="1230"/>
                    </a:lnTo>
                    <a:close/>
                    <a:moveTo>
                      <a:pt x="1124" y="1220"/>
                    </a:moveTo>
                    <a:lnTo>
                      <a:pt x="1124" y="1220"/>
                    </a:lnTo>
                    <a:cubicBezTo>
                      <a:pt x="1125" y="1217"/>
                      <a:pt x="1127" y="1215"/>
                      <a:pt x="1129" y="1212"/>
                    </a:cubicBezTo>
                    <a:lnTo>
                      <a:pt x="1129" y="1212"/>
                    </a:lnTo>
                    <a:cubicBezTo>
                      <a:pt x="1134" y="1208"/>
                      <a:pt x="1140" y="1206"/>
                      <a:pt x="1147" y="1206"/>
                    </a:cubicBezTo>
                    <a:cubicBezTo>
                      <a:pt x="1161" y="1206"/>
                      <a:pt x="1172" y="1217"/>
                      <a:pt x="1172" y="1231"/>
                    </a:cubicBezTo>
                    <a:cubicBezTo>
                      <a:pt x="1172" y="1245"/>
                      <a:pt x="1161" y="1256"/>
                      <a:pt x="1147" y="1256"/>
                    </a:cubicBezTo>
                    <a:lnTo>
                      <a:pt x="1147" y="1256"/>
                    </a:lnTo>
                    <a:cubicBezTo>
                      <a:pt x="1133" y="1256"/>
                      <a:pt x="1121" y="1245"/>
                      <a:pt x="1121" y="1231"/>
                    </a:cubicBezTo>
                    <a:cubicBezTo>
                      <a:pt x="1121" y="1227"/>
                      <a:pt x="1122" y="1223"/>
                      <a:pt x="1124" y="1220"/>
                    </a:cubicBezTo>
                    <a:close/>
                    <a:moveTo>
                      <a:pt x="1141" y="1225"/>
                    </a:moveTo>
                    <a:lnTo>
                      <a:pt x="1136" y="1228"/>
                    </a:lnTo>
                    <a:lnTo>
                      <a:pt x="1141" y="1225"/>
                    </a:lnTo>
                    <a:close/>
                    <a:moveTo>
                      <a:pt x="869" y="929"/>
                    </a:moveTo>
                    <a:lnTo>
                      <a:pt x="869" y="929"/>
                    </a:lnTo>
                    <a:cubicBezTo>
                      <a:pt x="869" y="929"/>
                      <a:pt x="870" y="929"/>
                      <a:pt x="870" y="929"/>
                    </a:cubicBezTo>
                    <a:cubicBezTo>
                      <a:pt x="884" y="929"/>
                      <a:pt x="895" y="940"/>
                      <a:pt x="895" y="954"/>
                    </a:cubicBezTo>
                    <a:cubicBezTo>
                      <a:pt x="895" y="968"/>
                      <a:pt x="884" y="979"/>
                      <a:pt x="870" y="979"/>
                    </a:cubicBezTo>
                    <a:lnTo>
                      <a:pt x="870" y="979"/>
                    </a:lnTo>
                    <a:cubicBezTo>
                      <a:pt x="859" y="979"/>
                      <a:pt x="850" y="973"/>
                      <a:pt x="846" y="964"/>
                    </a:cubicBezTo>
                    <a:lnTo>
                      <a:pt x="860" y="966"/>
                    </a:lnTo>
                    <a:cubicBezTo>
                      <a:pt x="860" y="964"/>
                      <a:pt x="861" y="961"/>
                      <a:pt x="861" y="959"/>
                    </a:cubicBezTo>
                    <a:moveTo>
                      <a:pt x="877" y="945"/>
                    </a:moveTo>
                    <a:lnTo>
                      <a:pt x="877" y="954"/>
                    </a:lnTo>
                    <a:lnTo>
                      <a:pt x="877" y="954"/>
                    </a:lnTo>
                    <a:lnTo>
                      <a:pt x="877" y="945"/>
                    </a:lnTo>
                    <a:close/>
                    <a:moveTo>
                      <a:pt x="546" y="497"/>
                    </a:moveTo>
                    <a:lnTo>
                      <a:pt x="706" y="664"/>
                    </a:lnTo>
                    <a:cubicBezTo>
                      <a:pt x="721" y="646"/>
                      <a:pt x="738" y="629"/>
                      <a:pt x="755" y="614"/>
                    </a:cubicBezTo>
                    <a:lnTo>
                      <a:pt x="590" y="453"/>
                    </a:lnTo>
                    <a:cubicBezTo>
                      <a:pt x="584" y="458"/>
                      <a:pt x="578" y="463"/>
                      <a:pt x="573" y="469"/>
                    </a:cubicBezTo>
                    <a:cubicBezTo>
                      <a:pt x="564" y="478"/>
                      <a:pt x="555" y="487"/>
                      <a:pt x="546" y="497"/>
                    </a:cubicBezTo>
                    <a:close/>
                    <a:moveTo>
                      <a:pt x="846" y="668"/>
                    </a:moveTo>
                    <a:lnTo>
                      <a:pt x="877" y="668"/>
                    </a:lnTo>
                    <a:lnTo>
                      <a:pt x="877" y="677"/>
                    </a:lnTo>
                    <a:lnTo>
                      <a:pt x="877" y="677"/>
                    </a:lnTo>
                    <a:lnTo>
                      <a:pt x="877" y="668"/>
                    </a:lnTo>
                    <a:lnTo>
                      <a:pt x="846" y="668"/>
                    </a:lnTo>
                    <a:close/>
                    <a:moveTo>
                      <a:pt x="1018" y="1651"/>
                    </a:moveTo>
                    <a:lnTo>
                      <a:pt x="1011" y="1645"/>
                    </a:lnTo>
                    <a:lnTo>
                      <a:pt x="1018" y="1651"/>
                    </a:lnTo>
                    <a:close/>
                    <a:moveTo>
                      <a:pt x="1023" y="1644"/>
                    </a:moveTo>
                    <a:lnTo>
                      <a:pt x="1019" y="1650"/>
                    </a:lnTo>
                    <a:lnTo>
                      <a:pt x="1023" y="1644"/>
                    </a:lnTo>
                    <a:close/>
                    <a:moveTo>
                      <a:pt x="996" y="1762"/>
                    </a:moveTo>
                    <a:lnTo>
                      <a:pt x="993" y="1759"/>
                    </a:lnTo>
                    <a:cubicBezTo>
                      <a:pt x="995" y="1756"/>
                      <a:pt x="996" y="1754"/>
                      <a:pt x="999" y="1752"/>
                    </a:cubicBezTo>
                    <a:lnTo>
                      <a:pt x="999" y="1752"/>
                    </a:lnTo>
                    <a:cubicBezTo>
                      <a:pt x="1003" y="1748"/>
                      <a:pt x="1009" y="1746"/>
                      <a:pt x="1015" y="1746"/>
                    </a:cubicBezTo>
                    <a:cubicBezTo>
                      <a:pt x="1029" y="1746"/>
                      <a:pt x="1040" y="1757"/>
                      <a:pt x="1040" y="1771"/>
                    </a:cubicBezTo>
                    <a:cubicBezTo>
                      <a:pt x="1040" y="1785"/>
                      <a:pt x="1029" y="1797"/>
                      <a:pt x="1015" y="1797"/>
                    </a:cubicBezTo>
                    <a:lnTo>
                      <a:pt x="1015" y="1797"/>
                    </a:lnTo>
                    <a:cubicBezTo>
                      <a:pt x="1001" y="1797"/>
                      <a:pt x="990" y="1785"/>
                      <a:pt x="990" y="1771"/>
                    </a:cubicBezTo>
                    <a:cubicBezTo>
                      <a:pt x="990" y="1767"/>
                      <a:pt x="991" y="1762"/>
                      <a:pt x="993" y="1759"/>
                    </a:cubicBezTo>
                    <a:lnTo>
                      <a:pt x="996" y="1762"/>
                    </a:lnTo>
                    <a:close/>
                    <a:moveTo>
                      <a:pt x="1009" y="1761"/>
                    </a:moveTo>
                    <a:lnTo>
                      <a:pt x="1013" y="1765"/>
                    </a:lnTo>
                    <a:lnTo>
                      <a:pt x="1013" y="1765"/>
                    </a:lnTo>
                    <a:lnTo>
                      <a:pt x="1013" y="1765"/>
                    </a:lnTo>
                    <a:lnTo>
                      <a:pt x="1009" y="1761"/>
                    </a:lnTo>
                    <a:close/>
                    <a:moveTo>
                      <a:pt x="1005" y="806"/>
                    </a:moveTo>
                    <a:lnTo>
                      <a:pt x="999" y="812"/>
                    </a:lnTo>
                    <a:lnTo>
                      <a:pt x="1005" y="806"/>
                    </a:lnTo>
                    <a:close/>
                    <a:moveTo>
                      <a:pt x="1014" y="531"/>
                    </a:moveTo>
                    <a:lnTo>
                      <a:pt x="1014" y="531"/>
                    </a:lnTo>
                    <a:lnTo>
                      <a:pt x="1014" y="531"/>
                    </a:lnTo>
                    <a:lnTo>
                      <a:pt x="1014" y="531"/>
                    </a:lnTo>
                    <a:close/>
                    <a:moveTo>
                      <a:pt x="352" y="1491"/>
                    </a:moveTo>
                    <a:cubicBezTo>
                      <a:pt x="352" y="1490"/>
                      <a:pt x="351" y="1488"/>
                      <a:pt x="351" y="1486"/>
                    </a:cubicBezTo>
                    <a:lnTo>
                      <a:pt x="352" y="1491"/>
                    </a:lnTo>
                    <a:close/>
                    <a:moveTo>
                      <a:pt x="1384" y="1544"/>
                    </a:moveTo>
                    <a:cubicBezTo>
                      <a:pt x="1434" y="1519"/>
                      <a:pt x="1482" y="1487"/>
                      <a:pt x="1524" y="1448"/>
                    </a:cubicBezTo>
                    <a:cubicBezTo>
                      <a:pt x="1564" y="1411"/>
                      <a:pt x="1599" y="1367"/>
                      <a:pt x="1628" y="1316"/>
                    </a:cubicBezTo>
                    <a:cubicBezTo>
                      <a:pt x="1686" y="1216"/>
                      <a:pt x="1709" y="1105"/>
                      <a:pt x="1702" y="997"/>
                    </a:cubicBezTo>
                    <a:cubicBezTo>
                      <a:pt x="1695" y="886"/>
                      <a:pt x="1656" y="779"/>
                      <a:pt x="1589" y="689"/>
                    </a:cubicBezTo>
                    <a:lnTo>
                      <a:pt x="1548" y="720"/>
                    </a:lnTo>
                    <a:cubicBezTo>
                      <a:pt x="1610" y="801"/>
                      <a:pt x="1645" y="899"/>
                      <a:pt x="1652" y="1001"/>
                    </a:cubicBezTo>
                    <a:cubicBezTo>
                      <a:pt x="1658" y="1099"/>
                      <a:pt x="1637" y="1200"/>
                      <a:pt x="1584" y="1291"/>
                    </a:cubicBezTo>
                    <a:cubicBezTo>
                      <a:pt x="1558" y="1337"/>
                      <a:pt x="1526" y="1377"/>
                      <a:pt x="1489" y="1411"/>
                    </a:cubicBezTo>
                    <a:cubicBezTo>
                      <a:pt x="1451" y="1447"/>
                      <a:pt x="1408" y="1476"/>
                      <a:pt x="1362" y="1498"/>
                    </a:cubicBezTo>
                    <a:lnTo>
                      <a:pt x="1384" y="15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grpSp>
      <p:pic>
        <p:nvPicPr>
          <p:cNvPr id="8" name="Picture 7" descr="A picture containing text, clipart&#10;&#10;Description automatically generated">
            <a:extLst>
              <a:ext uri="{FF2B5EF4-FFF2-40B4-BE49-F238E27FC236}">
                <a16:creationId xmlns:a16="http://schemas.microsoft.com/office/drawing/2014/main" id="{E9CEF98D-53FC-EF5E-F22D-DF7A81FFC8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2099" y="6493717"/>
            <a:ext cx="942198" cy="223733"/>
          </a:xfrm>
          <a:prstGeom prst="rect">
            <a:avLst/>
          </a:prstGeom>
        </p:spPr>
      </p:pic>
    </p:spTree>
    <p:extLst>
      <p:ext uri="{BB962C8B-B14F-4D97-AF65-F5344CB8AC3E}">
        <p14:creationId xmlns:p14="http://schemas.microsoft.com/office/powerpoint/2010/main" val="1389441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omputer with a graph on it&#10;&#10;Description automatically generated">
            <a:extLst>
              <a:ext uri="{FF2B5EF4-FFF2-40B4-BE49-F238E27FC236}">
                <a16:creationId xmlns:a16="http://schemas.microsoft.com/office/drawing/2014/main" id="{DCAC4EB2-C46B-1827-4909-4411B16956C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2049" y="3864546"/>
            <a:ext cx="5014937" cy="2156743"/>
          </a:xfrm>
          <a:prstGeom prst="rect">
            <a:avLst/>
          </a:prstGeom>
        </p:spPr>
      </p:pic>
      <p:sp>
        <p:nvSpPr>
          <p:cNvPr id="19" name="Rectangle 18">
            <a:extLst>
              <a:ext uri="{FF2B5EF4-FFF2-40B4-BE49-F238E27FC236}">
                <a16:creationId xmlns:a16="http://schemas.microsoft.com/office/drawing/2014/main" id="{D99E9F5A-D4DF-DE56-54E3-14EB4F8C6CF4}"/>
              </a:ext>
            </a:extLst>
          </p:cNvPr>
          <p:cNvSpPr/>
          <p:nvPr/>
        </p:nvSpPr>
        <p:spPr>
          <a:xfrm>
            <a:off x="572049" y="3866223"/>
            <a:ext cx="5014937" cy="2161882"/>
          </a:xfrm>
          <a:prstGeom prst="rect">
            <a:avLst/>
          </a:prstGeom>
          <a:solidFill>
            <a:srgbClr val="36BCEE">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group of people looking at a tablet&#10;&#10;Description automatically generated">
            <a:extLst>
              <a:ext uri="{FF2B5EF4-FFF2-40B4-BE49-F238E27FC236}">
                <a16:creationId xmlns:a16="http://schemas.microsoft.com/office/drawing/2014/main" id="{A07C8461-097A-E612-0C01-7102285236B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72049" y="1556792"/>
            <a:ext cx="5014936" cy="2102795"/>
          </a:xfrm>
          <a:prstGeom prst="rect">
            <a:avLst/>
          </a:prstGeom>
        </p:spPr>
      </p:pic>
      <p:sp>
        <p:nvSpPr>
          <p:cNvPr id="16" name="Rectangle 15">
            <a:extLst>
              <a:ext uri="{FF2B5EF4-FFF2-40B4-BE49-F238E27FC236}">
                <a16:creationId xmlns:a16="http://schemas.microsoft.com/office/drawing/2014/main" id="{B4A68808-5B9A-01E0-83F4-137A8B03DACE}"/>
              </a:ext>
            </a:extLst>
          </p:cNvPr>
          <p:cNvSpPr/>
          <p:nvPr/>
        </p:nvSpPr>
        <p:spPr>
          <a:xfrm>
            <a:off x="572049" y="1556792"/>
            <a:ext cx="5014935" cy="2102794"/>
          </a:xfrm>
          <a:prstGeom prst="rect">
            <a:avLst/>
          </a:prstGeom>
          <a:solidFill>
            <a:srgbClr val="36BCEE">
              <a:alpha val="3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Restructuring Plan – Impact to Creditors </a:t>
            </a:r>
          </a:p>
        </p:txBody>
      </p:sp>
      <p:sp>
        <p:nvSpPr>
          <p:cNvPr id="4" name="직사각형 11">
            <a:extLst>
              <a:ext uri="{FF2B5EF4-FFF2-40B4-BE49-F238E27FC236}">
                <a16:creationId xmlns:a16="http://schemas.microsoft.com/office/drawing/2014/main" id="{E83F7A9F-DD4F-D006-7234-1B0CB8F437A8}"/>
              </a:ext>
            </a:extLst>
          </p:cNvPr>
          <p:cNvSpPr/>
          <p:nvPr/>
        </p:nvSpPr>
        <p:spPr>
          <a:xfrm>
            <a:off x="578353" y="1275692"/>
            <a:ext cx="10982632" cy="81316"/>
          </a:xfrm>
          <a:prstGeom prst="rect">
            <a:avLst/>
          </a:prstGeom>
          <a:solidFill>
            <a:srgbClr val="36BCE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sp>
        <p:nvSpPr>
          <p:cNvPr id="6" name="직사각형 1">
            <a:extLst>
              <a:ext uri="{FF2B5EF4-FFF2-40B4-BE49-F238E27FC236}">
                <a16:creationId xmlns:a16="http://schemas.microsoft.com/office/drawing/2014/main" id="{F2934B9C-3E9A-2EE9-F0B3-DF54B7265E4D}"/>
              </a:ext>
            </a:extLst>
          </p:cNvPr>
          <p:cNvSpPr/>
          <p:nvPr/>
        </p:nvSpPr>
        <p:spPr>
          <a:xfrm>
            <a:off x="5587782" y="1558468"/>
            <a:ext cx="6005419" cy="2102795"/>
          </a:xfrm>
          <a:prstGeom prst="rect">
            <a:avLst/>
          </a:prstGeom>
          <a:solidFill>
            <a:srgbClr val="A5A5A5">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sp>
        <p:nvSpPr>
          <p:cNvPr id="7" name="TextBox 6">
            <a:extLst>
              <a:ext uri="{FF2B5EF4-FFF2-40B4-BE49-F238E27FC236}">
                <a16:creationId xmlns:a16="http://schemas.microsoft.com/office/drawing/2014/main" id="{551F2834-265F-3D24-F561-EF10190DCC5F}"/>
              </a:ext>
            </a:extLst>
          </p:cNvPr>
          <p:cNvSpPr txBox="1"/>
          <p:nvPr/>
        </p:nvSpPr>
        <p:spPr>
          <a:xfrm>
            <a:off x="6104343" y="1850147"/>
            <a:ext cx="5108406" cy="1461939"/>
          </a:xfrm>
          <a:prstGeom prst="rect">
            <a:avLst/>
          </a:prstGeom>
          <a:noFill/>
        </p:spPr>
        <p:txBody>
          <a:bodyPr wrap="square">
            <a:spAutoFit/>
          </a:bodyPr>
          <a:lstStyle/>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greement reached with Tameh</a:t>
            </a:r>
          </a:p>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Blast Furnace restart 1 June 2024</a:t>
            </a:r>
          </a:p>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Blast Furnace operational mid July 2024</a:t>
            </a:r>
          </a:p>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Total restructuring period 24 months  </a:t>
            </a:r>
          </a:p>
        </p:txBody>
      </p:sp>
      <p:sp>
        <p:nvSpPr>
          <p:cNvPr id="8" name="타원 2">
            <a:extLst>
              <a:ext uri="{FF2B5EF4-FFF2-40B4-BE49-F238E27FC236}">
                <a16:creationId xmlns:a16="http://schemas.microsoft.com/office/drawing/2014/main" id="{028C19DC-3837-D04E-18C2-676378ECFB51}"/>
              </a:ext>
            </a:extLst>
          </p:cNvPr>
          <p:cNvSpPr/>
          <p:nvPr/>
        </p:nvSpPr>
        <p:spPr>
          <a:xfrm>
            <a:off x="5260045" y="2263617"/>
            <a:ext cx="635000" cy="635000"/>
          </a:xfrm>
          <a:prstGeom prst="ellipse">
            <a:avLst/>
          </a:prstGeom>
          <a:solidFill>
            <a:srgbClr val="FFFFF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en-US" b="1" kern="0" dirty="0">
                <a:solidFill>
                  <a:srgbClr val="404658"/>
                </a:solidFill>
                <a:latin typeface="Century Gothic" panose="020B0502020202020204" pitchFamily="34" charset="0"/>
                <a:ea typeface="맑은 고딕"/>
                <a:cs typeface="Calibri" panose="02000000000000000000" pitchFamily="2" charset="0"/>
              </a:rPr>
              <a:t>A</a:t>
            </a:r>
            <a:endParaRPr kumimoji="1" lang="ko-Kore-KR" altLang="en-US" sz="1800" b="1" i="0" u="none" strike="noStrike" kern="0" cap="none" spc="0" normalizeH="0" baseline="0" noProof="0" dirty="0">
              <a:ln>
                <a:noFill/>
              </a:ln>
              <a:solidFill>
                <a:srgbClr val="FFFFFF"/>
              </a:solidFill>
              <a:effectLst/>
              <a:uLnTx/>
              <a:uFillTx/>
              <a:latin typeface="Century Gothic" panose="020B0502020202020204" pitchFamily="34" charset="0"/>
              <a:ea typeface="맑은 고딕"/>
              <a:cs typeface="+mn-cs"/>
            </a:endParaRPr>
          </a:p>
        </p:txBody>
      </p:sp>
      <p:sp>
        <p:nvSpPr>
          <p:cNvPr id="9" name="직사각형 7">
            <a:extLst>
              <a:ext uri="{FF2B5EF4-FFF2-40B4-BE49-F238E27FC236}">
                <a16:creationId xmlns:a16="http://schemas.microsoft.com/office/drawing/2014/main" id="{C33E1C69-D647-65D2-AD97-DB26D2C09504}"/>
              </a:ext>
            </a:extLst>
          </p:cNvPr>
          <p:cNvSpPr/>
          <p:nvPr/>
        </p:nvSpPr>
        <p:spPr>
          <a:xfrm>
            <a:off x="5586986" y="3864547"/>
            <a:ext cx="6006213" cy="2156741"/>
          </a:xfrm>
          <a:prstGeom prst="rect">
            <a:avLst/>
          </a:prstGeom>
          <a:solidFill>
            <a:srgbClr val="38404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11" name="타원 8">
            <a:extLst>
              <a:ext uri="{FF2B5EF4-FFF2-40B4-BE49-F238E27FC236}">
                <a16:creationId xmlns:a16="http://schemas.microsoft.com/office/drawing/2014/main" id="{08A93013-A759-E9C2-E25E-5A5400F55ABA}"/>
              </a:ext>
            </a:extLst>
          </p:cNvPr>
          <p:cNvSpPr/>
          <p:nvPr/>
        </p:nvSpPr>
        <p:spPr>
          <a:xfrm>
            <a:off x="5247333" y="4610440"/>
            <a:ext cx="636866" cy="635000"/>
          </a:xfrm>
          <a:prstGeom prst="ellipse">
            <a:avLst/>
          </a:prstGeom>
          <a:solidFill>
            <a:srgbClr val="FFFFF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en-US" b="1" kern="0" dirty="0">
                <a:solidFill>
                  <a:srgbClr val="404658"/>
                </a:solidFill>
                <a:latin typeface="Century Gothic" panose="020B0502020202020204" pitchFamily="34" charset="0"/>
                <a:cs typeface="Calibri" panose="02000000000000000000" pitchFamily="2" charset="0"/>
              </a:rPr>
              <a:t>B</a:t>
            </a:r>
            <a:endParaRPr kumimoji="1" lang="ko-Kore-KR" altLang="en-US" sz="1800" b="1" i="0" u="none" strike="noStrike" kern="0" cap="none" spc="0" normalizeH="0" baseline="0" noProof="0" dirty="0">
              <a:ln>
                <a:noFill/>
              </a:ln>
              <a:solidFill>
                <a:srgbClr val="404658"/>
              </a:solidFill>
              <a:effectLst/>
              <a:uLnTx/>
              <a:uFillTx/>
              <a:latin typeface="Century Gothic" panose="020B0502020202020204" pitchFamily="34" charset="0"/>
              <a:ea typeface="+mn-ea"/>
              <a:cs typeface="Calibri" panose="02000000000000000000" pitchFamily="2" charset="0"/>
            </a:endParaRPr>
          </a:p>
        </p:txBody>
      </p:sp>
      <p:sp>
        <p:nvSpPr>
          <p:cNvPr id="13" name="TextBox 12">
            <a:extLst>
              <a:ext uri="{FF2B5EF4-FFF2-40B4-BE49-F238E27FC236}">
                <a16:creationId xmlns:a16="http://schemas.microsoft.com/office/drawing/2014/main" id="{780405EE-4856-422D-992B-DE5ECF7700CE}"/>
              </a:ext>
            </a:extLst>
          </p:cNvPr>
          <p:cNvSpPr txBox="1"/>
          <p:nvPr/>
        </p:nvSpPr>
        <p:spPr>
          <a:xfrm flipH="1">
            <a:off x="1340847" y="2427370"/>
            <a:ext cx="4037637" cy="425566"/>
          </a:xfrm>
          <a:prstGeom prst="rect">
            <a:avLst/>
          </a:prstGeom>
          <a:noFill/>
        </p:spPr>
        <p:txBody>
          <a:bodyPr wrap="square">
            <a:spAutoFit/>
          </a:bodyPr>
          <a:lstStyle/>
          <a:p>
            <a:pPr>
              <a:lnSpc>
                <a:spcPct val="107000"/>
              </a:lnSpc>
              <a:spcAft>
                <a:spcPts val="800"/>
              </a:spcAft>
            </a:pPr>
            <a:r>
              <a:rPr lang="en-GB" sz="2200" b="1" kern="100" dirty="0">
                <a:solidFill>
                  <a:schemeClr val="bg1"/>
                </a:solidFill>
                <a:effectLst>
                  <a:outerShdw blurRad="38100" dist="38100" dir="2700000" algn="tl">
                    <a:srgbClr val="000000">
                      <a:alpha val="43137"/>
                    </a:srgbClr>
                  </a:outerShdw>
                </a:effectLst>
                <a:latin typeface="Century Gothic" panose="020B0502020202020204" pitchFamily="34" charset="0"/>
                <a:ea typeface="Calibri" panose="020F0502020204030204" pitchFamily="34" charset="0"/>
                <a:cs typeface="Times New Roman" panose="02020603050405020304" pitchFamily="18" charset="0"/>
              </a:rPr>
              <a:t>Plan A impact on Creditors</a:t>
            </a:r>
          </a:p>
        </p:txBody>
      </p:sp>
      <p:sp>
        <p:nvSpPr>
          <p:cNvPr id="14" name="TextBox 13">
            <a:extLst>
              <a:ext uri="{FF2B5EF4-FFF2-40B4-BE49-F238E27FC236}">
                <a16:creationId xmlns:a16="http://schemas.microsoft.com/office/drawing/2014/main" id="{4997B8D7-01BC-5BA5-69EA-F68E6220A0B2}"/>
              </a:ext>
            </a:extLst>
          </p:cNvPr>
          <p:cNvSpPr txBox="1"/>
          <p:nvPr/>
        </p:nvSpPr>
        <p:spPr>
          <a:xfrm>
            <a:off x="6104343" y="4151231"/>
            <a:ext cx="5108406" cy="1461939"/>
          </a:xfrm>
          <a:prstGeom prst="rect">
            <a:avLst/>
          </a:prstGeom>
          <a:noFill/>
        </p:spPr>
        <p:txBody>
          <a:bodyPr wrap="square">
            <a:spAutoFit/>
          </a:bodyPr>
          <a:lstStyle/>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chemeClr val="bg1"/>
                </a:solidFill>
                <a:effectLst/>
                <a:uLnTx/>
                <a:uFillTx/>
                <a:latin typeface="Calibri" panose="020F0502020204030204" pitchFamily="34" charset="0"/>
                <a:ea typeface="Times New Roman" panose="02020603050405020304" pitchFamily="18" charset="0"/>
                <a:cs typeface="Calibri" panose="020F0502020204030204" pitchFamily="34" charset="0"/>
              </a:rPr>
              <a:t>No agreement reached with Tameh</a:t>
            </a:r>
          </a:p>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chemeClr val="bg1"/>
                </a:solidFill>
                <a:effectLst/>
                <a:uLnTx/>
                <a:uFillTx/>
                <a:latin typeface="Calibri" panose="020F0502020204030204" pitchFamily="34" charset="0"/>
                <a:ea typeface="Times New Roman" panose="02020603050405020304" pitchFamily="18" charset="0"/>
                <a:cs typeface="Calibri" panose="020F0502020204030204" pitchFamily="34" charset="0"/>
              </a:rPr>
              <a:t>Blast Furnace restart 31 Dec 2024</a:t>
            </a:r>
          </a:p>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chemeClr val="bg1"/>
                </a:solidFill>
                <a:effectLst/>
                <a:uLnTx/>
                <a:uFillTx/>
                <a:latin typeface="Calibri" panose="020F0502020204030204" pitchFamily="34" charset="0"/>
                <a:ea typeface="Times New Roman" panose="02020603050405020304" pitchFamily="18" charset="0"/>
                <a:cs typeface="Calibri" panose="020F0502020204030204" pitchFamily="34" charset="0"/>
              </a:rPr>
              <a:t>Blast Furnace operational mid Feb 2025</a:t>
            </a:r>
          </a:p>
          <a:p>
            <a:pPr marL="373062" marR="0" lvl="0" indent="-285750" algn="l" defTabSz="914400" rtl="0" eaLnBrk="1" fontAlgn="base" latinLnBrk="0" hangingPunct="1">
              <a:spcBef>
                <a:spcPts val="500"/>
              </a:spcBef>
              <a:spcAft>
                <a:spcPts val="500"/>
              </a:spcAft>
              <a:buClrTx/>
              <a:buSzPct val="100000"/>
              <a:buFont typeface="Arial" panose="020B0604020202020204" pitchFamily="34" charset="0"/>
              <a:buChar char="•"/>
              <a:tabLst>
                <a:tab pos="457200" algn="l"/>
              </a:tabLst>
              <a:defRPr/>
            </a:pPr>
            <a:r>
              <a:rPr kumimoji="0" lang="en-GB" sz="1600" b="0" i="0" u="none" strike="noStrike" kern="0" cap="none" spc="0" normalizeH="0" baseline="0" noProof="0" dirty="0">
                <a:ln>
                  <a:noFill/>
                </a:ln>
                <a:solidFill>
                  <a:schemeClr val="bg1"/>
                </a:solidFill>
                <a:effectLst/>
                <a:uLnTx/>
                <a:uFillTx/>
                <a:latin typeface="Calibri" panose="020F0502020204030204" pitchFamily="34" charset="0"/>
                <a:ea typeface="Times New Roman" panose="02020603050405020304" pitchFamily="18" charset="0"/>
                <a:cs typeface="Calibri" panose="020F0502020204030204" pitchFamily="34" charset="0"/>
              </a:rPr>
              <a:t>Total restructuring period 21 months</a:t>
            </a:r>
          </a:p>
        </p:txBody>
      </p:sp>
      <p:sp>
        <p:nvSpPr>
          <p:cNvPr id="15" name="TextBox 14">
            <a:extLst>
              <a:ext uri="{FF2B5EF4-FFF2-40B4-BE49-F238E27FC236}">
                <a16:creationId xmlns:a16="http://schemas.microsoft.com/office/drawing/2014/main" id="{87BC7AA0-B858-B379-4BDA-D6FF8411F8E4}"/>
              </a:ext>
            </a:extLst>
          </p:cNvPr>
          <p:cNvSpPr txBox="1"/>
          <p:nvPr/>
        </p:nvSpPr>
        <p:spPr>
          <a:xfrm flipH="1">
            <a:off x="1340847" y="4760431"/>
            <a:ext cx="4037637" cy="425566"/>
          </a:xfrm>
          <a:prstGeom prst="rect">
            <a:avLst/>
          </a:prstGeom>
          <a:noFill/>
        </p:spPr>
        <p:txBody>
          <a:bodyPr wrap="square">
            <a:spAutoFit/>
          </a:bodyPr>
          <a:lstStyle/>
          <a:p>
            <a:pPr>
              <a:lnSpc>
                <a:spcPct val="107000"/>
              </a:lnSpc>
              <a:spcAft>
                <a:spcPts val="800"/>
              </a:spcAft>
            </a:pPr>
            <a:r>
              <a:rPr lang="en-GB" sz="2200" b="1" kern="100" dirty="0">
                <a:solidFill>
                  <a:schemeClr val="bg1"/>
                </a:solidFill>
                <a:effectLst>
                  <a:outerShdw blurRad="38100" dist="38100" dir="2700000" algn="tl">
                    <a:srgbClr val="000000">
                      <a:alpha val="43137"/>
                    </a:srgbClr>
                  </a:outerShdw>
                </a:effectLst>
                <a:latin typeface="Century Gothic" panose="020B0502020202020204" pitchFamily="34" charset="0"/>
                <a:ea typeface="Calibri" panose="020F0502020204030204" pitchFamily="34" charset="0"/>
                <a:cs typeface="Times New Roman" panose="02020603050405020304" pitchFamily="18" charset="0"/>
              </a:rPr>
              <a:t>Plan B impact on Creditors</a:t>
            </a:r>
          </a:p>
        </p:txBody>
      </p:sp>
      <p:sp>
        <p:nvSpPr>
          <p:cNvPr id="2" name="Footer Placeholder 11">
            <a:extLst>
              <a:ext uri="{FF2B5EF4-FFF2-40B4-BE49-F238E27FC236}">
                <a16:creationId xmlns:a16="http://schemas.microsoft.com/office/drawing/2014/main" id="{C094714A-9EEA-50D4-E9CE-CFB26D040F45}"/>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Tree>
    <p:extLst>
      <p:ext uri="{BB962C8B-B14F-4D97-AF65-F5344CB8AC3E}">
        <p14:creationId xmlns:p14="http://schemas.microsoft.com/office/powerpoint/2010/main" val="32954924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holding a pen and writing on a paper&#10;&#10;Description automatically generated">
            <a:extLst>
              <a:ext uri="{FF2B5EF4-FFF2-40B4-BE49-F238E27FC236}">
                <a16:creationId xmlns:a16="http://schemas.microsoft.com/office/drawing/2014/main" id="{28B43A5C-661A-BDEC-4398-1EB98774B4D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54" y="-25654"/>
            <a:ext cx="12189346" cy="6883654"/>
          </a:xfrm>
          <a:prstGeom prst="rect">
            <a:avLst/>
          </a:prstGeom>
        </p:spPr>
      </p:pic>
      <p:sp>
        <p:nvSpPr>
          <p:cNvPr id="5" name="Rectangle 4">
            <a:extLst>
              <a:ext uri="{FF2B5EF4-FFF2-40B4-BE49-F238E27FC236}">
                <a16:creationId xmlns:a16="http://schemas.microsoft.com/office/drawing/2014/main" id="{35B03DDB-9947-B89F-F2AB-555F812EA5F3}"/>
              </a:ext>
            </a:extLst>
          </p:cNvPr>
          <p:cNvSpPr/>
          <p:nvPr/>
        </p:nvSpPr>
        <p:spPr>
          <a:xfrm>
            <a:off x="0" y="0"/>
            <a:ext cx="12192000" cy="6858000"/>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1D5D8C84-5A62-4F9A-8498-4FA795CD3DF6}"/>
              </a:ext>
            </a:extLst>
          </p:cNvPr>
          <p:cNvSpPr txBox="1"/>
          <p:nvPr/>
        </p:nvSpPr>
        <p:spPr>
          <a:xfrm flipH="1">
            <a:off x="847740" y="2911876"/>
            <a:ext cx="75538" cy="887767"/>
          </a:xfrm>
          <a:prstGeom prst="rect">
            <a:avLst/>
          </a:prstGeom>
          <a:solidFill>
            <a:srgbClr val="00B0F0"/>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71066"/>
              </a:solidFill>
              <a:effectLst/>
              <a:uLnTx/>
              <a:uFillTx/>
              <a:latin typeface="Calibri" panose="020F0502020204030204"/>
              <a:ea typeface="+mn-ea"/>
              <a:cs typeface="+mn-cs"/>
            </a:endParaRPr>
          </a:p>
        </p:txBody>
      </p:sp>
      <p:sp>
        <p:nvSpPr>
          <p:cNvPr id="12" name="Title 7">
            <a:extLst>
              <a:ext uri="{FF2B5EF4-FFF2-40B4-BE49-F238E27FC236}">
                <a16:creationId xmlns:a16="http://schemas.microsoft.com/office/drawing/2014/main" id="{66449046-45CF-4FA3-8634-C2540490D9AD}"/>
              </a:ext>
            </a:extLst>
          </p:cNvPr>
          <p:cNvSpPr txBox="1">
            <a:spLocks/>
          </p:cNvSpPr>
          <p:nvPr/>
        </p:nvSpPr>
        <p:spPr>
          <a:xfrm>
            <a:off x="1211068" y="2392425"/>
            <a:ext cx="7693244" cy="19266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500" b="1" kern="1200">
                <a:solidFill>
                  <a:schemeClr val="bg1"/>
                </a:solidFill>
                <a:latin typeface="Century Gothic" panose="020B0502020202020204" pitchFamily="34" charset="0"/>
                <a:ea typeface="+mj-ea"/>
                <a:cs typeface="Calibri Light" panose="020F0302020204030204" pitchFamily="34" charset="0"/>
              </a:defRPr>
            </a:lvl1pPr>
          </a:lstStyle>
          <a:p>
            <a:r>
              <a:rPr lang="en-US" sz="3600" dirty="0" err="1"/>
              <a:t>Conclusio</a:t>
            </a:r>
            <a:r>
              <a:rPr lang="cs-CZ" sz="3600" dirty="0"/>
              <a:t>n</a:t>
            </a:r>
            <a:endParaRPr lang="en-US" sz="3600" dirty="0"/>
          </a:p>
        </p:txBody>
      </p:sp>
      <p:pic>
        <p:nvPicPr>
          <p:cNvPr id="6" name="Picture 5" descr="A picture containing text, clipart&#10;&#10;Description automatically generated">
            <a:extLst>
              <a:ext uri="{FF2B5EF4-FFF2-40B4-BE49-F238E27FC236}">
                <a16:creationId xmlns:a16="http://schemas.microsoft.com/office/drawing/2014/main" id="{9E212641-EC0F-7410-2B16-D447E94DC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973" y="5805264"/>
            <a:ext cx="2024619" cy="480763"/>
          </a:xfrm>
          <a:prstGeom prst="rect">
            <a:avLst/>
          </a:prstGeom>
        </p:spPr>
      </p:pic>
    </p:spTree>
    <p:extLst>
      <p:ext uri="{BB962C8B-B14F-4D97-AF65-F5344CB8AC3E}">
        <p14:creationId xmlns:p14="http://schemas.microsoft.com/office/powerpoint/2010/main" val="21663569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Conclusion</a:t>
            </a:r>
          </a:p>
        </p:txBody>
      </p:sp>
      <p:sp>
        <p:nvSpPr>
          <p:cNvPr id="27" name="TextBox 26">
            <a:extLst>
              <a:ext uri="{FF2B5EF4-FFF2-40B4-BE49-F238E27FC236}">
                <a16:creationId xmlns:a16="http://schemas.microsoft.com/office/drawing/2014/main" id="{9FAA1913-8B37-5F0A-DCF3-389788873397}"/>
              </a:ext>
            </a:extLst>
          </p:cNvPr>
          <p:cNvSpPr txBox="1"/>
          <p:nvPr/>
        </p:nvSpPr>
        <p:spPr>
          <a:xfrm>
            <a:off x="720982" y="1002615"/>
            <a:ext cx="7229960" cy="5016758"/>
          </a:xfrm>
          <a:prstGeom prst="rect">
            <a:avLst/>
          </a:prstGeom>
          <a:noFill/>
        </p:spPr>
        <p:txBody>
          <a:bodyPr wrap="square">
            <a:spAutoFit/>
          </a:bodyPr>
          <a:lstStyle/>
          <a:p>
            <a:pPr marL="285750" indent="-28575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LIBERTY Ostrava is an integral part of the socio-economic fabric of the region.</a:t>
            </a:r>
          </a:p>
          <a:p>
            <a:pPr marL="285750" indent="-28575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The management and shareholder remain fully committed to ensure its long term and sustainable success.</a:t>
            </a:r>
          </a:p>
          <a:p>
            <a:pPr marL="285750" indent="-28575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The shareholder is ensuring Group receivables are being repaid to Ostrava to ensure liquidity and timely payments to employees and vendors.</a:t>
            </a:r>
          </a:p>
          <a:p>
            <a:pPr marL="285750" indent="-28575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The management has demonstrated agility to operate a different model that does not require as much electricity. This is a short-term fix and the goal remains to ensure operating the Blast Furnace and all the all the rolling mills.</a:t>
            </a:r>
          </a:p>
          <a:p>
            <a:pPr marL="285750" indent="-28575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The proposed restructuring plan offers the only solution which ensures all creditors getting paid in full over time. </a:t>
            </a:r>
          </a:p>
          <a:p>
            <a:pPr marL="285750" indent="-28575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Therefore, the only logical option is to:</a:t>
            </a:r>
          </a:p>
          <a:p>
            <a:pPr marL="720725" indent="-45720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approve the exclusion of Tameh from voting on the Restructuring Plan; and</a:t>
            </a:r>
          </a:p>
          <a:p>
            <a:pPr marL="720725" indent="-457200">
              <a:spcBef>
                <a:spcPts val="600"/>
              </a:spcBef>
              <a:spcAft>
                <a:spcPts val="600"/>
              </a:spcAft>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once you have reviewed it, agree to the Restructuring Plan no later than </a:t>
            </a:r>
            <a:r>
              <a:rPr lang="en-GB" sz="1600" b="1" kern="100" dirty="0">
                <a:ea typeface="Calibri" panose="020F0502020204030204" pitchFamily="34" charset="0"/>
                <a:cs typeface="Times New Roman" panose="02020603050405020304" pitchFamily="18" charset="0"/>
              </a:rPr>
              <a:t>15 April 2024</a:t>
            </a:r>
          </a:p>
          <a:p>
            <a:pPr marL="285750" indent="-285750">
              <a:spcBef>
                <a:spcPts val="600"/>
              </a:spcBef>
              <a:spcAft>
                <a:spcPts val="600"/>
              </a:spcAft>
              <a:buFont typeface="Arial" panose="020B0604020202020204" pitchFamily="34" charset="0"/>
              <a:buChar char="•"/>
            </a:pPr>
            <a:endParaRPr lang="en-GB" sz="1600" kern="100" dirty="0">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804F16C2-A4ED-E0BB-4A39-33540234359E}"/>
              </a:ext>
            </a:extLst>
          </p:cNvPr>
          <p:cNvSpPr/>
          <p:nvPr/>
        </p:nvSpPr>
        <p:spPr>
          <a:xfrm>
            <a:off x="675262" y="935804"/>
            <a:ext cx="7508970" cy="5378598"/>
          </a:xfrm>
          <a:prstGeom prst="rect">
            <a:avLst/>
          </a:prstGeom>
          <a:noFill/>
          <a:ln w="6350">
            <a:solidFill>
              <a:srgbClr val="36BCE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Footer Placeholder 11">
            <a:extLst>
              <a:ext uri="{FF2B5EF4-FFF2-40B4-BE49-F238E27FC236}">
                <a16:creationId xmlns:a16="http://schemas.microsoft.com/office/drawing/2014/main" id="{55310EAA-F206-AA20-18ED-E334A2CC3482}"/>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pic>
        <p:nvPicPr>
          <p:cNvPr id="7" name="Picture 6" descr="A close-up of a desk with a keyboard and glasses&#10;&#10;Description automatically generated">
            <a:extLst>
              <a:ext uri="{FF2B5EF4-FFF2-40B4-BE49-F238E27FC236}">
                <a16:creationId xmlns:a16="http://schemas.microsoft.com/office/drawing/2014/main" id="{7939696D-DB7C-61F8-326B-657414F08D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4232" y="939227"/>
            <a:ext cx="4007768" cy="5375175"/>
          </a:xfrm>
          <a:prstGeom prst="rect">
            <a:avLst/>
          </a:prstGeom>
        </p:spPr>
      </p:pic>
      <p:sp>
        <p:nvSpPr>
          <p:cNvPr id="8" name="직사각형 11">
            <a:extLst>
              <a:ext uri="{FF2B5EF4-FFF2-40B4-BE49-F238E27FC236}">
                <a16:creationId xmlns:a16="http://schemas.microsoft.com/office/drawing/2014/main" id="{4184F400-47C6-29FF-CAE0-C783D628435C}"/>
              </a:ext>
            </a:extLst>
          </p:cNvPr>
          <p:cNvSpPr/>
          <p:nvPr/>
        </p:nvSpPr>
        <p:spPr>
          <a:xfrm>
            <a:off x="8186463" y="935804"/>
            <a:ext cx="4005537" cy="5384254"/>
          </a:xfrm>
          <a:prstGeom prst="rect">
            <a:avLst/>
          </a:prstGeom>
          <a:solidFill>
            <a:srgbClr val="36BCEE">
              <a:alpha val="62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9" name="직사각형 12">
            <a:extLst>
              <a:ext uri="{FF2B5EF4-FFF2-40B4-BE49-F238E27FC236}">
                <a16:creationId xmlns:a16="http://schemas.microsoft.com/office/drawing/2014/main" id="{840BE0E2-8BF6-41CD-3B4D-EEF29AC241B7}"/>
              </a:ext>
            </a:extLst>
          </p:cNvPr>
          <p:cNvSpPr/>
          <p:nvPr/>
        </p:nvSpPr>
        <p:spPr>
          <a:xfrm>
            <a:off x="12041165" y="933273"/>
            <a:ext cx="150835" cy="5383659"/>
          </a:xfrm>
          <a:prstGeom prst="rect">
            <a:avLst/>
          </a:prstGeom>
          <a:solidFill>
            <a:srgbClr val="36BC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grpSp>
        <p:nvGrpSpPr>
          <p:cNvPr id="4" name="Group 3">
            <a:extLst>
              <a:ext uri="{FF2B5EF4-FFF2-40B4-BE49-F238E27FC236}">
                <a16:creationId xmlns:a16="http://schemas.microsoft.com/office/drawing/2014/main" id="{D54A7E0D-A047-2AEF-28B6-149C8BA55BC9}"/>
              </a:ext>
            </a:extLst>
          </p:cNvPr>
          <p:cNvGrpSpPr/>
          <p:nvPr/>
        </p:nvGrpSpPr>
        <p:grpSpPr>
          <a:xfrm>
            <a:off x="8559288" y="3109893"/>
            <a:ext cx="3365232" cy="1316766"/>
            <a:chOff x="8312788" y="2276872"/>
            <a:chExt cx="3365232" cy="1316766"/>
          </a:xfrm>
        </p:grpSpPr>
        <p:sp>
          <p:nvSpPr>
            <p:cNvPr id="2" name="TextBox 1">
              <a:extLst>
                <a:ext uri="{FF2B5EF4-FFF2-40B4-BE49-F238E27FC236}">
                  <a16:creationId xmlns:a16="http://schemas.microsoft.com/office/drawing/2014/main" id="{390BB34A-53A7-EA20-2E87-A66E52EC45E2}"/>
                </a:ext>
              </a:extLst>
            </p:cNvPr>
            <p:cNvSpPr txBox="1"/>
            <p:nvPr/>
          </p:nvSpPr>
          <p:spPr>
            <a:xfrm>
              <a:off x="8312788" y="3008863"/>
              <a:ext cx="3365232" cy="584775"/>
            </a:xfrm>
            <a:prstGeom prst="rect">
              <a:avLst/>
            </a:prstGeom>
            <a:noFill/>
          </p:spPr>
          <p:txBody>
            <a:bodyPr wrap="square">
              <a:spAutoFit/>
            </a:bodyPr>
            <a:lstStyle/>
            <a:p>
              <a:pPr algn="ctr"/>
              <a:r>
                <a:rPr lang="en-GB" sz="3200" b="1" dirty="0">
                  <a:solidFill>
                    <a:schemeClr val="bg1"/>
                  </a:solidFill>
                  <a:effectLst>
                    <a:outerShdw blurRad="38100" dist="38100" dir="2700000" algn="tl">
                      <a:srgbClr val="000000">
                        <a:alpha val="43137"/>
                      </a:srgbClr>
                    </a:outerShdw>
                  </a:effectLst>
                  <a:latin typeface="Century Gothic" panose="020B0502020202020204" pitchFamily="34" charset="0"/>
                </a:rPr>
                <a:t>Conclusion</a:t>
              </a:r>
            </a:p>
          </p:txBody>
        </p:sp>
        <p:sp>
          <p:nvSpPr>
            <p:cNvPr id="3" name="Freeform 20">
              <a:extLst>
                <a:ext uri="{FF2B5EF4-FFF2-40B4-BE49-F238E27FC236}">
                  <a16:creationId xmlns:a16="http://schemas.microsoft.com/office/drawing/2014/main" id="{9D4F37A4-9E85-CDFA-82BC-CC517B4DB230}"/>
                </a:ext>
              </a:extLst>
            </p:cNvPr>
            <p:cNvSpPr>
              <a:spLocks noEditPoints="1"/>
            </p:cNvSpPr>
            <p:nvPr/>
          </p:nvSpPr>
          <p:spPr bwMode="auto">
            <a:xfrm>
              <a:off x="9754486" y="2276872"/>
              <a:ext cx="589986" cy="718289"/>
            </a:xfrm>
            <a:custGeom>
              <a:avLst/>
              <a:gdLst>
                <a:gd name="T0" fmla="*/ 524 w 2544"/>
                <a:gd name="T1" fmla="*/ 1894 h 3098"/>
                <a:gd name="T2" fmla="*/ 1846 w 2544"/>
                <a:gd name="T3" fmla="*/ 423 h 3098"/>
                <a:gd name="T4" fmla="*/ 1745 w 2544"/>
                <a:gd name="T5" fmla="*/ 357 h 3098"/>
                <a:gd name="T6" fmla="*/ 1405 w 2544"/>
                <a:gd name="T7" fmla="*/ 228 h 3098"/>
                <a:gd name="T8" fmla="*/ 585 w 2544"/>
                <a:gd name="T9" fmla="*/ 261 h 3098"/>
                <a:gd name="T10" fmla="*/ 421 w 2544"/>
                <a:gd name="T11" fmla="*/ 501 h 3098"/>
                <a:gd name="T12" fmla="*/ 380 w 2544"/>
                <a:gd name="T13" fmla="*/ 599 h 3098"/>
                <a:gd name="T14" fmla="*/ 203 w 2544"/>
                <a:gd name="T15" fmla="*/ 948 h 3098"/>
                <a:gd name="T16" fmla="*/ 308 w 2544"/>
                <a:gd name="T17" fmla="*/ 1237 h 3098"/>
                <a:gd name="T18" fmla="*/ 334 w 2544"/>
                <a:gd name="T19" fmla="*/ 1415 h 3098"/>
                <a:gd name="T20" fmla="*/ 389 w 2544"/>
                <a:gd name="T21" fmla="*/ 1611 h 3098"/>
                <a:gd name="T22" fmla="*/ 229 w 2544"/>
                <a:gd name="T23" fmla="*/ 1707 h 3098"/>
                <a:gd name="T24" fmla="*/ 272 w 2544"/>
                <a:gd name="T25" fmla="*/ 1778 h 3098"/>
                <a:gd name="T26" fmla="*/ 737 w 2544"/>
                <a:gd name="T27" fmla="*/ 1781 h 3098"/>
                <a:gd name="T28" fmla="*/ 93 w 2544"/>
                <a:gd name="T29" fmla="*/ 1349 h 3098"/>
                <a:gd name="T30" fmla="*/ 1147 w 2544"/>
                <a:gd name="T31" fmla="*/ 979 h 3098"/>
                <a:gd name="T32" fmla="*/ 835 w 2544"/>
                <a:gd name="T33" fmla="*/ 1349 h 3098"/>
                <a:gd name="T34" fmla="*/ 481 w 2544"/>
                <a:gd name="T35" fmla="*/ 1485 h 3098"/>
                <a:gd name="T36" fmla="*/ 571 w 2544"/>
                <a:gd name="T37" fmla="*/ 1270 h 3098"/>
                <a:gd name="T38" fmla="*/ 1307 w 2544"/>
                <a:gd name="T39" fmla="*/ 1476 h 3098"/>
                <a:gd name="T40" fmla="*/ 1011 w 2544"/>
                <a:gd name="T41" fmla="*/ 1635 h 3098"/>
                <a:gd name="T42" fmla="*/ 695 w 2544"/>
                <a:gd name="T43" fmla="*/ 1652 h 3098"/>
                <a:gd name="T44" fmla="*/ 786 w 2544"/>
                <a:gd name="T45" fmla="*/ 1749 h 3098"/>
                <a:gd name="T46" fmla="*/ 848 w 2544"/>
                <a:gd name="T47" fmla="*/ 1758 h 3098"/>
                <a:gd name="T48" fmla="*/ 1625 w 2544"/>
                <a:gd name="T49" fmla="*/ 640 h 3098"/>
                <a:gd name="T50" fmla="*/ 1295 w 2544"/>
                <a:gd name="T51" fmla="*/ 663 h 3098"/>
                <a:gd name="T52" fmla="*/ 990 w 2544"/>
                <a:gd name="T53" fmla="*/ 803 h 3098"/>
                <a:gd name="T54" fmla="*/ 1352 w 2544"/>
                <a:gd name="T55" fmla="*/ 1240 h 3098"/>
                <a:gd name="T56" fmla="*/ 722 w 2544"/>
                <a:gd name="T57" fmla="*/ 1340 h 3098"/>
                <a:gd name="T58" fmla="*/ 489 w 2544"/>
                <a:gd name="T59" fmla="*/ 1261 h 3098"/>
                <a:gd name="T60" fmla="*/ 352 w 2544"/>
                <a:gd name="T61" fmla="*/ 1178 h 3098"/>
                <a:gd name="T62" fmla="*/ 767 w 2544"/>
                <a:gd name="T63" fmla="*/ 1244 h 3098"/>
                <a:gd name="T64" fmla="*/ 638 w 2544"/>
                <a:gd name="T65" fmla="*/ 1169 h 3098"/>
                <a:gd name="T66" fmla="*/ 870 w 2544"/>
                <a:gd name="T67" fmla="*/ 1061 h 3098"/>
                <a:gd name="T68" fmla="*/ 545 w 2544"/>
                <a:gd name="T69" fmla="*/ 1430 h 3098"/>
                <a:gd name="T70" fmla="*/ 845 w 2544"/>
                <a:gd name="T71" fmla="*/ 952 h 3098"/>
                <a:gd name="T72" fmla="*/ 863 w 2544"/>
                <a:gd name="T73" fmla="*/ 951 h 3098"/>
                <a:gd name="T74" fmla="*/ 863 w 2544"/>
                <a:gd name="T75" fmla="*/ 954 h 3098"/>
                <a:gd name="T76" fmla="*/ 483 w 2544"/>
                <a:gd name="T77" fmla="*/ 945 h 3098"/>
                <a:gd name="T78" fmla="*/ 865 w 2544"/>
                <a:gd name="T79" fmla="*/ 943 h 3098"/>
                <a:gd name="T80" fmla="*/ 866 w 2544"/>
                <a:gd name="T81" fmla="*/ 940 h 3098"/>
                <a:gd name="T82" fmla="*/ 867 w 2544"/>
                <a:gd name="T83" fmla="*/ 936 h 3098"/>
                <a:gd name="T84" fmla="*/ 868 w 2544"/>
                <a:gd name="T85" fmla="*/ 932 h 3098"/>
                <a:gd name="T86" fmla="*/ 846 w 2544"/>
                <a:gd name="T87" fmla="*/ 945 h 3098"/>
                <a:gd name="T88" fmla="*/ 827 w 2544"/>
                <a:gd name="T89" fmla="*/ 800 h 3098"/>
                <a:gd name="T90" fmla="*/ 547 w 2544"/>
                <a:gd name="T91" fmla="*/ 708 h 3098"/>
                <a:gd name="T92" fmla="*/ 1125 w 2544"/>
                <a:gd name="T93" fmla="*/ 664 h 3098"/>
                <a:gd name="T94" fmla="*/ 845 w 2544"/>
                <a:gd name="T95" fmla="*/ 940 h 3098"/>
                <a:gd name="T96" fmla="*/ 362 w 2544"/>
                <a:gd name="T97" fmla="*/ 843 h 3098"/>
                <a:gd name="T98" fmla="*/ 543 w 2544"/>
                <a:gd name="T99" fmla="*/ 716 h 3098"/>
                <a:gd name="T100" fmla="*/ 1408 w 2544"/>
                <a:gd name="T101" fmla="*/ 296 h 3098"/>
                <a:gd name="T102" fmla="*/ 842 w 2544"/>
                <a:gd name="T103" fmla="*/ 470 h 3098"/>
                <a:gd name="T104" fmla="*/ 990 w 2544"/>
                <a:gd name="T105" fmla="*/ 537 h 3098"/>
                <a:gd name="T106" fmla="*/ 1578 w 2544"/>
                <a:gd name="T107" fmla="*/ 561 h 3098"/>
                <a:gd name="T108" fmla="*/ 1020 w 2544"/>
                <a:gd name="T109" fmla="*/ 246 h 3098"/>
                <a:gd name="T110" fmla="*/ 840 w 2544"/>
                <a:gd name="T111" fmla="*/ 549 h 3098"/>
                <a:gd name="T112" fmla="*/ 710 w 2544"/>
                <a:gd name="T113" fmla="*/ 459 h 3098"/>
                <a:gd name="T114" fmla="*/ 785 w 2544"/>
                <a:gd name="T115" fmla="*/ 1644 h 3098"/>
                <a:gd name="T116" fmla="*/ 1126 w 2544"/>
                <a:gd name="T117" fmla="*/ 1222 h 3098"/>
                <a:gd name="T118" fmla="*/ 860 w 2544"/>
                <a:gd name="T119" fmla="*/ 966 h 3098"/>
                <a:gd name="T120" fmla="*/ 1019 w 2544"/>
                <a:gd name="T121" fmla="*/ 1650 h 3098"/>
                <a:gd name="T122" fmla="*/ 1014 w 2544"/>
                <a:gd name="T123" fmla="*/ 531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4" h="3098">
                  <a:moveTo>
                    <a:pt x="2148" y="1044"/>
                  </a:moveTo>
                  <a:cubicBezTo>
                    <a:pt x="2190" y="965"/>
                    <a:pt x="2202" y="899"/>
                    <a:pt x="2201" y="845"/>
                  </a:cubicBezTo>
                  <a:cubicBezTo>
                    <a:pt x="2200" y="737"/>
                    <a:pt x="2139" y="593"/>
                    <a:pt x="2087" y="501"/>
                  </a:cubicBezTo>
                  <a:cubicBezTo>
                    <a:pt x="1854" y="93"/>
                    <a:pt x="1224" y="0"/>
                    <a:pt x="809" y="113"/>
                  </a:cubicBezTo>
                  <a:cubicBezTo>
                    <a:pt x="0" y="334"/>
                    <a:pt x="53" y="1213"/>
                    <a:pt x="117" y="1497"/>
                  </a:cubicBezTo>
                  <a:cubicBezTo>
                    <a:pt x="189" y="1862"/>
                    <a:pt x="420" y="2189"/>
                    <a:pt x="529" y="2269"/>
                  </a:cubicBezTo>
                  <a:cubicBezTo>
                    <a:pt x="484" y="2471"/>
                    <a:pt x="439" y="2672"/>
                    <a:pt x="393" y="2873"/>
                  </a:cubicBezTo>
                  <a:cubicBezTo>
                    <a:pt x="622" y="2956"/>
                    <a:pt x="925" y="3098"/>
                    <a:pt x="1497" y="2995"/>
                  </a:cubicBezTo>
                  <a:cubicBezTo>
                    <a:pt x="1542" y="2844"/>
                    <a:pt x="1586" y="2678"/>
                    <a:pt x="1789" y="2438"/>
                  </a:cubicBezTo>
                  <a:cubicBezTo>
                    <a:pt x="1964" y="2424"/>
                    <a:pt x="2139" y="2409"/>
                    <a:pt x="2313" y="2395"/>
                  </a:cubicBezTo>
                  <a:cubicBezTo>
                    <a:pt x="2519" y="2328"/>
                    <a:pt x="2416" y="2100"/>
                    <a:pt x="2421" y="2068"/>
                  </a:cubicBezTo>
                  <a:cubicBezTo>
                    <a:pt x="2544" y="1913"/>
                    <a:pt x="2413" y="1867"/>
                    <a:pt x="2410" y="1860"/>
                  </a:cubicBezTo>
                  <a:cubicBezTo>
                    <a:pt x="2459" y="1790"/>
                    <a:pt x="2517" y="1746"/>
                    <a:pt x="2377" y="1606"/>
                  </a:cubicBezTo>
                  <a:cubicBezTo>
                    <a:pt x="2406" y="1572"/>
                    <a:pt x="2457" y="1530"/>
                    <a:pt x="2481" y="1480"/>
                  </a:cubicBezTo>
                  <a:cubicBezTo>
                    <a:pt x="2502" y="1438"/>
                    <a:pt x="2502" y="1419"/>
                    <a:pt x="2471" y="1385"/>
                  </a:cubicBezTo>
                  <a:cubicBezTo>
                    <a:pt x="2409" y="1319"/>
                    <a:pt x="2246" y="1199"/>
                    <a:pt x="2168" y="1118"/>
                  </a:cubicBezTo>
                  <a:cubicBezTo>
                    <a:pt x="2136" y="1084"/>
                    <a:pt x="2129" y="1080"/>
                    <a:pt x="2148" y="1044"/>
                  </a:cubicBezTo>
                  <a:close/>
                  <a:moveTo>
                    <a:pt x="298" y="1970"/>
                  </a:moveTo>
                  <a:lnTo>
                    <a:pt x="365" y="1905"/>
                  </a:lnTo>
                  <a:lnTo>
                    <a:pt x="365" y="1905"/>
                  </a:lnTo>
                  <a:lnTo>
                    <a:pt x="376" y="1894"/>
                  </a:lnTo>
                  <a:lnTo>
                    <a:pt x="524" y="1894"/>
                  </a:lnTo>
                  <a:cubicBezTo>
                    <a:pt x="526" y="1897"/>
                    <a:pt x="527" y="1900"/>
                    <a:pt x="529" y="1903"/>
                  </a:cubicBezTo>
                  <a:lnTo>
                    <a:pt x="379" y="1903"/>
                  </a:lnTo>
                  <a:lnTo>
                    <a:pt x="370" y="1912"/>
                  </a:lnTo>
                  <a:lnTo>
                    <a:pt x="370" y="1912"/>
                  </a:lnTo>
                  <a:lnTo>
                    <a:pt x="368" y="1909"/>
                  </a:lnTo>
                  <a:lnTo>
                    <a:pt x="370" y="1912"/>
                  </a:lnTo>
                  <a:lnTo>
                    <a:pt x="302" y="1978"/>
                  </a:lnTo>
                  <a:cubicBezTo>
                    <a:pt x="301" y="1975"/>
                    <a:pt x="299" y="1973"/>
                    <a:pt x="298" y="1970"/>
                  </a:cubicBezTo>
                  <a:close/>
                  <a:moveTo>
                    <a:pt x="1939" y="322"/>
                  </a:moveTo>
                  <a:cubicBezTo>
                    <a:pt x="1936" y="319"/>
                    <a:pt x="1933" y="317"/>
                    <a:pt x="1930" y="314"/>
                  </a:cubicBezTo>
                  <a:lnTo>
                    <a:pt x="1930" y="391"/>
                  </a:lnTo>
                  <a:lnTo>
                    <a:pt x="1930" y="391"/>
                  </a:lnTo>
                  <a:lnTo>
                    <a:pt x="1930" y="444"/>
                  </a:lnTo>
                  <a:lnTo>
                    <a:pt x="1904" y="471"/>
                  </a:lnTo>
                  <a:lnTo>
                    <a:pt x="1906" y="473"/>
                  </a:lnTo>
                  <a:lnTo>
                    <a:pt x="1904" y="471"/>
                  </a:lnTo>
                  <a:lnTo>
                    <a:pt x="1832" y="547"/>
                  </a:lnTo>
                  <a:cubicBezTo>
                    <a:pt x="1819" y="529"/>
                    <a:pt x="1806" y="512"/>
                    <a:pt x="1793" y="495"/>
                  </a:cubicBezTo>
                  <a:lnTo>
                    <a:pt x="1846" y="443"/>
                  </a:lnTo>
                  <a:lnTo>
                    <a:pt x="1846" y="423"/>
                  </a:lnTo>
                  <a:lnTo>
                    <a:pt x="1843" y="420"/>
                  </a:lnTo>
                  <a:lnTo>
                    <a:pt x="1846" y="423"/>
                  </a:lnTo>
                  <a:lnTo>
                    <a:pt x="1846" y="423"/>
                  </a:lnTo>
                  <a:lnTo>
                    <a:pt x="1846" y="328"/>
                  </a:lnTo>
                  <a:cubicBezTo>
                    <a:pt x="1843" y="326"/>
                    <a:pt x="1841" y="324"/>
                    <a:pt x="1838" y="322"/>
                  </a:cubicBezTo>
                  <a:lnTo>
                    <a:pt x="1838" y="416"/>
                  </a:lnTo>
                  <a:lnTo>
                    <a:pt x="1839" y="417"/>
                  </a:lnTo>
                  <a:lnTo>
                    <a:pt x="1838" y="416"/>
                  </a:lnTo>
                  <a:lnTo>
                    <a:pt x="1838" y="439"/>
                  </a:lnTo>
                  <a:lnTo>
                    <a:pt x="1787" y="488"/>
                  </a:lnTo>
                  <a:cubicBezTo>
                    <a:pt x="1772" y="470"/>
                    <a:pt x="1756" y="453"/>
                    <a:pt x="1739" y="436"/>
                  </a:cubicBezTo>
                  <a:lnTo>
                    <a:pt x="1754" y="419"/>
                  </a:lnTo>
                  <a:lnTo>
                    <a:pt x="1754" y="362"/>
                  </a:lnTo>
                  <a:lnTo>
                    <a:pt x="1754" y="362"/>
                  </a:lnTo>
                  <a:lnTo>
                    <a:pt x="1754" y="274"/>
                  </a:lnTo>
                  <a:lnTo>
                    <a:pt x="1754" y="274"/>
                  </a:lnTo>
                  <a:lnTo>
                    <a:pt x="1754" y="274"/>
                  </a:lnTo>
                  <a:lnTo>
                    <a:pt x="1754" y="274"/>
                  </a:lnTo>
                  <a:lnTo>
                    <a:pt x="1754" y="199"/>
                  </a:lnTo>
                  <a:cubicBezTo>
                    <a:pt x="1751" y="198"/>
                    <a:pt x="1748" y="196"/>
                    <a:pt x="1745" y="195"/>
                  </a:cubicBezTo>
                  <a:lnTo>
                    <a:pt x="1745" y="270"/>
                  </a:lnTo>
                  <a:lnTo>
                    <a:pt x="1747" y="271"/>
                  </a:lnTo>
                  <a:lnTo>
                    <a:pt x="1745" y="270"/>
                  </a:lnTo>
                  <a:lnTo>
                    <a:pt x="1745" y="357"/>
                  </a:lnTo>
                  <a:lnTo>
                    <a:pt x="1745" y="357"/>
                  </a:lnTo>
                  <a:lnTo>
                    <a:pt x="1745" y="416"/>
                  </a:lnTo>
                  <a:lnTo>
                    <a:pt x="1733" y="430"/>
                  </a:lnTo>
                  <a:cubicBezTo>
                    <a:pt x="1717" y="414"/>
                    <a:pt x="1701" y="400"/>
                    <a:pt x="1685" y="386"/>
                  </a:cubicBezTo>
                  <a:lnTo>
                    <a:pt x="1688" y="382"/>
                  </a:lnTo>
                  <a:lnTo>
                    <a:pt x="1688" y="328"/>
                  </a:lnTo>
                  <a:lnTo>
                    <a:pt x="1688" y="328"/>
                  </a:lnTo>
                  <a:lnTo>
                    <a:pt x="1688" y="244"/>
                  </a:lnTo>
                  <a:lnTo>
                    <a:pt x="1688" y="244"/>
                  </a:lnTo>
                  <a:lnTo>
                    <a:pt x="1688" y="244"/>
                  </a:lnTo>
                  <a:lnTo>
                    <a:pt x="1688" y="169"/>
                  </a:lnTo>
                  <a:cubicBezTo>
                    <a:pt x="1685" y="168"/>
                    <a:pt x="1682" y="166"/>
                    <a:pt x="1679" y="165"/>
                  </a:cubicBezTo>
                  <a:lnTo>
                    <a:pt x="1679" y="241"/>
                  </a:lnTo>
                  <a:cubicBezTo>
                    <a:pt x="1682" y="242"/>
                    <a:pt x="1684" y="243"/>
                    <a:pt x="1686" y="243"/>
                  </a:cubicBezTo>
                  <a:cubicBezTo>
                    <a:pt x="1684" y="243"/>
                    <a:pt x="1682" y="242"/>
                    <a:pt x="1679" y="241"/>
                  </a:cubicBezTo>
                  <a:lnTo>
                    <a:pt x="1679" y="325"/>
                  </a:lnTo>
                  <a:lnTo>
                    <a:pt x="1679" y="325"/>
                  </a:lnTo>
                  <a:lnTo>
                    <a:pt x="1679" y="379"/>
                  </a:lnTo>
                  <a:lnTo>
                    <a:pt x="1678" y="380"/>
                  </a:lnTo>
                  <a:cubicBezTo>
                    <a:pt x="1600" y="315"/>
                    <a:pt x="1510" y="264"/>
                    <a:pt x="1411" y="230"/>
                  </a:cubicBezTo>
                  <a:lnTo>
                    <a:pt x="1411" y="230"/>
                  </a:lnTo>
                  <a:cubicBezTo>
                    <a:pt x="1409" y="229"/>
                    <a:pt x="1407" y="229"/>
                    <a:pt x="1405" y="228"/>
                  </a:cubicBezTo>
                  <a:lnTo>
                    <a:pt x="1403" y="227"/>
                  </a:lnTo>
                  <a:cubicBezTo>
                    <a:pt x="1319" y="200"/>
                    <a:pt x="1230" y="185"/>
                    <a:pt x="1137" y="185"/>
                  </a:cubicBezTo>
                  <a:cubicBezTo>
                    <a:pt x="1097" y="185"/>
                    <a:pt x="1058" y="187"/>
                    <a:pt x="1020" y="193"/>
                  </a:cubicBezTo>
                  <a:lnTo>
                    <a:pt x="1020" y="75"/>
                  </a:lnTo>
                  <a:cubicBezTo>
                    <a:pt x="1017" y="76"/>
                    <a:pt x="1014" y="76"/>
                    <a:pt x="1011" y="76"/>
                  </a:cubicBezTo>
                  <a:lnTo>
                    <a:pt x="1011" y="194"/>
                  </a:lnTo>
                  <a:cubicBezTo>
                    <a:pt x="916" y="208"/>
                    <a:pt x="826" y="238"/>
                    <a:pt x="743" y="281"/>
                  </a:cubicBezTo>
                  <a:lnTo>
                    <a:pt x="743" y="133"/>
                  </a:lnTo>
                  <a:cubicBezTo>
                    <a:pt x="740" y="134"/>
                    <a:pt x="737" y="135"/>
                    <a:pt x="735" y="136"/>
                  </a:cubicBezTo>
                  <a:lnTo>
                    <a:pt x="735" y="286"/>
                  </a:lnTo>
                  <a:cubicBezTo>
                    <a:pt x="715" y="296"/>
                    <a:pt x="696" y="308"/>
                    <a:pt x="677" y="320"/>
                  </a:cubicBezTo>
                  <a:lnTo>
                    <a:pt x="677" y="177"/>
                  </a:lnTo>
                  <a:lnTo>
                    <a:pt x="676" y="178"/>
                  </a:lnTo>
                  <a:lnTo>
                    <a:pt x="677" y="177"/>
                  </a:lnTo>
                  <a:lnTo>
                    <a:pt x="677" y="158"/>
                  </a:lnTo>
                  <a:cubicBezTo>
                    <a:pt x="675" y="159"/>
                    <a:pt x="672" y="160"/>
                    <a:pt x="669" y="161"/>
                  </a:cubicBezTo>
                  <a:lnTo>
                    <a:pt x="669" y="184"/>
                  </a:lnTo>
                  <a:lnTo>
                    <a:pt x="669" y="184"/>
                  </a:lnTo>
                  <a:lnTo>
                    <a:pt x="669" y="325"/>
                  </a:lnTo>
                  <a:cubicBezTo>
                    <a:pt x="640" y="345"/>
                    <a:pt x="612" y="366"/>
                    <a:pt x="585" y="388"/>
                  </a:cubicBezTo>
                  <a:lnTo>
                    <a:pt x="585" y="261"/>
                  </a:lnTo>
                  <a:lnTo>
                    <a:pt x="585" y="261"/>
                  </a:lnTo>
                  <a:lnTo>
                    <a:pt x="585" y="201"/>
                  </a:lnTo>
                  <a:cubicBezTo>
                    <a:pt x="582" y="203"/>
                    <a:pt x="579" y="204"/>
                    <a:pt x="576" y="206"/>
                  </a:cubicBezTo>
                  <a:lnTo>
                    <a:pt x="576" y="270"/>
                  </a:lnTo>
                  <a:lnTo>
                    <a:pt x="576" y="270"/>
                  </a:lnTo>
                  <a:cubicBezTo>
                    <a:pt x="579" y="268"/>
                    <a:pt x="582" y="265"/>
                    <a:pt x="584" y="262"/>
                  </a:cubicBezTo>
                  <a:lnTo>
                    <a:pt x="576" y="270"/>
                  </a:lnTo>
                  <a:lnTo>
                    <a:pt x="576" y="396"/>
                  </a:lnTo>
                  <a:cubicBezTo>
                    <a:pt x="563" y="408"/>
                    <a:pt x="550" y="420"/>
                    <a:pt x="537" y="433"/>
                  </a:cubicBezTo>
                  <a:cubicBezTo>
                    <a:pt x="528" y="442"/>
                    <a:pt x="519" y="451"/>
                    <a:pt x="511" y="460"/>
                  </a:cubicBezTo>
                  <a:lnTo>
                    <a:pt x="493" y="441"/>
                  </a:lnTo>
                  <a:lnTo>
                    <a:pt x="493" y="376"/>
                  </a:lnTo>
                  <a:lnTo>
                    <a:pt x="493" y="376"/>
                  </a:lnTo>
                  <a:lnTo>
                    <a:pt x="493" y="258"/>
                  </a:lnTo>
                  <a:cubicBezTo>
                    <a:pt x="490" y="260"/>
                    <a:pt x="487" y="262"/>
                    <a:pt x="484" y="264"/>
                  </a:cubicBezTo>
                  <a:lnTo>
                    <a:pt x="484" y="389"/>
                  </a:lnTo>
                  <a:lnTo>
                    <a:pt x="484" y="389"/>
                  </a:lnTo>
                  <a:cubicBezTo>
                    <a:pt x="487" y="385"/>
                    <a:pt x="489" y="381"/>
                    <a:pt x="491" y="378"/>
                  </a:cubicBezTo>
                  <a:lnTo>
                    <a:pt x="484" y="389"/>
                  </a:lnTo>
                  <a:lnTo>
                    <a:pt x="484" y="445"/>
                  </a:lnTo>
                  <a:lnTo>
                    <a:pt x="505" y="467"/>
                  </a:lnTo>
                  <a:cubicBezTo>
                    <a:pt x="486" y="488"/>
                    <a:pt x="468" y="510"/>
                    <a:pt x="452" y="532"/>
                  </a:cubicBezTo>
                  <a:lnTo>
                    <a:pt x="421" y="501"/>
                  </a:lnTo>
                  <a:lnTo>
                    <a:pt x="421" y="501"/>
                  </a:lnTo>
                  <a:lnTo>
                    <a:pt x="387" y="466"/>
                  </a:lnTo>
                  <a:lnTo>
                    <a:pt x="387" y="345"/>
                  </a:lnTo>
                  <a:cubicBezTo>
                    <a:pt x="384" y="348"/>
                    <a:pt x="382" y="351"/>
                    <a:pt x="379" y="353"/>
                  </a:cubicBezTo>
                  <a:lnTo>
                    <a:pt x="379" y="470"/>
                  </a:lnTo>
                  <a:lnTo>
                    <a:pt x="417" y="509"/>
                  </a:lnTo>
                  <a:lnTo>
                    <a:pt x="417" y="509"/>
                  </a:lnTo>
                  <a:lnTo>
                    <a:pt x="419" y="505"/>
                  </a:lnTo>
                  <a:cubicBezTo>
                    <a:pt x="418" y="506"/>
                    <a:pt x="418" y="508"/>
                    <a:pt x="417" y="509"/>
                  </a:cubicBezTo>
                  <a:lnTo>
                    <a:pt x="447" y="540"/>
                  </a:lnTo>
                  <a:cubicBezTo>
                    <a:pt x="430" y="562"/>
                    <a:pt x="415" y="586"/>
                    <a:pt x="401" y="610"/>
                  </a:cubicBezTo>
                  <a:lnTo>
                    <a:pt x="383" y="590"/>
                  </a:lnTo>
                  <a:lnTo>
                    <a:pt x="383" y="591"/>
                  </a:lnTo>
                  <a:lnTo>
                    <a:pt x="383" y="590"/>
                  </a:lnTo>
                  <a:lnTo>
                    <a:pt x="308" y="503"/>
                  </a:lnTo>
                  <a:lnTo>
                    <a:pt x="308" y="433"/>
                  </a:lnTo>
                  <a:cubicBezTo>
                    <a:pt x="305" y="436"/>
                    <a:pt x="302" y="440"/>
                    <a:pt x="300" y="444"/>
                  </a:cubicBezTo>
                  <a:lnTo>
                    <a:pt x="300" y="506"/>
                  </a:lnTo>
                  <a:lnTo>
                    <a:pt x="380" y="599"/>
                  </a:lnTo>
                  <a:lnTo>
                    <a:pt x="380" y="599"/>
                  </a:lnTo>
                  <a:lnTo>
                    <a:pt x="381" y="596"/>
                  </a:lnTo>
                  <a:lnTo>
                    <a:pt x="380" y="599"/>
                  </a:lnTo>
                  <a:lnTo>
                    <a:pt x="396" y="618"/>
                  </a:lnTo>
                  <a:cubicBezTo>
                    <a:pt x="382" y="643"/>
                    <a:pt x="370" y="669"/>
                    <a:pt x="358" y="696"/>
                  </a:cubicBezTo>
                  <a:lnTo>
                    <a:pt x="351" y="689"/>
                  </a:lnTo>
                  <a:cubicBezTo>
                    <a:pt x="350" y="692"/>
                    <a:pt x="350" y="694"/>
                    <a:pt x="349" y="697"/>
                  </a:cubicBezTo>
                  <a:cubicBezTo>
                    <a:pt x="350" y="694"/>
                    <a:pt x="350" y="692"/>
                    <a:pt x="351" y="689"/>
                  </a:cubicBezTo>
                  <a:lnTo>
                    <a:pt x="224" y="561"/>
                  </a:lnTo>
                  <a:cubicBezTo>
                    <a:pt x="223" y="564"/>
                    <a:pt x="221" y="566"/>
                    <a:pt x="220" y="569"/>
                  </a:cubicBezTo>
                  <a:lnTo>
                    <a:pt x="348" y="699"/>
                  </a:lnTo>
                  <a:lnTo>
                    <a:pt x="348" y="699"/>
                  </a:lnTo>
                  <a:lnTo>
                    <a:pt x="354" y="705"/>
                  </a:lnTo>
                  <a:cubicBezTo>
                    <a:pt x="350" y="714"/>
                    <a:pt x="346" y="724"/>
                    <a:pt x="343" y="733"/>
                  </a:cubicBezTo>
                  <a:cubicBezTo>
                    <a:pt x="342" y="736"/>
                    <a:pt x="341" y="739"/>
                    <a:pt x="339" y="742"/>
                  </a:cubicBezTo>
                  <a:cubicBezTo>
                    <a:pt x="318" y="801"/>
                    <a:pt x="303" y="862"/>
                    <a:pt x="295" y="926"/>
                  </a:cubicBezTo>
                  <a:lnTo>
                    <a:pt x="282" y="914"/>
                  </a:lnTo>
                  <a:lnTo>
                    <a:pt x="282" y="857"/>
                  </a:lnTo>
                  <a:lnTo>
                    <a:pt x="151" y="731"/>
                  </a:lnTo>
                  <a:cubicBezTo>
                    <a:pt x="150" y="734"/>
                    <a:pt x="149" y="737"/>
                    <a:pt x="148" y="740"/>
                  </a:cubicBezTo>
                  <a:lnTo>
                    <a:pt x="273" y="861"/>
                  </a:lnTo>
                  <a:lnTo>
                    <a:pt x="273" y="918"/>
                  </a:lnTo>
                  <a:lnTo>
                    <a:pt x="294" y="936"/>
                  </a:lnTo>
                  <a:cubicBezTo>
                    <a:pt x="291" y="966"/>
                    <a:pt x="289" y="997"/>
                    <a:pt x="289" y="1028"/>
                  </a:cubicBezTo>
                  <a:lnTo>
                    <a:pt x="203" y="948"/>
                  </a:lnTo>
                  <a:lnTo>
                    <a:pt x="203" y="886"/>
                  </a:lnTo>
                  <a:lnTo>
                    <a:pt x="127" y="812"/>
                  </a:lnTo>
                  <a:cubicBezTo>
                    <a:pt x="127" y="815"/>
                    <a:pt x="126" y="819"/>
                    <a:pt x="125" y="822"/>
                  </a:cubicBezTo>
                  <a:lnTo>
                    <a:pt x="194" y="889"/>
                  </a:lnTo>
                  <a:lnTo>
                    <a:pt x="194" y="951"/>
                  </a:lnTo>
                  <a:lnTo>
                    <a:pt x="289" y="1040"/>
                  </a:lnTo>
                  <a:cubicBezTo>
                    <a:pt x="289" y="1084"/>
                    <a:pt x="293" y="1127"/>
                    <a:pt x="299" y="1169"/>
                  </a:cubicBezTo>
                  <a:lnTo>
                    <a:pt x="274" y="1169"/>
                  </a:lnTo>
                  <a:lnTo>
                    <a:pt x="96" y="982"/>
                  </a:lnTo>
                  <a:cubicBezTo>
                    <a:pt x="95" y="986"/>
                    <a:pt x="95" y="990"/>
                    <a:pt x="94" y="994"/>
                  </a:cubicBezTo>
                  <a:lnTo>
                    <a:pt x="270" y="1178"/>
                  </a:lnTo>
                  <a:lnTo>
                    <a:pt x="301" y="1178"/>
                  </a:lnTo>
                  <a:cubicBezTo>
                    <a:pt x="304" y="1197"/>
                    <a:pt x="308" y="1216"/>
                    <a:pt x="313" y="1235"/>
                  </a:cubicBezTo>
                  <a:lnTo>
                    <a:pt x="307" y="1235"/>
                  </a:lnTo>
                  <a:lnTo>
                    <a:pt x="307" y="1235"/>
                  </a:lnTo>
                  <a:lnTo>
                    <a:pt x="274" y="1235"/>
                  </a:lnTo>
                  <a:lnTo>
                    <a:pt x="90" y="1039"/>
                  </a:lnTo>
                  <a:cubicBezTo>
                    <a:pt x="90" y="1043"/>
                    <a:pt x="89" y="1047"/>
                    <a:pt x="89" y="1050"/>
                  </a:cubicBezTo>
                  <a:lnTo>
                    <a:pt x="270" y="1244"/>
                  </a:lnTo>
                  <a:lnTo>
                    <a:pt x="308" y="1244"/>
                  </a:lnTo>
                  <a:lnTo>
                    <a:pt x="308" y="1244"/>
                  </a:lnTo>
                  <a:cubicBezTo>
                    <a:pt x="308" y="1242"/>
                    <a:pt x="308" y="1240"/>
                    <a:pt x="308" y="1237"/>
                  </a:cubicBezTo>
                  <a:lnTo>
                    <a:pt x="308" y="1244"/>
                  </a:lnTo>
                  <a:lnTo>
                    <a:pt x="315" y="1244"/>
                  </a:lnTo>
                  <a:cubicBezTo>
                    <a:pt x="323" y="1277"/>
                    <a:pt x="334" y="1309"/>
                    <a:pt x="346" y="1340"/>
                  </a:cubicBezTo>
                  <a:lnTo>
                    <a:pt x="321" y="1340"/>
                  </a:lnTo>
                  <a:lnTo>
                    <a:pt x="321" y="1340"/>
                  </a:lnTo>
                  <a:lnTo>
                    <a:pt x="92" y="1340"/>
                  </a:lnTo>
                  <a:cubicBezTo>
                    <a:pt x="93" y="1343"/>
                    <a:pt x="94" y="1346"/>
                    <a:pt x="94" y="1349"/>
                  </a:cubicBezTo>
                  <a:lnTo>
                    <a:pt x="322" y="1349"/>
                  </a:lnTo>
                  <a:lnTo>
                    <a:pt x="322" y="1349"/>
                  </a:lnTo>
                  <a:lnTo>
                    <a:pt x="322" y="1349"/>
                  </a:lnTo>
                  <a:lnTo>
                    <a:pt x="349" y="1349"/>
                  </a:lnTo>
                  <a:cubicBezTo>
                    <a:pt x="357" y="1368"/>
                    <a:pt x="366" y="1388"/>
                    <a:pt x="375" y="1406"/>
                  </a:cubicBezTo>
                  <a:lnTo>
                    <a:pt x="332" y="1406"/>
                  </a:lnTo>
                  <a:lnTo>
                    <a:pt x="332" y="1406"/>
                  </a:lnTo>
                  <a:lnTo>
                    <a:pt x="108" y="1406"/>
                  </a:lnTo>
                  <a:lnTo>
                    <a:pt x="108" y="1406"/>
                  </a:lnTo>
                  <a:lnTo>
                    <a:pt x="100" y="1406"/>
                  </a:lnTo>
                  <a:cubicBezTo>
                    <a:pt x="101" y="1409"/>
                    <a:pt x="101" y="1412"/>
                    <a:pt x="102" y="1415"/>
                  </a:cubicBezTo>
                  <a:lnTo>
                    <a:pt x="110" y="1415"/>
                  </a:lnTo>
                  <a:lnTo>
                    <a:pt x="110" y="1412"/>
                  </a:lnTo>
                  <a:cubicBezTo>
                    <a:pt x="110" y="1413"/>
                    <a:pt x="110" y="1414"/>
                    <a:pt x="110" y="1415"/>
                  </a:cubicBezTo>
                  <a:lnTo>
                    <a:pt x="334" y="1415"/>
                  </a:lnTo>
                  <a:lnTo>
                    <a:pt x="334" y="1415"/>
                  </a:lnTo>
                  <a:lnTo>
                    <a:pt x="334" y="1413"/>
                  </a:lnTo>
                  <a:lnTo>
                    <a:pt x="334" y="1415"/>
                  </a:lnTo>
                  <a:lnTo>
                    <a:pt x="379" y="1415"/>
                  </a:lnTo>
                  <a:cubicBezTo>
                    <a:pt x="392" y="1439"/>
                    <a:pt x="405" y="1463"/>
                    <a:pt x="419" y="1485"/>
                  </a:cubicBezTo>
                  <a:lnTo>
                    <a:pt x="351" y="1485"/>
                  </a:lnTo>
                  <a:lnTo>
                    <a:pt x="351" y="1485"/>
                  </a:lnTo>
                  <a:lnTo>
                    <a:pt x="167" y="1485"/>
                  </a:lnTo>
                  <a:lnTo>
                    <a:pt x="143" y="1517"/>
                  </a:lnTo>
                  <a:lnTo>
                    <a:pt x="143" y="1518"/>
                  </a:lnTo>
                  <a:lnTo>
                    <a:pt x="143" y="1517"/>
                  </a:lnTo>
                  <a:lnTo>
                    <a:pt x="126" y="1538"/>
                  </a:lnTo>
                  <a:cubicBezTo>
                    <a:pt x="126" y="1542"/>
                    <a:pt x="127" y="1546"/>
                    <a:pt x="128" y="1549"/>
                  </a:cubicBezTo>
                  <a:lnTo>
                    <a:pt x="146" y="1526"/>
                  </a:lnTo>
                  <a:lnTo>
                    <a:pt x="146" y="1526"/>
                  </a:lnTo>
                  <a:lnTo>
                    <a:pt x="171" y="1494"/>
                  </a:lnTo>
                  <a:lnTo>
                    <a:pt x="353" y="1494"/>
                  </a:lnTo>
                  <a:lnTo>
                    <a:pt x="353" y="1494"/>
                  </a:lnTo>
                  <a:lnTo>
                    <a:pt x="425" y="1494"/>
                  </a:lnTo>
                  <a:cubicBezTo>
                    <a:pt x="450" y="1533"/>
                    <a:pt x="479" y="1570"/>
                    <a:pt x="510" y="1604"/>
                  </a:cubicBezTo>
                  <a:lnTo>
                    <a:pt x="387" y="1604"/>
                  </a:lnTo>
                  <a:cubicBezTo>
                    <a:pt x="387" y="1606"/>
                    <a:pt x="388" y="1608"/>
                    <a:pt x="389" y="1611"/>
                  </a:cubicBezTo>
                  <a:lnTo>
                    <a:pt x="387" y="1604"/>
                  </a:lnTo>
                  <a:lnTo>
                    <a:pt x="195" y="1604"/>
                  </a:lnTo>
                  <a:lnTo>
                    <a:pt x="183" y="1615"/>
                  </a:lnTo>
                  <a:lnTo>
                    <a:pt x="183" y="1615"/>
                  </a:lnTo>
                  <a:lnTo>
                    <a:pt x="154" y="1641"/>
                  </a:lnTo>
                  <a:cubicBezTo>
                    <a:pt x="155" y="1644"/>
                    <a:pt x="156" y="1647"/>
                    <a:pt x="157" y="1650"/>
                  </a:cubicBezTo>
                  <a:lnTo>
                    <a:pt x="187" y="1623"/>
                  </a:lnTo>
                  <a:lnTo>
                    <a:pt x="187" y="1623"/>
                  </a:lnTo>
                  <a:lnTo>
                    <a:pt x="199" y="1613"/>
                  </a:lnTo>
                  <a:lnTo>
                    <a:pt x="390" y="1613"/>
                  </a:lnTo>
                  <a:lnTo>
                    <a:pt x="390" y="1613"/>
                  </a:lnTo>
                  <a:lnTo>
                    <a:pt x="514" y="1613"/>
                  </a:lnTo>
                  <a:lnTo>
                    <a:pt x="514" y="1613"/>
                  </a:lnTo>
                  <a:lnTo>
                    <a:pt x="516" y="1611"/>
                  </a:lnTo>
                  <a:cubicBezTo>
                    <a:pt x="523" y="1618"/>
                    <a:pt x="530" y="1625"/>
                    <a:pt x="537" y="1632"/>
                  </a:cubicBezTo>
                  <a:cubicBezTo>
                    <a:pt x="546" y="1642"/>
                    <a:pt x="556" y="1651"/>
                    <a:pt x="566" y="1660"/>
                  </a:cubicBezTo>
                  <a:lnTo>
                    <a:pt x="556" y="1670"/>
                  </a:lnTo>
                  <a:lnTo>
                    <a:pt x="411" y="1670"/>
                  </a:lnTo>
                  <a:lnTo>
                    <a:pt x="411" y="1670"/>
                  </a:lnTo>
                  <a:lnTo>
                    <a:pt x="266" y="1670"/>
                  </a:lnTo>
                  <a:lnTo>
                    <a:pt x="229" y="1707"/>
                  </a:lnTo>
                  <a:lnTo>
                    <a:pt x="229" y="1707"/>
                  </a:lnTo>
                  <a:lnTo>
                    <a:pt x="191" y="1746"/>
                  </a:lnTo>
                  <a:cubicBezTo>
                    <a:pt x="192" y="1749"/>
                    <a:pt x="193" y="1752"/>
                    <a:pt x="194" y="1755"/>
                  </a:cubicBezTo>
                  <a:lnTo>
                    <a:pt x="234" y="1715"/>
                  </a:lnTo>
                  <a:lnTo>
                    <a:pt x="232" y="1712"/>
                  </a:lnTo>
                  <a:lnTo>
                    <a:pt x="234" y="1715"/>
                  </a:lnTo>
                  <a:lnTo>
                    <a:pt x="234" y="1715"/>
                  </a:lnTo>
                  <a:lnTo>
                    <a:pt x="270" y="1679"/>
                  </a:lnTo>
                  <a:lnTo>
                    <a:pt x="415" y="1679"/>
                  </a:lnTo>
                  <a:lnTo>
                    <a:pt x="415" y="1679"/>
                  </a:lnTo>
                  <a:lnTo>
                    <a:pt x="560" y="1679"/>
                  </a:lnTo>
                  <a:lnTo>
                    <a:pt x="560" y="1679"/>
                  </a:lnTo>
                  <a:lnTo>
                    <a:pt x="572" y="1666"/>
                  </a:lnTo>
                  <a:cubicBezTo>
                    <a:pt x="588" y="1680"/>
                    <a:pt x="605" y="1694"/>
                    <a:pt x="622" y="1707"/>
                  </a:cubicBezTo>
                  <a:lnTo>
                    <a:pt x="590" y="1736"/>
                  </a:lnTo>
                  <a:lnTo>
                    <a:pt x="440" y="1736"/>
                  </a:lnTo>
                  <a:lnTo>
                    <a:pt x="440" y="1736"/>
                  </a:lnTo>
                  <a:lnTo>
                    <a:pt x="301" y="1736"/>
                  </a:lnTo>
                  <a:lnTo>
                    <a:pt x="267" y="1771"/>
                  </a:lnTo>
                  <a:lnTo>
                    <a:pt x="267" y="1771"/>
                  </a:lnTo>
                  <a:lnTo>
                    <a:pt x="221" y="1819"/>
                  </a:lnTo>
                  <a:cubicBezTo>
                    <a:pt x="222" y="1822"/>
                    <a:pt x="224" y="1824"/>
                    <a:pt x="225" y="1827"/>
                  </a:cubicBezTo>
                  <a:lnTo>
                    <a:pt x="272" y="1778"/>
                  </a:lnTo>
                  <a:lnTo>
                    <a:pt x="271" y="1776"/>
                  </a:lnTo>
                  <a:lnTo>
                    <a:pt x="272" y="1778"/>
                  </a:lnTo>
                  <a:lnTo>
                    <a:pt x="272" y="1778"/>
                  </a:lnTo>
                  <a:lnTo>
                    <a:pt x="304" y="1745"/>
                  </a:lnTo>
                  <a:lnTo>
                    <a:pt x="444" y="1745"/>
                  </a:lnTo>
                  <a:lnTo>
                    <a:pt x="441" y="1740"/>
                  </a:lnTo>
                  <a:cubicBezTo>
                    <a:pt x="442" y="1741"/>
                    <a:pt x="443" y="1743"/>
                    <a:pt x="444" y="1745"/>
                  </a:cubicBezTo>
                  <a:lnTo>
                    <a:pt x="593" y="1745"/>
                  </a:lnTo>
                  <a:lnTo>
                    <a:pt x="629" y="1712"/>
                  </a:lnTo>
                  <a:cubicBezTo>
                    <a:pt x="651" y="1728"/>
                    <a:pt x="673" y="1744"/>
                    <a:pt x="696" y="1758"/>
                  </a:cubicBezTo>
                  <a:lnTo>
                    <a:pt x="617" y="1841"/>
                  </a:lnTo>
                  <a:lnTo>
                    <a:pt x="493" y="1841"/>
                  </a:lnTo>
                  <a:cubicBezTo>
                    <a:pt x="495" y="1844"/>
                    <a:pt x="496" y="1847"/>
                    <a:pt x="498" y="1850"/>
                  </a:cubicBezTo>
                  <a:lnTo>
                    <a:pt x="620" y="1850"/>
                  </a:lnTo>
                  <a:lnTo>
                    <a:pt x="704" y="1762"/>
                  </a:lnTo>
                  <a:cubicBezTo>
                    <a:pt x="712" y="1767"/>
                    <a:pt x="720" y="1772"/>
                    <a:pt x="729" y="1777"/>
                  </a:cubicBezTo>
                  <a:lnTo>
                    <a:pt x="632" y="1894"/>
                  </a:lnTo>
                  <a:lnTo>
                    <a:pt x="524" y="1894"/>
                  </a:lnTo>
                  <a:cubicBezTo>
                    <a:pt x="526" y="1897"/>
                    <a:pt x="527" y="1900"/>
                    <a:pt x="529" y="1903"/>
                  </a:cubicBezTo>
                  <a:lnTo>
                    <a:pt x="636" y="1903"/>
                  </a:lnTo>
                  <a:lnTo>
                    <a:pt x="636" y="1903"/>
                  </a:lnTo>
                  <a:lnTo>
                    <a:pt x="737" y="1781"/>
                  </a:lnTo>
                  <a:cubicBezTo>
                    <a:pt x="856" y="1845"/>
                    <a:pt x="992" y="1881"/>
                    <a:pt x="1137" y="1881"/>
                  </a:cubicBezTo>
                  <a:cubicBezTo>
                    <a:pt x="1371" y="1881"/>
                    <a:pt x="1583" y="1786"/>
                    <a:pt x="1736" y="1632"/>
                  </a:cubicBezTo>
                  <a:cubicBezTo>
                    <a:pt x="1890" y="1479"/>
                    <a:pt x="1985" y="1267"/>
                    <a:pt x="1985" y="1033"/>
                  </a:cubicBezTo>
                  <a:cubicBezTo>
                    <a:pt x="1985" y="855"/>
                    <a:pt x="1930" y="690"/>
                    <a:pt x="1837" y="554"/>
                  </a:cubicBezTo>
                  <a:lnTo>
                    <a:pt x="1939" y="448"/>
                  </a:lnTo>
                  <a:lnTo>
                    <a:pt x="1939" y="442"/>
                  </a:lnTo>
                  <a:lnTo>
                    <a:pt x="1908" y="475"/>
                  </a:lnTo>
                  <a:cubicBezTo>
                    <a:pt x="1908" y="474"/>
                    <a:pt x="1908" y="474"/>
                    <a:pt x="1907" y="474"/>
                  </a:cubicBezTo>
                  <a:lnTo>
                    <a:pt x="1908" y="475"/>
                  </a:lnTo>
                  <a:lnTo>
                    <a:pt x="1908" y="475"/>
                  </a:lnTo>
                  <a:lnTo>
                    <a:pt x="1939" y="442"/>
                  </a:lnTo>
                  <a:lnTo>
                    <a:pt x="1939" y="398"/>
                  </a:lnTo>
                  <a:lnTo>
                    <a:pt x="1939" y="398"/>
                  </a:lnTo>
                  <a:lnTo>
                    <a:pt x="1939" y="322"/>
                  </a:lnTo>
                  <a:close/>
                  <a:moveTo>
                    <a:pt x="1846" y="252"/>
                  </a:moveTo>
                  <a:cubicBezTo>
                    <a:pt x="1844" y="250"/>
                    <a:pt x="1841" y="248"/>
                    <a:pt x="1838" y="246"/>
                  </a:cubicBezTo>
                  <a:lnTo>
                    <a:pt x="1838" y="322"/>
                  </a:lnTo>
                  <a:cubicBezTo>
                    <a:pt x="1841" y="324"/>
                    <a:pt x="1844" y="326"/>
                    <a:pt x="1846" y="328"/>
                  </a:cubicBezTo>
                  <a:lnTo>
                    <a:pt x="1846" y="328"/>
                  </a:lnTo>
                  <a:lnTo>
                    <a:pt x="1846" y="252"/>
                  </a:lnTo>
                  <a:close/>
                  <a:moveTo>
                    <a:pt x="92" y="1340"/>
                  </a:moveTo>
                  <a:cubicBezTo>
                    <a:pt x="93" y="1343"/>
                    <a:pt x="93" y="1346"/>
                    <a:pt x="93" y="1349"/>
                  </a:cubicBezTo>
                  <a:lnTo>
                    <a:pt x="94" y="1349"/>
                  </a:lnTo>
                  <a:cubicBezTo>
                    <a:pt x="94" y="1346"/>
                    <a:pt x="93" y="1343"/>
                    <a:pt x="92" y="1340"/>
                  </a:cubicBezTo>
                  <a:close/>
                  <a:moveTo>
                    <a:pt x="270" y="1919"/>
                  </a:moveTo>
                  <a:cubicBezTo>
                    <a:pt x="271" y="1922"/>
                    <a:pt x="273" y="1924"/>
                    <a:pt x="274" y="1927"/>
                  </a:cubicBezTo>
                  <a:lnTo>
                    <a:pt x="336" y="1869"/>
                  </a:lnTo>
                  <a:lnTo>
                    <a:pt x="336" y="1869"/>
                  </a:lnTo>
                  <a:lnTo>
                    <a:pt x="336" y="1869"/>
                  </a:lnTo>
                  <a:lnTo>
                    <a:pt x="356" y="1850"/>
                  </a:lnTo>
                  <a:lnTo>
                    <a:pt x="498" y="1850"/>
                  </a:lnTo>
                  <a:cubicBezTo>
                    <a:pt x="496" y="1847"/>
                    <a:pt x="495" y="1844"/>
                    <a:pt x="493" y="1841"/>
                  </a:cubicBezTo>
                  <a:lnTo>
                    <a:pt x="353" y="1841"/>
                  </a:lnTo>
                  <a:lnTo>
                    <a:pt x="331" y="1862"/>
                  </a:lnTo>
                  <a:lnTo>
                    <a:pt x="332" y="1864"/>
                  </a:lnTo>
                  <a:lnTo>
                    <a:pt x="331" y="1862"/>
                  </a:lnTo>
                  <a:lnTo>
                    <a:pt x="270" y="1919"/>
                  </a:lnTo>
                  <a:close/>
                  <a:moveTo>
                    <a:pt x="1051" y="947"/>
                  </a:moveTo>
                  <a:cubicBezTo>
                    <a:pt x="1067" y="931"/>
                    <a:pt x="1088" y="919"/>
                    <a:pt x="1111" y="914"/>
                  </a:cubicBezTo>
                  <a:lnTo>
                    <a:pt x="1131" y="934"/>
                  </a:lnTo>
                  <a:lnTo>
                    <a:pt x="1131" y="934"/>
                  </a:lnTo>
                  <a:lnTo>
                    <a:pt x="1131" y="934"/>
                  </a:lnTo>
                  <a:cubicBezTo>
                    <a:pt x="1125" y="939"/>
                    <a:pt x="1121" y="946"/>
                    <a:pt x="1121" y="954"/>
                  </a:cubicBezTo>
                  <a:cubicBezTo>
                    <a:pt x="1121" y="968"/>
                    <a:pt x="1133" y="979"/>
                    <a:pt x="1147" y="979"/>
                  </a:cubicBezTo>
                  <a:lnTo>
                    <a:pt x="1147" y="979"/>
                  </a:lnTo>
                  <a:cubicBezTo>
                    <a:pt x="1161" y="979"/>
                    <a:pt x="1172" y="968"/>
                    <a:pt x="1172" y="954"/>
                  </a:cubicBezTo>
                  <a:cubicBezTo>
                    <a:pt x="1172" y="940"/>
                    <a:pt x="1161" y="929"/>
                    <a:pt x="1147" y="929"/>
                  </a:cubicBezTo>
                  <a:cubicBezTo>
                    <a:pt x="1144" y="929"/>
                    <a:pt x="1142" y="929"/>
                    <a:pt x="1139" y="930"/>
                  </a:cubicBezTo>
                  <a:lnTo>
                    <a:pt x="1139" y="930"/>
                  </a:lnTo>
                  <a:cubicBezTo>
                    <a:pt x="1136" y="931"/>
                    <a:pt x="1134" y="932"/>
                    <a:pt x="1132" y="934"/>
                  </a:cubicBezTo>
                  <a:cubicBezTo>
                    <a:pt x="1134" y="932"/>
                    <a:pt x="1136" y="931"/>
                    <a:pt x="1139" y="930"/>
                  </a:cubicBezTo>
                  <a:lnTo>
                    <a:pt x="1121" y="912"/>
                  </a:lnTo>
                  <a:cubicBezTo>
                    <a:pt x="1126" y="912"/>
                    <a:pt x="1131" y="911"/>
                    <a:pt x="1137" y="911"/>
                  </a:cubicBezTo>
                  <a:cubicBezTo>
                    <a:pt x="1170" y="911"/>
                    <a:pt x="1200" y="925"/>
                    <a:pt x="1222" y="947"/>
                  </a:cubicBezTo>
                  <a:cubicBezTo>
                    <a:pt x="1244" y="969"/>
                    <a:pt x="1258" y="999"/>
                    <a:pt x="1258" y="1033"/>
                  </a:cubicBezTo>
                  <a:cubicBezTo>
                    <a:pt x="1258" y="1066"/>
                    <a:pt x="1244" y="1097"/>
                    <a:pt x="1222" y="1118"/>
                  </a:cubicBezTo>
                  <a:cubicBezTo>
                    <a:pt x="1200" y="1140"/>
                    <a:pt x="1170" y="1154"/>
                    <a:pt x="1137" y="1154"/>
                  </a:cubicBezTo>
                  <a:cubicBezTo>
                    <a:pt x="1103" y="1154"/>
                    <a:pt x="1073" y="1140"/>
                    <a:pt x="1051" y="1118"/>
                  </a:cubicBezTo>
                  <a:cubicBezTo>
                    <a:pt x="1045" y="1113"/>
                    <a:pt x="1040" y="1107"/>
                    <a:pt x="1036" y="1100"/>
                  </a:cubicBezTo>
                  <a:cubicBezTo>
                    <a:pt x="1039" y="1096"/>
                    <a:pt x="1040" y="1091"/>
                    <a:pt x="1040" y="1086"/>
                  </a:cubicBezTo>
                  <a:cubicBezTo>
                    <a:pt x="1040" y="1073"/>
                    <a:pt x="1031" y="1063"/>
                    <a:pt x="1019" y="1061"/>
                  </a:cubicBezTo>
                  <a:cubicBezTo>
                    <a:pt x="1017" y="1052"/>
                    <a:pt x="1015" y="1042"/>
                    <a:pt x="1015" y="1033"/>
                  </a:cubicBezTo>
                  <a:cubicBezTo>
                    <a:pt x="1015" y="999"/>
                    <a:pt x="1029" y="969"/>
                    <a:pt x="1051" y="947"/>
                  </a:cubicBezTo>
                  <a:close/>
                  <a:moveTo>
                    <a:pt x="845" y="1349"/>
                  </a:moveTo>
                  <a:lnTo>
                    <a:pt x="845" y="1349"/>
                  </a:lnTo>
                  <a:lnTo>
                    <a:pt x="835" y="1349"/>
                  </a:lnTo>
                  <a:lnTo>
                    <a:pt x="832" y="1345"/>
                  </a:lnTo>
                  <a:cubicBezTo>
                    <a:pt x="833" y="1347"/>
                    <a:pt x="834" y="1348"/>
                    <a:pt x="834" y="1349"/>
                  </a:cubicBezTo>
                  <a:lnTo>
                    <a:pt x="834" y="1349"/>
                  </a:lnTo>
                  <a:lnTo>
                    <a:pt x="728" y="1349"/>
                  </a:lnTo>
                  <a:cubicBezTo>
                    <a:pt x="744" y="1370"/>
                    <a:pt x="762" y="1389"/>
                    <a:pt x="780" y="1406"/>
                  </a:cubicBezTo>
                  <a:lnTo>
                    <a:pt x="836" y="1406"/>
                  </a:lnTo>
                  <a:cubicBezTo>
                    <a:pt x="832" y="1403"/>
                    <a:pt x="829" y="1400"/>
                    <a:pt x="825" y="1397"/>
                  </a:cubicBezTo>
                  <a:lnTo>
                    <a:pt x="852" y="1367"/>
                  </a:lnTo>
                  <a:cubicBezTo>
                    <a:pt x="847" y="1362"/>
                    <a:pt x="845" y="1356"/>
                    <a:pt x="845" y="1350"/>
                  </a:cubicBezTo>
                  <a:cubicBezTo>
                    <a:pt x="845" y="1349"/>
                    <a:pt x="845" y="1349"/>
                    <a:pt x="845" y="1349"/>
                  </a:cubicBezTo>
                  <a:close/>
                  <a:moveTo>
                    <a:pt x="666" y="1349"/>
                  </a:moveTo>
                  <a:lnTo>
                    <a:pt x="595" y="1349"/>
                  </a:lnTo>
                  <a:lnTo>
                    <a:pt x="595" y="1349"/>
                  </a:lnTo>
                  <a:lnTo>
                    <a:pt x="595" y="1349"/>
                  </a:lnTo>
                  <a:lnTo>
                    <a:pt x="513" y="1349"/>
                  </a:lnTo>
                  <a:cubicBezTo>
                    <a:pt x="512" y="1348"/>
                    <a:pt x="512" y="1346"/>
                    <a:pt x="511" y="1344"/>
                  </a:cubicBezTo>
                  <a:cubicBezTo>
                    <a:pt x="512" y="1346"/>
                    <a:pt x="512" y="1347"/>
                    <a:pt x="513" y="1349"/>
                  </a:cubicBezTo>
                  <a:lnTo>
                    <a:pt x="500" y="1349"/>
                  </a:lnTo>
                  <a:lnTo>
                    <a:pt x="444" y="1415"/>
                  </a:lnTo>
                  <a:lnTo>
                    <a:pt x="437" y="1415"/>
                  </a:lnTo>
                  <a:cubicBezTo>
                    <a:pt x="450" y="1439"/>
                    <a:pt x="465" y="1463"/>
                    <a:pt x="480" y="1485"/>
                  </a:cubicBezTo>
                  <a:lnTo>
                    <a:pt x="481" y="1485"/>
                  </a:lnTo>
                  <a:lnTo>
                    <a:pt x="541" y="1422"/>
                  </a:lnTo>
                  <a:lnTo>
                    <a:pt x="541" y="1422"/>
                  </a:lnTo>
                  <a:lnTo>
                    <a:pt x="541" y="1422"/>
                  </a:lnTo>
                  <a:lnTo>
                    <a:pt x="555" y="1406"/>
                  </a:lnTo>
                  <a:lnTo>
                    <a:pt x="619" y="1406"/>
                  </a:lnTo>
                  <a:lnTo>
                    <a:pt x="619" y="1406"/>
                  </a:lnTo>
                  <a:lnTo>
                    <a:pt x="710" y="1406"/>
                  </a:lnTo>
                  <a:cubicBezTo>
                    <a:pt x="694" y="1388"/>
                    <a:pt x="679" y="1369"/>
                    <a:pt x="666" y="1349"/>
                  </a:cubicBezTo>
                  <a:close/>
                  <a:moveTo>
                    <a:pt x="432" y="1406"/>
                  </a:moveTo>
                  <a:lnTo>
                    <a:pt x="440" y="1406"/>
                  </a:lnTo>
                  <a:lnTo>
                    <a:pt x="496" y="1340"/>
                  </a:lnTo>
                  <a:lnTo>
                    <a:pt x="510" y="1340"/>
                  </a:lnTo>
                  <a:lnTo>
                    <a:pt x="510" y="1340"/>
                  </a:lnTo>
                  <a:lnTo>
                    <a:pt x="592" y="1340"/>
                  </a:lnTo>
                  <a:cubicBezTo>
                    <a:pt x="593" y="1343"/>
                    <a:pt x="594" y="1345"/>
                    <a:pt x="595" y="1348"/>
                  </a:cubicBezTo>
                  <a:lnTo>
                    <a:pt x="592" y="1340"/>
                  </a:lnTo>
                  <a:lnTo>
                    <a:pt x="660" y="1340"/>
                  </a:lnTo>
                  <a:cubicBezTo>
                    <a:pt x="655" y="1333"/>
                    <a:pt x="650" y="1325"/>
                    <a:pt x="645" y="1316"/>
                  </a:cubicBezTo>
                  <a:cubicBezTo>
                    <a:pt x="636" y="1301"/>
                    <a:pt x="628" y="1286"/>
                    <a:pt x="621" y="1270"/>
                  </a:cubicBezTo>
                  <a:lnTo>
                    <a:pt x="571" y="1270"/>
                  </a:lnTo>
                  <a:lnTo>
                    <a:pt x="570" y="1268"/>
                  </a:lnTo>
                  <a:lnTo>
                    <a:pt x="571" y="1270"/>
                  </a:lnTo>
                  <a:lnTo>
                    <a:pt x="571" y="1270"/>
                  </a:lnTo>
                  <a:lnTo>
                    <a:pt x="491" y="1270"/>
                  </a:lnTo>
                  <a:lnTo>
                    <a:pt x="491" y="1270"/>
                  </a:lnTo>
                  <a:lnTo>
                    <a:pt x="464" y="1270"/>
                  </a:lnTo>
                  <a:lnTo>
                    <a:pt x="410" y="1349"/>
                  </a:lnTo>
                  <a:lnTo>
                    <a:pt x="405" y="1349"/>
                  </a:lnTo>
                  <a:cubicBezTo>
                    <a:pt x="413" y="1369"/>
                    <a:pt x="422" y="1388"/>
                    <a:pt x="432" y="1406"/>
                  </a:cubicBezTo>
                  <a:close/>
                  <a:moveTo>
                    <a:pt x="722" y="1340"/>
                  </a:moveTo>
                  <a:lnTo>
                    <a:pt x="830" y="1340"/>
                  </a:lnTo>
                  <a:lnTo>
                    <a:pt x="830" y="1340"/>
                  </a:lnTo>
                  <a:lnTo>
                    <a:pt x="846" y="1340"/>
                  </a:lnTo>
                  <a:lnTo>
                    <a:pt x="846" y="1340"/>
                  </a:lnTo>
                  <a:cubicBezTo>
                    <a:pt x="850" y="1331"/>
                    <a:pt x="859" y="1324"/>
                    <a:pt x="870" y="1324"/>
                  </a:cubicBezTo>
                  <a:cubicBezTo>
                    <a:pt x="884" y="1324"/>
                    <a:pt x="895" y="1336"/>
                    <a:pt x="895" y="1350"/>
                  </a:cubicBezTo>
                  <a:cubicBezTo>
                    <a:pt x="895" y="1361"/>
                    <a:pt x="887" y="1371"/>
                    <a:pt x="877" y="1374"/>
                  </a:cubicBezTo>
                  <a:cubicBezTo>
                    <a:pt x="892" y="1386"/>
                    <a:pt x="908" y="1397"/>
                    <a:pt x="924" y="1406"/>
                  </a:cubicBezTo>
                  <a:lnTo>
                    <a:pt x="981" y="1406"/>
                  </a:lnTo>
                  <a:lnTo>
                    <a:pt x="981" y="1406"/>
                  </a:lnTo>
                  <a:lnTo>
                    <a:pt x="1072" y="1406"/>
                  </a:lnTo>
                  <a:lnTo>
                    <a:pt x="1124" y="1461"/>
                  </a:lnTo>
                  <a:cubicBezTo>
                    <a:pt x="1179" y="1462"/>
                    <a:pt x="1235" y="1451"/>
                    <a:pt x="1287" y="1429"/>
                  </a:cubicBezTo>
                  <a:lnTo>
                    <a:pt x="1307" y="1476"/>
                  </a:lnTo>
                  <a:cubicBezTo>
                    <a:pt x="1262" y="1495"/>
                    <a:pt x="1214" y="1506"/>
                    <a:pt x="1167" y="1510"/>
                  </a:cubicBezTo>
                  <a:cubicBezTo>
                    <a:pt x="1162" y="1516"/>
                    <a:pt x="1155" y="1520"/>
                    <a:pt x="1147" y="1520"/>
                  </a:cubicBezTo>
                  <a:lnTo>
                    <a:pt x="1147" y="1520"/>
                  </a:lnTo>
                  <a:cubicBezTo>
                    <a:pt x="1140" y="1520"/>
                    <a:pt x="1133" y="1517"/>
                    <a:pt x="1128" y="1512"/>
                  </a:cubicBezTo>
                  <a:cubicBezTo>
                    <a:pt x="1104" y="1512"/>
                    <a:pt x="1079" y="1510"/>
                    <a:pt x="1055" y="1506"/>
                  </a:cubicBezTo>
                  <a:cubicBezTo>
                    <a:pt x="980" y="1494"/>
                    <a:pt x="908" y="1463"/>
                    <a:pt x="847" y="1415"/>
                  </a:cubicBezTo>
                  <a:lnTo>
                    <a:pt x="789" y="1415"/>
                  </a:lnTo>
                  <a:cubicBezTo>
                    <a:pt x="812" y="1436"/>
                    <a:pt x="837" y="1454"/>
                    <a:pt x="863" y="1470"/>
                  </a:cubicBezTo>
                  <a:cubicBezTo>
                    <a:pt x="865" y="1470"/>
                    <a:pt x="867" y="1469"/>
                    <a:pt x="870" y="1469"/>
                  </a:cubicBezTo>
                  <a:cubicBezTo>
                    <a:pt x="882" y="1469"/>
                    <a:pt x="892" y="1478"/>
                    <a:pt x="895" y="1489"/>
                  </a:cubicBezTo>
                  <a:cubicBezTo>
                    <a:pt x="899" y="1491"/>
                    <a:pt x="903" y="1493"/>
                    <a:pt x="907" y="1495"/>
                  </a:cubicBezTo>
                  <a:cubicBezTo>
                    <a:pt x="998" y="1540"/>
                    <a:pt x="1101" y="1558"/>
                    <a:pt x="1202" y="1546"/>
                  </a:cubicBezTo>
                  <a:lnTo>
                    <a:pt x="1208" y="1596"/>
                  </a:lnTo>
                  <a:cubicBezTo>
                    <a:pt x="1097" y="1610"/>
                    <a:pt x="984" y="1590"/>
                    <a:pt x="884" y="1540"/>
                  </a:cubicBezTo>
                  <a:cubicBezTo>
                    <a:pt x="858" y="1527"/>
                    <a:pt x="832" y="1512"/>
                    <a:pt x="807" y="1494"/>
                  </a:cubicBezTo>
                  <a:lnTo>
                    <a:pt x="606" y="1494"/>
                  </a:lnTo>
                  <a:lnTo>
                    <a:pt x="547" y="1570"/>
                  </a:lnTo>
                  <a:cubicBezTo>
                    <a:pt x="556" y="1579"/>
                    <a:pt x="564" y="1588"/>
                    <a:pt x="573" y="1597"/>
                  </a:cubicBezTo>
                  <a:cubicBezTo>
                    <a:pt x="582" y="1606"/>
                    <a:pt x="592" y="1615"/>
                    <a:pt x="602" y="1624"/>
                  </a:cubicBezTo>
                  <a:lnTo>
                    <a:pt x="634" y="1591"/>
                  </a:lnTo>
                  <a:lnTo>
                    <a:pt x="951" y="1591"/>
                  </a:lnTo>
                  <a:lnTo>
                    <a:pt x="1011" y="1635"/>
                  </a:lnTo>
                  <a:cubicBezTo>
                    <a:pt x="1015" y="1630"/>
                    <a:pt x="1021" y="1627"/>
                    <a:pt x="1028" y="1627"/>
                  </a:cubicBezTo>
                  <a:cubicBezTo>
                    <a:pt x="1042" y="1627"/>
                    <a:pt x="1053" y="1639"/>
                    <a:pt x="1053" y="1653"/>
                  </a:cubicBezTo>
                  <a:cubicBezTo>
                    <a:pt x="1053" y="1667"/>
                    <a:pt x="1042" y="1678"/>
                    <a:pt x="1028" y="1678"/>
                  </a:cubicBezTo>
                  <a:lnTo>
                    <a:pt x="1028" y="1678"/>
                  </a:lnTo>
                  <a:cubicBezTo>
                    <a:pt x="1014" y="1678"/>
                    <a:pt x="1003" y="1667"/>
                    <a:pt x="1003" y="1653"/>
                  </a:cubicBezTo>
                  <a:cubicBezTo>
                    <a:pt x="1003" y="1649"/>
                    <a:pt x="1004" y="1645"/>
                    <a:pt x="1005" y="1642"/>
                  </a:cubicBezTo>
                  <a:lnTo>
                    <a:pt x="1005" y="1642"/>
                  </a:lnTo>
                  <a:cubicBezTo>
                    <a:pt x="1006" y="1641"/>
                    <a:pt x="1006" y="1640"/>
                    <a:pt x="1007" y="1639"/>
                  </a:cubicBezTo>
                  <a:cubicBezTo>
                    <a:pt x="1006" y="1640"/>
                    <a:pt x="1006" y="1641"/>
                    <a:pt x="1005" y="1642"/>
                  </a:cubicBezTo>
                  <a:lnTo>
                    <a:pt x="948" y="1600"/>
                  </a:lnTo>
                  <a:lnTo>
                    <a:pt x="638" y="1600"/>
                  </a:lnTo>
                  <a:lnTo>
                    <a:pt x="608" y="1630"/>
                  </a:lnTo>
                  <a:cubicBezTo>
                    <a:pt x="625" y="1645"/>
                    <a:pt x="642" y="1659"/>
                    <a:pt x="660" y="1672"/>
                  </a:cubicBezTo>
                  <a:lnTo>
                    <a:pt x="692" y="1644"/>
                  </a:lnTo>
                  <a:lnTo>
                    <a:pt x="774" y="1644"/>
                  </a:lnTo>
                  <a:lnTo>
                    <a:pt x="774" y="1644"/>
                  </a:lnTo>
                  <a:lnTo>
                    <a:pt x="785" y="1644"/>
                  </a:lnTo>
                  <a:cubicBezTo>
                    <a:pt x="788" y="1647"/>
                    <a:pt x="791" y="1649"/>
                    <a:pt x="794" y="1652"/>
                  </a:cubicBezTo>
                  <a:lnTo>
                    <a:pt x="794" y="1652"/>
                  </a:lnTo>
                  <a:lnTo>
                    <a:pt x="765" y="1652"/>
                  </a:lnTo>
                  <a:lnTo>
                    <a:pt x="765" y="1652"/>
                  </a:lnTo>
                  <a:lnTo>
                    <a:pt x="695" y="1652"/>
                  </a:lnTo>
                  <a:lnTo>
                    <a:pt x="667" y="1677"/>
                  </a:lnTo>
                  <a:cubicBezTo>
                    <a:pt x="688" y="1693"/>
                    <a:pt x="710" y="1707"/>
                    <a:pt x="732" y="1720"/>
                  </a:cubicBezTo>
                  <a:lnTo>
                    <a:pt x="742" y="1710"/>
                  </a:lnTo>
                  <a:lnTo>
                    <a:pt x="742" y="1710"/>
                  </a:lnTo>
                  <a:lnTo>
                    <a:pt x="755" y="1696"/>
                  </a:lnTo>
                  <a:lnTo>
                    <a:pt x="843" y="1696"/>
                  </a:lnTo>
                  <a:lnTo>
                    <a:pt x="843" y="1696"/>
                  </a:lnTo>
                  <a:lnTo>
                    <a:pt x="936" y="1696"/>
                  </a:lnTo>
                  <a:lnTo>
                    <a:pt x="999" y="1752"/>
                  </a:lnTo>
                  <a:cubicBezTo>
                    <a:pt x="996" y="1754"/>
                    <a:pt x="995" y="1756"/>
                    <a:pt x="993" y="1759"/>
                  </a:cubicBezTo>
                  <a:lnTo>
                    <a:pt x="993" y="1759"/>
                  </a:lnTo>
                  <a:lnTo>
                    <a:pt x="933" y="1705"/>
                  </a:lnTo>
                  <a:lnTo>
                    <a:pt x="854" y="1705"/>
                  </a:lnTo>
                  <a:cubicBezTo>
                    <a:pt x="852" y="1704"/>
                    <a:pt x="850" y="1702"/>
                    <a:pt x="848" y="1700"/>
                  </a:cubicBezTo>
                  <a:cubicBezTo>
                    <a:pt x="850" y="1702"/>
                    <a:pt x="852" y="1704"/>
                    <a:pt x="854" y="1705"/>
                  </a:cubicBezTo>
                  <a:lnTo>
                    <a:pt x="759" y="1705"/>
                  </a:lnTo>
                  <a:lnTo>
                    <a:pt x="748" y="1716"/>
                  </a:lnTo>
                  <a:lnTo>
                    <a:pt x="748" y="1716"/>
                  </a:lnTo>
                  <a:lnTo>
                    <a:pt x="747" y="1715"/>
                  </a:lnTo>
                  <a:lnTo>
                    <a:pt x="748" y="1716"/>
                  </a:lnTo>
                  <a:lnTo>
                    <a:pt x="740" y="1724"/>
                  </a:lnTo>
                  <a:cubicBezTo>
                    <a:pt x="755" y="1733"/>
                    <a:pt x="770" y="1741"/>
                    <a:pt x="786" y="1749"/>
                  </a:cubicBezTo>
                  <a:lnTo>
                    <a:pt x="845" y="1749"/>
                  </a:lnTo>
                  <a:cubicBezTo>
                    <a:pt x="845" y="1748"/>
                    <a:pt x="845" y="1746"/>
                    <a:pt x="845" y="1745"/>
                  </a:cubicBezTo>
                  <a:cubicBezTo>
                    <a:pt x="845" y="1731"/>
                    <a:pt x="856" y="1720"/>
                    <a:pt x="870" y="1720"/>
                  </a:cubicBezTo>
                  <a:cubicBezTo>
                    <a:pt x="871" y="1720"/>
                    <a:pt x="873" y="1720"/>
                    <a:pt x="874" y="1720"/>
                  </a:cubicBezTo>
                  <a:cubicBezTo>
                    <a:pt x="876" y="1721"/>
                    <a:pt x="877" y="1723"/>
                    <a:pt x="879" y="1724"/>
                  </a:cubicBezTo>
                  <a:cubicBezTo>
                    <a:pt x="877" y="1723"/>
                    <a:pt x="876" y="1721"/>
                    <a:pt x="874" y="1720"/>
                  </a:cubicBezTo>
                  <a:cubicBezTo>
                    <a:pt x="882" y="1721"/>
                    <a:pt x="889" y="1726"/>
                    <a:pt x="892" y="1733"/>
                  </a:cubicBezTo>
                  <a:lnTo>
                    <a:pt x="892" y="1733"/>
                  </a:lnTo>
                  <a:lnTo>
                    <a:pt x="890" y="1732"/>
                  </a:lnTo>
                  <a:lnTo>
                    <a:pt x="892" y="1733"/>
                  </a:lnTo>
                  <a:cubicBezTo>
                    <a:pt x="894" y="1737"/>
                    <a:pt x="895" y="1741"/>
                    <a:pt x="895" y="1745"/>
                  </a:cubicBezTo>
                  <a:cubicBezTo>
                    <a:pt x="895" y="1759"/>
                    <a:pt x="884" y="1770"/>
                    <a:pt x="870" y="1770"/>
                  </a:cubicBezTo>
                  <a:lnTo>
                    <a:pt x="870" y="1770"/>
                  </a:lnTo>
                  <a:cubicBezTo>
                    <a:pt x="861" y="1770"/>
                    <a:pt x="852" y="1765"/>
                    <a:pt x="848" y="1758"/>
                  </a:cubicBezTo>
                  <a:lnTo>
                    <a:pt x="877" y="1758"/>
                  </a:lnTo>
                  <a:lnTo>
                    <a:pt x="877" y="1749"/>
                  </a:lnTo>
                  <a:lnTo>
                    <a:pt x="877" y="1749"/>
                  </a:lnTo>
                  <a:lnTo>
                    <a:pt x="877" y="1758"/>
                  </a:lnTo>
                  <a:lnTo>
                    <a:pt x="877" y="1758"/>
                  </a:lnTo>
                  <a:lnTo>
                    <a:pt x="848" y="1758"/>
                  </a:lnTo>
                  <a:lnTo>
                    <a:pt x="848" y="1758"/>
                  </a:lnTo>
                  <a:lnTo>
                    <a:pt x="848" y="1758"/>
                  </a:lnTo>
                  <a:lnTo>
                    <a:pt x="804" y="1758"/>
                  </a:lnTo>
                  <a:cubicBezTo>
                    <a:pt x="906" y="1804"/>
                    <a:pt x="1018" y="1830"/>
                    <a:pt x="1137" y="1830"/>
                  </a:cubicBezTo>
                  <a:cubicBezTo>
                    <a:pt x="1357" y="1830"/>
                    <a:pt x="1556" y="1741"/>
                    <a:pt x="1700" y="1597"/>
                  </a:cubicBezTo>
                  <a:cubicBezTo>
                    <a:pt x="1845" y="1452"/>
                    <a:pt x="1934" y="1253"/>
                    <a:pt x="1934" y="1033"/>
                  </a:cubicBezTo>
                  <a:cubicBezTo>
                    <a:pt x="1934" y="869"/>
                    <a:pt x="1885" y="718"/>
                    <a:pt x="1801" y="591"/>
                  </a:cubicBezTo>
                  <a:lnTo>
                    <a:pt x="1716" y="679"/>
                  </a:lnTo>
                  <a:lnTo>
                    <a:pt x="1578" y="679"/>
                  </a:lnTo>
                  <a:lnTo>
                    <a:pt x="1578" y="680"/>
                  </a:lnTo>
                  <a:cubicBezTo>
                    <a:pt x="1578" y="694"/>
                    <a:pt x="1567" y="705"/>
                    <a:pt x="1553" y="705"/>
                  </a:cubicBezTo>
                  <a:lnTo>
                    <a:pt x="1553" y="705"/>
                  </a:lnTo>
                  <a:cubicBezTo>
                    <a:pt x="1539" y="705"/>
                    <a:pt x="1528" y="694"/>
                    <a:pt x="1528" y="680"/>
                  </a:cubicBezTo>
                  <a:cubicBezTo>
                    <a:pt x="1528" y="666"/>
                    <a:pt x="1539" y="655"/>
                    <a:pt x="1553" y="655"/>
                  </a:cubicBezTo>
                  <a:cubicBezTo>
                    <a:pt x="1564" y="655"/>
                    <a:pt x="1573" y="661"/>
                    <a:pt x="1576" y="671"/>
                  </a:cubicBezTo>
                  <a:lnTo>
                    <a:pt x="1712" y="671"/>
                  </a:lnTo>
                  <a:lnTo>
                    <a:pt x="1796" y="584"/>
                  </a:lnTo>
                  <a:cubicBezTo>
                    <a:pt x="1783" y="566"/>
                    <a:pt x="1770" y="548"/>
                    <a:pt x="1756" y="531"/>
                  </a:cubicBezTo>
                  <a:lnTo>
                    <a:pt x="1699" y="586"/>
                  </a:lnTo>
                  <a:lnTo>
                    <a:pt x="1698" y="585"/>
                  </a:lnTo>
                  <a:lnTo>
                    <a:pt x="1699" y="586"/>
                  </a:lnTo>
                  <a:lnTo>
                    <a:pt x="1644" y="640"/>
                  </a:lnTo>
                  <a:lnTo>
                    <a:pt x="1644" y="640"/>
                  </a:lnTo>
                  <a:lnTo>
                    <a:pt x="1625" y="640"/>
                  </a:lnTo>
                  <a:cubicBezTo>
                    <a:pt x="1622" y="638"/>
                    <a:pt x="1619" y="636"/>
                    <a:pt x="1616" y="634"/>
                  </a:cubicBezTo>
                  <a:cubicBezTo>
                    <a:pt x="1619" y="636"/>
                    <a:pt x="1622" y="638"/>
                    <a:pt x="1625" y="640"/>
                  </a:cubicBezTo>
                  <a:lnTo>
                    <a:pt x="1400" y="640"/>
                  </a:lnTo>
                  <a:cubicBezTo>
                    <a:pt x="1427" y="657"/>
                    <a:pt x="1451" y="677"/>
                    <a:pt x="1473" y="699"/>
                  </a:cubicBezTo>
                  <a:cubicBezTo>
                    <a:pt x="1556" y="782"/>
                    <a:pt x="1607" y="897"/>
                    <a:pt x="1607" y="1023"/>
                  </a:cubicBezTo>
                  <a:cubicBezTo>
                    <a:pt x="1607" y="1067"/>
                    <a:pt x="1601" y="1111"/>
                    <a:pt x="1589" y="1152"/>
                  </a:cubicBezTo>
                  <a:cubicBezTo>
                    <a:pt x="1576" y="1194"/>
                    <a:pt x="1558" y="1234"/>
                    <a:pt x="1535" y="1270"/>
                  </a:cubicBezTo>
                  <a:lnTo>
                    <a:pt x="1492" y="1243"/>
                  </a:lnTo>
                  <a:cubicBezTo>
                    <a:pt x="1513" y="1210"/>
                    <a:pt x="1529" y="1175"/>
                    <a:pt x="1540" y="1138"/>
                  </a:cubicBezTo>
                  <a:cubicBezTo>
                    <a:pt x="1551" y="1101"/>
                    <a:pt x="1556" y="1063"/>
                    <a:pt x="1556" y="1023"/>
                  </a:cubicBezTo>
                  <a:cubicBezTo>
                    <a:pt x="1556" y="911"/>
                    <a:pt x="1511" y="809"/>
                    <a:pt x="1437" y="735"/>
                  </a:cubicBezTo>
                  <a:cubicBezTo>
                    <a:pt x="1404" y="702"/>
                    <a:pt x="1365" y="674"/>
                    <a:pt x="1321" y="654"/>
                  </a:cubicBezTo>
                  <a:lnTo>
                    <a:pt x="1300" y="671"/>
                  </a:lnTo>
                  <a:cubicBezTo>
                    <a:pt x="1299" y="668"/>
                    <a:pt x="1298" y="666"/>
                    <a:pt x="1296" y="664"/>
                  </a:cubicBezTo>
                  <a:cubicBezTo>
                    <a:pt x="1298" y="666"/>
                    <a:pt x="1299" y="668"/>
                    <a:pt x="1300" y="671"/>
                  </a:cubicBezTo>
                  <a:cubicBezTo>
                    <a:pt x="1301" y="674"/>
                    <a:pt x="1301" y="677"/>
                    <a:pt x="1301" y="680"/>
                  </a:cubicBezTo>
                  <a:cubicBezTo>
                    <a:pt x="1301" y="694"/>
                    <a:pt x="1290" y="705"/>
                    <a:pt x="1276" y="705"/>
                  </a:cubicBezTo>
                  <a:lnTo>
                    <a:pt x="1276" y="705"/>
                  </a:lnTo>
                  <a:cubicBezTo>
                    <a:pt x="1262" y="705"/>
                    <a:pt x="1251" y="694"/>
                    <a:pt x="1251" y="680"/>
                  </a:cubicBezTo>
                  <a:cubicBezTo>
                    <a:pt x="1251" y="666"/>
                    <a:pt x="1262" y="655"/>
                    <a:pt x="1276" y="655"/>
                  </a:cubicBezTo>
                  <a:cubicBezTo>
                    <a:pt x="1284" y="655"/>
                    <a:pt x="1290" y="658"/>
                    <a:pt x="1295" y="663"/>
                  </a:cubicBezTo>
                  <a:lnTo>
                    <a:pt x="1295" y="663"/>
                  </a:lnTo>
                  <a:lnTo>
                    <a:pt x="1312" y="650"/>
                  </a:lnTo>
                  <a:cubicBezTo>
                    <a:pt x="1263" y="628"/>
                    <a:pt x="1207" y="616"/>
                    <a:pt x="1150" y="616"/>
                  </a:cubicBezTo>
                  <a:cubicBezTo>
                    <a:pt x="1126" y="616"/>
                    <a:pt x="1103" y="618"/>
                    <a:pt x="1081" y="622"/>
                  </a:cubicBezTo>
                  <a:cubicBezTo>
                    <a:pt x="1070" y="624"/>
                    <a:pt x="1060" y="626"/>
                    <a:pt x="1050" y="628"/>
                  </a:cubicBezTo>
                  <a:lnTo>
                    <a:pt x="1086" y="628"/>
                  </a:lnTo>
                  <a:lnTo>
                    <a:pt x="1128" y="661"/>
                  </a:lnTo>
                  <a:cubicBezTo>
                    <a:pt x="1132" y="655"/>
                    <a:pt x="1139" y="652"/>
                    <a:pt x="1147" y="652"/>
                  </a:cubicBezTo>
                  <a:cubicBezTo>
                    <a:pt x="1159" y="652"/>
                    <a:pt x="1169" y="660"/>
                    <a:pt x="1171" y="672"/>
                  </a:cubicBezTo>
                  <a:cubicBezTo>
                    <a:pt x="1175" y="672"/>
                    <a:pt x="1178" y="672"/>
                    <a:pt x="1182" y="673"/>
                  </a:cubicBezTo>
                  <a:cubicBezTo>
                    <a:pt x="1197" y="675"/>
                    <a:pt x="1212" y="677"/>
                    <a:pt x="1226" y="681"/>
                  </a:cubicBezTo>
                  <a:lnTo>
                    <a:pt x="1214" y="730"/>
                  </a:lnTo>
                  <a:cubicBezTo>
                    <a:pt x="1201" y="727"/>
                    <a:pt x="1188" y="725"/>
                    <a:pt x="1176" y="723"/>
                  </a:cubicBezTo>
                  <a:cubicBezTo>
                    <a:pt x="1164" y="721"/>
                    <a:pt x="1151" y="721"/>
                    <a:pt x="1137" y="721"/>
                  </a:cubicBezTo>
                  <a:cubicBezTo>
                    <a:pt x="1076" y="721"/>
                    <a:pt x="1019" y="739"/>
                    <a:pt x="972" y="769"/>
                  </a:cubicBezTo>
                  <a:lnTo>
                    <a:pt x="994" y="794"/>
                  </a:lnTo>
                  <a:cubicBezTo>
                    <a:pt x="999" y="788"/>
                    <a:pt x="1006" y="784"/>
                    <a:pt x="1015" y="784"/>
                  </a:cubicBezTo>
                  <a:cubicBezTo>
                    <a:pt x="1029" y="784"/>
                    <a:pt x="1040" y="795"/>
                    <a:pt x="1040" y="809"/>
                  </a:cubicBezTo>
                  <a:cubicBezTo>
                    <a:pt x="1040" y="823"/>
                    <a:pt x="1029" y="834"/>
                    <a:pt x="1015" y="834"/>
                  </a:cubicBezTo>
                  <a:lnTo>
                    <a:pt x="1015" y="834"/>
                  </a:lnTo>
                  <a:cubicBezTo>
                    <a:pt x="1001" y="834"/>
                    <a:pt x="990" y="823"/>
                    <a:pt x="990" y="809"/>
                  </a:cubicBezTo>
                  <a:cubicBezTo>
                    <a:pt x="990" y="807"/>
                    <a:pt x="990" y="805"/>
                    <a:pt x="990" y="803"/>
                  </a:cubicBezTo>
                  <a:lnTo>
                    <a:pt x="990" y="803"/>
                  </a:lnTo>
                  <a:cubicBezTo>
                    <a:pt x="991" y="802"/>
                    <a:pt x="991" y="802"/>
                    <a:pt x="991" y="801"/>
                  </a:cubicBezTo>
                  <a:cubicBezTo>
                    <a:pt x="991" y="802"/>
                    <a:pt x="991" y="802"/>
                    <a:pt x="990" y="803"/>
                  </a:cubicBezTo>
                  <a:lnTo>
                    <a:pt x="964" y="774"/>
                  </a:lnTo>
                  <a:cubicBezTo>
                    <a:pt x="961" y="777"/>
                    <a:pt x="958" y="779"/>
                    <a:pt x="954" y="781"/>
                  </a:cubicBezTo>
                  <a:cubicBezTo>
                    <a:pt x="920" y="807"/>
                    <a:pt x="891" y="841"/>
                    <a:pt x="870" y="879"/>
                  </a:cubicBezTo>
                  <a:lnTo>
                    <a:pt x="886" y="879"/>
                  </a:lnTo>
                  <a:lnTo>
                    <a:pt x="886" y="879"/>
                  </a:lnTo>
                  <a:lnTo>
                    <a:pt x="1059" y="879"/>
                  </a:lnTo>
                  <a:cubicBezTo>
                    <a:pt x="1083" y="867"/>
                    <a:pt x="1109" y="861"/>
                    <a:pt x="1137" y="861"/>
                  </a:cubicBezTo>
                  <a:cubicBezTo>
                    <a:pt x="1184" y="861"/>
                    <a:pt x="1227" y="880"/>
                    <a:pt x="1258" y="911"/>
                  </a:cubicBezTo>
                  <a:cubicBezTo>
                    <a:pt x="1289" y="942"/>
                    <a:pt x="1309" y="985"/>
                    <a:pt x="1309" y="1033"/>
                  </a:cubicBezTo>
                  <a:cubicBezTo>
                    <a:pt x="1309" y="1080"/>
                    <a:pt x="1289" y="1123"/>
                    <a:pt x="1258" y="1154"/>
                  </a:cubicBezTo>
                  <a:cubicBezTo>
                    <a:pt x="1227" y="1185"/>
                    <a:pt x="1184" y="1205"/>
                    <a:pt x="1137" y="1205"/>
                  </a:cubicBezTo>
                  <a:cubicBezTo>
                    <a:pt x="1132" y="1205"/>
                    <a:pt x="1127" y="1205"/>
                    <a:pt x="1122" y="1204"/>
                  </a:cubicBezTo>
                  <a:lnTo>
                    <a:pt x="1129" y="1212"/>
                  </a:lnTo>
                  <a:cubicBezTo>
                    <a:pt x="1127" y="1215"/>
                    <a:pt x="1126" y="1217"/>
                    <a:pt x="1124" y="1220"/>
                  </a:cubicBezTo>
                  <a:lnTo>
                    <a:pt x="1108" y="1202"/>
                  </a:lnTo>
                  <a:cubicBezTo>
                    <a:pt x="1085" y="1199"/>
                    <a:pt x="1063" y="1190"/>
                    <a:pt x="1044" y="1178"/>
                  </a:cubicBezTo>
                  <a:lnTo>
                    <a:pt x="874" y="1178"/>
                  </a:lnTo>
                  <a:cubicBezTo>
                    <a:pt x="892" y="1209"/>
                    <a:pt x="915" y="1236"/>
                    <a:pt x="943" y="1259"/>
                  </a:cubicBezTo>
                  <a:cubicBezTo>
                    <a:pt x="995" y="1303"/>
                    <a:pt x="1063" y="1329"/>
                    <a:pt x="1137" y="1329"/>
                  </a:cubicBezTo>
                  <a:cubicBezTo>
                    <a:pt x="1221" y="1329"/>
                    <a:pt x="1297" y="1295"/>
                    <a:pt x="1352" y="1240"/>
                  </a:cubicBezTo>
                  <a:cubicBezTo>
                    <a:pt x="1407" y="1185"/>
                    <a:pt x="1441" y="1109"/>
                    <a:pt x="1441" y="1025"/>
                  </a:cubicBezTo>
                  <a:cubicBezTo>
                    <a:pt x="1441" y="1005"/>
                    <a:pt x="1439" y="986"/>
                    <a:pt x="1436" y="968"/>
                  </a:cubicBezTo>
                  <a:cubicBezTo>
                    <a:pt x="1432" y="949"/>
                    <a:pt x="1427" y="931"/>
                    <a:pt x="1420" y="913"/>
                  </a:cubicBezTo>
                  <a:lnTo>
                    <a:pt x="1467" y="895"/>
                  </a:lnTo>
                  <a:cubicBezTo>
                    <a:pt x="1475" y="915"/>
                    <a:pt x="1482" y="936"/>
                    <a:pt x="1486" y="958"/>
                  </a:cubicBezTo>
                  <a:cubicBezTo>
                    <a:pt x="1490" y="980"/>
                    <a:pt x="1492" y="1002"/>
                    <a:pt x="1492" y="1025"/>
                  </a:cubicBezTo>
                  <a:cubicBezTo>
                    <a:pt x="1492" y="1123"/>
                    <a:pt x="1452" y="1212"/>
                    <a:pt x="1388" y="1276"/>
                  </a:cubicBezTo>
                  <a:cubicBezTo>
                    <a:pt x="1324" y="1340"/>
                    <a:pt x="1235" y="1380"/>
                    <a:pt x="1137" y="1380"/>
                  </a:cubicBezTo>
                  <a:cubicBezTo>
                    <a:pt x="1105" y="1380"/>
                    <a:pt x="1075" y="1376"/>
                    <a:pt x="1046" y="1368"/>
                  </a:cubicBezTo>
                  <a:cubicBezTo>
                    <a:pt x="1041" y="1372"/>
                    <a:pt x="1035" y="1375"/>
                    <a:pt x="1028" y="1375"/>
                  </a:cubicBezTo>
                  <a:lnTo>
                    <a:pt x="1028" y="1375"/>
                  </a:lnTo>
                  <a:cubicBezTo>
                    <a:pt x="1016" y="1375"/>
                    <a:pt x="1005" y="1366"/>
                    <a:pt x="1003" y="1354"/>
                  </a:cubicBezTo>
                  <a:cubicBezTo>
                    <a:pt x="969" y="1340"/>
                    <a:pt x="938" y="1321"/>
                    <a:pt x="910" y="1298"/>
                  </a:cubicBezTo>
                  <a:cubicBezTo>
                    <a:pt x="900" y="1289"/>
                    <a:pt x="890" y="1280"/>
                    <a:pt x="880" y="1270"/>
                  </a:cubicBezTo>
                  <a:lnTo>
                    <a:pt x="799" y="1270"/>
                  </a:lnTo>
                  <a:lnTo>
                    <a:pt x="799" y="1270"/>
                  </a:lnTo>
                  <a:lnTo>
                    <a:pt x="765" y="1270"/>
                  </a:lnTo>
                  <a:lnTo>
                    <a:pt x="737" y="1289"/>
                  </a:lnTo>
                  <a:cubicBezTo>
                    <a:pt x="732" y="1283"/>
                    <a:pt x="728" y="1276"/>
                    <a:pt x="724" y="1270"/>
                  </a:cubicBezTo>
                  <a:lnTo>
                    <a:pt x="677" y="1270"/>
                  </a:lnTo>
                  <a:cubicBezTo>
                    <a:pt x="681" y="1277"/>
                    <a:pt x="685" y="1284"/>
                    <a:pt x="689" y="1291"/>
                  </a:cubicBezTo>
                  <a:cubicBezTo>
                    <a:pt x="699" y="1308"/>
                    <a:pt x="710" y="1325"/>
                    <a:pt x="722" y="1340"/>
                  </a:cubicBezTo>
                  <a:close/>
                  <a:moveTo>
                    <a:pt x="864" y="1340"/>
                  </a:moveTo>
                  <a:lnTo>
                    <a:pt x="864" y="1349"/>
                  </a:lnTo>
                  <a:lnTo>
                    <a:pt x="864" y="1349"/>
                  </a:lnTo>
                  <a:lnTo>
                    <a:pt x="864" y="1340"/>
                  </a:lnTo>
                  <a:close/>
                  <a:moveTo>
                    <a:pt x="845" y="1349"/>
                  </a:moveTo>
                  <a:lnTo>
                    <a:pt x="864" y="1349"/>
                  </a:lnTo>
                  <a:moveTo>
                    <a:pt x="846" y="1235"/>
                  </a:moveTo>
                  <a:lnTo>
                    <a:pt x="846" y="1235"/>
                  </a:lnTo>
                  <a:lnTo>
                    <a:pt x="846" y="1235"/>
                  </a:lnTo>
                  <a:cubicBezTo>
                    <a:pt x="847" y="1234"/>
                    <a:pt x="847" y="1232"/>
                    <a:pt x="848" y="1231"/>
                  </a:cubicBezTo>
                  <a:cubicBezTo>
                    <a:pt x="836" y="1214"/>
                    <a:pt x="826" y="1196"/>
                    <a:pt x="817" y="1178"/>
                  </a:cubicBezTo>
                  <a:lnTo>
                    <a:pt x="774" y="1178"/>
                  </a:lnTo>
                  <a:lnTo>
                    <a:pt x="774" y="1178"/>
                  </a:lnTo>
                  <a:lnTo>
                    <a:pt x="735" y="1178"/>
                  </a:lnTo>
                  <a:cubicBezTo>
                    <a:pt x="742" y="1197"/>
                    <a:pt x="752" y="1216"/>
                    <a:pt x="762" y="1235"/>
                  </a:cubicBezTo>
                  <a:lnTo>
                    <a:pt x="787" y="1235"/>
                  </a:lnTo>
                  <a:lnTo>
                    <a:pt x="787" y="1235"/>
                  </a:lnTo>
                  <a:lnTo>
                    <a:pt x="846" y="1235"/>
                  </a:lnTo>
                  <a:close/>
                  <a:moveTo>
                    <a:pt x="401" y="1340"/>
                  </a:moveTo>
                  <a:lnTo>
                    <a:pt x="405" y="1340"/>
                  </a:lnTo>
                  <a:lnTo>
                    <a:pt x="459" y="1261"/>
                  </a:lnTo>
                  <a:lnTo>
                    <a:pt x="489" y="1261"/>
                  </a:lnTo>
                  <a:lnTo>
                    <a:pt x="489" y="1261"/>
                  </a:lnTo>
                  <a:lnTo>
                    <a:pt x="568" y="1261"/>
                  </a:lnTo>
                  <a:lnTo>
                    <a:pt x="568" y="1262"/>
                  </a:lnTo>
                  <a:lnTo>
                    <a:pt x="568" y="1261"/>
                  </a:lnTo>
                  <a:lnTo>
                    <a:pt x="617" y="1261"/>
                  </a:lnTo>
                  <a:cubicBezTo>
                    <a:pt x="614" y="1255"/>
                    <a:pt x="612" y="1249"/>
                    <a:pt x="610" y="1244"/>
                  </a:cubicBezTo>
                  <a:lnTo>
                    <a:pt x="564" y="1244"/>
                  </a:lnTo>
                  <a:lnTo>
                    <a:pt x="564" y="1244"/>
                  </a:lnTo>
                  <a:lnTo>
                    <a:pt x="485" y="1244"/>
                  </a:lnTo>
                  <a:cubicBezTo>
                    <a:pt x="484" y="1241"/>
                    <a:pt x="484" y="1238"/>
                    <a:pt x="483" y="1235"/>
                  </a:cubicBezTo>
                  <a:lnTo>
                    <a:pt x="562" y="1235"/>
                  </a:lnTo>
                  <a:lnTo>
                    <a:pt x="562" y="1235"/>
                  </a:lnTo>
                  <a:lnTo>
                    <a:pt x="606" y="1235"/>
                  </a:lnTo>
                  <a:cubicBezTo>
                    <a:pt x="599" y="1216"/>
                    <a:pt x="593" y="1197"/>
                    <a:pt x="588" y="1178"/>
                  </a:cubicBezTo>
                  <a:lnTo>
                    <a:pt x="553" y="1178"/>
                  </a:lnTo>
                  <a:cubicBezTo>
                    <a:pt x="552" y="1175"/>
                    <a:pt x="552" y="1172"/>
                    <a:pt x="551" y="1170"/>
                  </a:cubicBezTo>
                  <a:cubicBezTo>
                    <a:pt x="552" y="1172"/>
                    <a:pt x="552" y="1175"/>
                    <a:pt x="553" y="1178"/>
                  </a:cubicBezTo>
                  <a:lnTo>
                    <a:pt x="553" y="1178"/>
                  </a:lnTo>
                  <a:lnTo>
                    <a:pt x="474" y="1178"/>
                  </a:lnTo>
                  <a:lnTo>
                    <a:pt x="474" y="1178"/>
                  </a:lnTo>
                  <a:lnTo>
                    <a:pt x="474" y="1178"/>
                  </a:lnTo>
                  <a:lnTo>
                    <a:pt x="352" y="1178"/>
                  </a:lnTo>
                  <a:cubicBezTo>
                    <a:pt x="356" y="1197"/>
                    <a:pt x="360" y="1216"/>
                    <a:pt x="365" y="1235"/>
                  </a:cubicBezTo>
                  <a:lnTo>
                    <a:pt x="483" y="1235"/>
                  </a:lnTo>
                  <a:cubicBezTo>
                    <a:pt x="484" y="1238"/>
                    <a:pt x="484" y="1241"/>
                    <a:pt x="485" y="1244"/>
                  </a:cubicBezTo>
                  <a:lnTo>
                    <a:pt x="485" y="1244"/>
                  </a:lnTo>
                  <a:lnTo>
                    <a:pt x="368" y="1244"/>
                  </a:lnTo>
                  <a:cubicBezTo>
                    <a:pt x="377" y="1277"/>
                    <a:pt x="388" y="1309"/>
                    <a:pt x="401" y="1340"/>
                  </a:cubicBezTo>
                  <a:close/>
                  <a:moveTo>
                    <a:pt x="673" y="1261"/>
                  </a:moveTo>
                  <a:lnTo>
                    <a:pt x="719" y="1261"/>
                  </a:lnTo>
                  <a:cubicBezTo>
                    <a:pt x="716" y="1255"/>
                    <a:pt x="712" y="1250"/>
                    <a:pt x="709" y="1244"/>
                  </a:cubicBezTo>
                  <a:lnTo>
                    <a:pt x="665" y="1244"/>
                  </a:lnTo>
                  <a:cubicBezTo>
                    <a:pt x="667" y="1249"/>
                    <a:pt x="670" y="1255"/>
                    <a:pt x="673" y="1261"/>
                  </a:cubicBezTo>
                  <a:close/>
                  <a:moveTo>
                    <a:pt x="778" y="1261"/>
                  </a:moveTo>
                  <a:lnTo>
                    <a:pt x="796" y="1261"/>
                  </a:lnTo>
                  <a:cubicBezTo>
                    <a:pt x="796" y="1263"/>
                    <a:pt x="797" y="1265"/>
                    <a:pt x="798" y="1266"/>
                  </a:cubicBezTo>
                  <a:lnTo>
                    <a:pt x="796" y="1261"/>
                  </a:lnTo>
                  <a:lnTo>
                    <a:pt x="851" y="1261"/>
                  </a:lnTo>
                  <a:cubicBezTo>
                    <a:pt x="847" y="1257"/>
                    <a:pt x="845" y="1251"/>
                    <a:pt x="845" y="1244"/>
                  </a:cubicBezTo>
                  <a:cubicBezTo>
                    <a:pt x="845" y="1244"/>
                    <a:pt x="845" y="1244"/>
                    <a:pt x="845" y="1244"/>
                  </a:cubicBezTo>
                  <a:lnTo>
                    <a:pt x="790" y="1244"/>
                  </a:lnTo>
                  <a:lnTo>
                    <a:pt x="789" y="1241"/>
                  </a:lnTo>
                  <a:lnTo>
                    <a:pt x="790" y="1244"/>
                  </a:lnTo>
                  <a:lnTo>
                    <a:pt x="767" y="1244"/>
                  </a:lnTo>
                  <a:cubicBezTo>
                    <a:pt x="771" y="1249"/>
                    <a:pt x="775" y="1255"/>
                    <a:pt x="779" y="1261"/>
                  </a:cubicBezTo>
                  <a:lnTo>
                    <a:pt x="778" y="1261"/>
                  </a:lnTo>
                  <a:close/>
                  <a:moveTo>
                    <a:pt x="661" y="1235"/>
                  </a:moveTo>
                  <a:lnTo>
                    <a:pt x="705" y="1235"/>
                  </a:lnTo>
                  <a:cubicBezTo>
                    <a:pt x="695" y="1216"/>
                    <a:pt x="687" y="1197"/>
                    <a:pt x="681" y="1178"/>
                  </a:cubicBezTo>
                  <a:lnTo>
                    <a:pt x="640" y="1178"/>
                  </a:lnTo>
                  <a:cubicBezTo>
                    <a:pt x="646" y="1197"/>
                    <a:pt x="653" y="1216"/>
                    <a:pt x="661" y="1235"/>
                  </a:cubicBezTo>
                  <a:close/>
                  <a:moveTo>
                    <a:pt x="878" y="1268"/>
                  </a:moveTo>
                  <a:lnTo>
                    <a:pt x="878" y="1268"/>
                  </a:lnTo>
                  <a:cubicBezTo>
                    <a:pt x="878" y="1268"/>
                    <a:pt x="878" y="1268"/>
                    <a:pt x="878" y="1268"/>
                  </a:cubicBezTo>
                  <a:close/>
                  <a:moveTo>
                    <a:pt x="351" y="1169"/>
                  </a:moveTo>
                  <a:lnTo>
                    <a:pt x="473" y="1169"/>
                  </a:lnTo>
                  <a:cubicBezTo>
                    <a:pt x="473" y="1170"/>
                    <a:pt x="473" y="1171"/>
                    <a:pt x="474" y="1172"/>
                  </a:cubicBezTo>
                  <a:lnTo>
                    <a:pt x="473" y="1169"/>
                  </a:lnTo>
                  <a:lnTo>
                    <a:pt x="551" y="1169"/>
                  </a:lnTo>
                  <a:lnTo>
                    <a:pt x="551" y="1169"/>
                  </a:lnTo>
                  <a:lnTo>
                    <a:pt x="585" y="1169"/>
                  </a:lnTo>
                  <a:cubicBezTo>
                    <a:pt x="585" y="1166"/>
                    <a:pt x="584" y="1163"/>
                    <a:pt x="583" y="1160"/>
                  </a:cubicBezTo>
                  <a:cubicBezTo>
                    <a:pt x="578" y="1135"/>
                    <a:pt x="574" y="1110"/>
                    <a:pt x="571" y="1085"/>
                  </a:cubicBezTo>
                  <a:lnTo>
                    <a:pt x="341" y="1085"/>
                  </a:lnTo>
                  <a:cubicBezTo>
                    <a:pt x="343" y="1114"/>
                    <a:pt x="346" y="1142"/>
                    <a:pt x="351" y="1169"/>
                  </a:cubicBezTo>
                  <a:close/>
                  <a:moveTo>
                    <a:pt x="638" y="1169"/>
                  </a:moveTo>
                  <a:lnTo>
                    <a:pt x="678" y="1169"/>
                  </a:lnTo>
                  <a:cubicBezTo>
                    <a:pt x="669" y="1142"/>
                    <a:pt x="663" y="1114"/>
                    <a:pt x="660" y="1085"/>
                  </a:cubicBezTo>
                  <a:lnTo>
                    <a:pt x="622" y="1085"/>
                  </a:lnTo>
                  <a:cubicBezTo>
                    <a:pt x="624" y="1107"/>
                    <a:pt x="628" y="1128"/>
                    <a:pt x="633" y="1149"/>
                  </a:cubicBezTo>
                  <a:cubicBezTo>
                    <a:pt x="634" y="1155"/>
                    <a:pt x="636" y="1162"/>
                    <a:pt x="638" y="1169"/>
                  </a:cubicBezTo>
                  <a:close/>
                  <a:moveTo>
                    <a:pt x="732" y="1169"/>
                  </a:moveTo>
                  <a:lnTo>
                    <a:pt x="772" y="1169"/>
                  </a:lnTo>
                  <a:lnTo>
                    <a:pt x="772" y="1169"/>
                  </a:lnTo>
                  <a:lnTo>
                    <a:pt x="813" y="1169"/>
                  </a:lnTo>
                  <a:cubicBezTo>
                    <a:pt x="801" y="1144"/>
                    <a:pt x="793" y="1118"/>
                    <a:pt x="788" y="1090"/>
                  </a:cubicBezTo>
                  <a:lnTo>
                    <a:pt x="813" y="1085"/>
                  </a:lnTo>
                  <a:lnTo>
                    <a:pt x="711" y="1085"/>
                  </a:lnTo>
                  <a:cubicBezTo>
                    <a:pt x="715" y="1114"/>
                    <a:pt x="722" y="1142"/>
                    <a:pt x="732" y="1169"/>
                  </a:cubicBezTo>
                  <a:close/>
                  <a:moveTo>
                    <a:pt x="869" y="1169"/>
                  </a:moveTo>
                  <a:lnTo>
                    <a:pt x="1032" y="1169"/>
                  </a:lnTo>
                  <a:cubicBezTo>
                    <a:pt x="1026" y="1164"/>
                    <a:pt x="1020" y="1160"/>
                    <a:pt x="1015" y="1154"/>
                  </a:cubicBezTo>
                  <a:cubicBezTo>
                    <a:pt x="987" y="1126"/>
                    <a:pt x="968" y="1088"/>
                    <a:pt x="965" y="1045"/>
                  </a:cubicBezTo>
                  <a:lnTo>
                    <a:pt x="939" y="1019"/>
                  </a:lnTo>
                  <a:lnTo>
                    <a:pt x="708" y="1019"/>
                  </a:lnTo>
                  <a:cubicBezTo>
                    <a:pt x="707" y="1039"/>
                    <a:pt x="708" y="1058"/>
                    <a:pt x="710" y="1077"/>
                  </a:cubicBezTo>
                  <a:lnTo>
                    <a:pt x="846" y="1077"/>
                  </a:lnTo>
                  <a:cubicBezTo>
                    <a:pt x="850" y="1067"/>
                    <a:pt x="859" y="1061"/>
                    <a:pt x="870" y="1061"/>
                  </a:cubicBezTo>
                  <a:cubicBezTo>
                    <a:pt x="884" y="1061"/>
                    <a:pt x="895" y="1072"/>
                    <a:pt x="895" y="1086"/>
                  </a:cubicBezTo>
                  <a:cubicBezTo>
                    <a:pt x="895" y="1100"/>
                    <a:pt x="884" y="1111"/>
                    <a:pt x="870" y="1111"/>
                  </a:cubicBezTo>
                  <a:lnTo>
                    <a:pt x="870" y="1111"/>
                  </a:lnTo>
                  <a:cubicBezTo>
                    <a:pt x="856" y="1111"/>
                    <a:pt x="845" y="1100"/>
                    <a:pt x="845" y="1086"/>
                  </a:cubicBezTo>
                  <a:lnTo>
                    <a:pt x="845" y="1085"/>
                  </a:lnTo>
                  <a:lnTo>
                    <a:pt x="839" y="1085"/>
                  </a:lnTo>
                  <a:cubicBezTo>
                    <a:pt x="845" y="1115"/>
                    <a:pt x="855" y="1143"/>
                    <a:pt x="869" y="1169"/>
                  </a:cubicBezTo>
                  <a:close/>
                  <a:moveTo>
                    <a:pt x="773" y="1175"/>
                  </a:moveTo>
                  <a:cubicBezTo>
                    <a:pt x="773" y="1174"/>
                    <a:pt x="773" y="1172"/>
                    <a:pt x="772" y="1171"/>
                  </a:cubicBezTo>
                  <a:cubicBezTo>
                    <a:pt x="773" y="1172"/>
                    <a:pt x="773" y="1174"/>
                    <a:pt x="773" y="1175"/>
                  </a:cubicBezTo>
                  <a:close/>
                  <a:moveTo>
                    <a:pt x="989" y="1415"/>
                  </a:moveTo>
                  <a:lnTo>
                    <a:pt x="940" y="1415"/>
                  </a:lnTo>
                  <a:cubicBezTo>
                    <a:pt x="979" y="1435"/>
                    <a:pt x="1020" y="1449"/>
                    <a:pt x="1063" y="1456"/>
                  </a:cubicBezTo>
                  <a:cubicBezTo>
                    <a:pt x="1079" y="1458"/>
                    <a:pt x="1095" y="1460"/>
                    <a:pt x="1112" y="1461"/>
                  </a:cubicBezTo>
                  <a:lnTo>
                    <a:pt x="1068" y="1415"/>
                  </a:lnTo>
                  <a:lnTo>
                    <a:pt x="989" y="1415"/>
                  </a:lnTo>
                  <a:lnTo>
                    <a:pt x="989" y="1415"/>
                  </a:lnTo>
                  <a:close/>
                  <a:moveTo>
                    <a:pt x="718" y="1415"/>
                  </a:moveTo>
                  <a:lnTo>
                    <a:pt x="623" y="1415"/>
                  </a:lnTo>
                  <a:lnTo>
                    <a:pt x="623" y="1415"/>
                  </a:lnTo>
                  <a:lnTo>
                    <a:pt x="559" y="1415"/>
                  </a:lnTo>
                  <a:lnTo>
                    <a:pt x="545" y="1430"/>
                  </a:lnTo>
                  <a:lnTo>
                    <a:pt x="545" y="1430"/>
                  </a:lnTo>
                  <a:lnTo>
                    <a:pt x="486" y="1493"/>
                  </a:lnTo>
                  <a:cubicBezTo>
                    <a:pt x="503" y="1518"/>
                    <a:pt x="522" y="1541"/>
                    <a:pt x="541" y="1563"/>
                  </a:cubicBezTo>
                  <a:lnTo>
                    <a:pt x="601" y="1485"/>
                  </a:lnTo>
                  <a:lnTo>
                    <a:pt x="795" y="1485"/>
                  </a:lnTo>
                  <a:cubicBezTo>
                    <a:pt x="767" y="1465"/>
                    <a:pt x="741" y="1441"/>
                    <a:pt x="718" y="1415"/>
                  </a:cubicBezTo>
                  <a:close/>
                  <a:moveTo>
                    <a:pt x="863" y="954"/>
                  </a:moveTo>
                  <a:lnTo>
                    <a:pt x="863" y="954"/>
                  </a:lnTo>
                  <a:lnTo>
                    <a:pt x="863" y="954"/>
                  </a:lnTo>
                  <a:lnTo>
                    <a:pt x="853" y="954"/>
                  </a:lnTo>
                  <a:lnTo>
                    <a:pt x="845" y="954"/>
                  </a:lnTo>
                  <a:lnTo>
                    <a:pt x="845" y="953"/>
                  </a:lnTo>
                  <a:lnTo>
                    <a:pt x="845" y="953"/>
                  </a:lnTo>
                  <a:lnTo>
                    <a:pt x="845" y="953"/>
                  </a:lnTo>
                  <a:lnTo>
                    <a:pt x="845" y="953"/>
                  </a:lnTo>
                  <a:lnTo>
                    <a:pt x="845" y="953"/>
                  </a:lnTo>
                  <a:lnTo>
                    <a:pt x="845" y="953"/>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1"/>
                  </a:lnTo>
                  <a:lnTo>
                    <a:pt x="845" y="951"/>
                  </a:lnTo>
                  <a:cubicBezTo>
                    <a:pt x="845" y="949"/>
                    <a:pt x="846" y="947"/>
                    <a:pt x="846" y="945"/>
                  </a:cubicBezTo>
                  <a:lnTo>
                    <a:pt x="846" y="945"/>
                  </a:lnTo>
                  <a:lnTo>
                    <a:pt x="865" y="945"/>
                  </a:lnTo>
                  <a:lnTo>
                    <a:pt x="865" y="945"/>
                  </a:lnTo>
                  <a:lnTo>
                    <a:pt x="865" y="945"/>
                  </a:lnTo>
                  <a:cubicBezTo>
                    <a:pt x="864" y="947"/>
                    <a:pt x="864" y="948"/>
                    <a:pt x="863" y="950"/>
                  </a:cubicBezTo>
                  <a:lnTo>
                    <a:pt x="863" y="950"/>
                  </a:lnTo>
                  <a:lnTo>
                    <a:pt x="863" y="951"/>
                  </a:lnTo>
                  <a:lnTo>
                    <a:pt x="863" y="951"/>
                  </a:lnTo>
                  <a:lnTo>
                    <a:pt x="863" y="951"/>
                  </a:lnTo>
                  <a:lnTo>
                    <a:pt x="863" y="951"/>
                  </a:lnTo>
                  <a:lnTo>
                    <a:pt x="863" y="951"/>
                  </a:lnTo>
                  <a:lnTo>
                    <a:pt x="863" y="951"/>
                  </a:lnTo>
                  <a:lnTo>
                    <a:pt x="863" y="951"/>
                  </a:lnTo>
                  <a:lnTo>
                    <a:pt x="863" y="951"/>
                  </a:lnTo>
                  <a:lnTo>
                    <a:pt x="863" y="952"/>
                  </a:lnTo>
                  <a:lnTo>
                    <a:pt x="863" y="952"/>
                  </a:lnTo>
                  <a:lnTo>
                    <a:pt x="863" y="952"/>
                  </a:lnTo>
                  <a:lnTo>
                    <a:pt x="863" y="952"/>
                  </a:lnTo>
                  <a:lnTo>
                    <a:pt x="863" y="952"/>
                  </a:lnTo>
                  <a:lnTo>
                    <a:pt x="863" y="952"/>
                  </a:lnTo>
                  <a:lnTo>
                    <a:pt x="863" y="952"/>
                  </a:lnTo>
                  <a:lnTo>
                    <a:pt x="863" y="952"/>
                  </a:lnTo>
                  <a:lnTo>
                    <a:pt x="863" y="953"/>
                  </a:lnTo>
                  <a:lnTo>
                    <a:pt x="863" y="953"/>
                  </a:lnTo>
                  <a:lnTo>
                    <a:pt x="863" y="953"/>
                  </a:lnTo>
                  <a:lnTo>
                    <a:pt x="863" y="953"/>
                  </a:lnTo>
                  <a:lnTo>
                    <a:pt x="863" y="953"/>
                  </a:lnTo>
                  <a:lnTo>
                    <a:pt x="863" y="953"/>
                  </a:lnTo>
                  <a:lnTo>
                    <a:pt x="863" y="953"/>
                  </a:lnTo>
                  <a:lnTo>
                    <a:pt x="863" y="953"/>
                  </a:lnTo>
                  <a:lnTo>
                    <a:pt x="863" y="953"/>
                  </a:lnTo>
                  <a:lnTo>
                    <a:pt x="863" y="953"/>
                  </a:lnTo>
                  <a:lnTo>
                    <a:pt x="863" y="954"/>
                  </a:lnTo>
                  <a:lnTo>
                    <a:pt x="863" y="954"/>
                  </a:lnTo>
                  <a:close/>
                  <a:moveTo>
                    <a:pt x="860" y="966"/>
                  </a:moveTo>
                  <a:lnTo>
                    <a:pt x="846" y="963"/>
                  </a:lnTo>
                  <a:cubicBezTo>
                    <a:pt x="845" y="961"/>
                    <a:pt x="845" y="957"/>
                    <a:pt x="845" y="954"/>
                  </a:cubicBezTo>
                  <a:lnTo>
                    <a:pt x="845" y="954"/>
                  </a:lnTo>
                  <a:lnTo>
                    <a:pt x="797" y="954"/>
                  </a:lnTo>
                  <a:lnTo>
                    <a:pt x="797" y="954"/>
                  </a:lnTo>
                  <a:lnTo>
                    <a:pt x="715" y="954"/>
                  </a:lnTo>
                  <a:moveTo>
                    <a:pt x="663" y="954"/>
                  </a:moveTo>
                  <a:lnTo>
                    <a:pt x="480" y="954"/>
                  </a:lnTo>
                  <a:lnTo>
                    <a:pt x="360" y="852"/>
                  </a:lnTo>
                  <a:moveTo>
                    <a:pt x="339" y="742"/>
                  </a:moveTo>
                  <a:lnTo>
                    <a:pt x="338" y="741"/>
                  </a:lnTo>
                  <a:cubicBezTo>
                    <a:pt x="338" y="739"/>
                    <a:pt x="339" y="737"/>
                    <a:pt x="339" y="736"/>
                  </a:cubicBezTo>
                  <a:cubicBezTo>
                    <a:pt x="339" y="737"/>
                    <a:pt x="338" y="739"/>
                    <a:pt x="338" y="741"/>
                  </a:cubicBezTo>
                  <a:lnTo>
                    <a:pt x="338" y="741"/>
                  </a:lnTo>
                  <a:lnTo>
                    <a:pt x="203" y="602"/>
                  </a:lnTo>
                  <a:moveTo>
                    <a:pt x="208" y="593"/>
                  </a:moveTo>
                  <a:lnTo>
                    <a:pt x="340" y="731"/>
                  </a:lnTo>
                  <a:lnTo>
                    <a:pt x="340" y="731"/>
                  </a:lnTo>
                  <a:lnTo>
                    <a:pt x="343" y="733"/>
                  </a:lnTo>
                  <a:moveTo>
                    <a:pt x="362" y="843"/>
                  </a:moveTo>
                  <a:lnTo>
                    <a:pt x="483" y="945"/>
                  </a:lnTo>
                  <a:lnTo>
                    <a:pt x="665" y="945"/>
                  </a:lnTo>
                  <a:moveTo>
                    <a:pt x="717" y="945"/>
                  </a:moveTo>
                  <a:lnTo>
                    <a:pt x="776" y="945"/>
                  </a:lnTo>
                  <a:cubicBezTo>
                    <a:pt x="775" y="946"/>
                    <a:pt x="775" y="948"/>
                    <a:pt x="775" y="949"/>
                  </a:cubicBezTo>
                  <a:lnTo>
                    <a:pt x="792" y="952"/>
                  </a:lnTo>
                  <a:lnTo>
                    <a:pt x="775" y="949"/>
                  </a:lnTo>
                  <a:cubicBezTo>
                    <a:pt x="775" y="948"/>
                    <a:pt x="775" y="946"/>
                    <a:pt x="776" y="945"/>
                  </a:cubicBezTo>
                  <a:lnTo>
                    <a:pt x="846" y="945"/>
                  </a:lnTo>
                  <a:cubicBezTo>
                    <a:pt x="846" y="947"/>
                    <a:pt x="845" y="949"/>
                    <a:pt x="845" y="951"/>
                  </a:cubicBezTo>
                  <a:moveTo>
                    <a:pt x="863" y="954"/>
                  </a:moveTo>
                  <a:lnTo>
                    <a:pt x="862" y="955"/>
                  </a:lnTo>
                  <a:lnTo>
                    <a:pt x="863" y="954"/>
                  </a:lnTo>
                  <a:moveTo>
                    <a:pt x="865" y="945"/>
                  </a:moveTo>
                  <a:lnTo>
                    <a:pt x="865" y="945"/>
                  </a:lnTo>
                  <a:lnTo>
                    <a:pt x="865" y="945"/>
                  </a:lnTo>
                  <a:lnTo>
                    <a:pt x="865" y="945"/>
                  </a:lnTo>
                  <a:lnTo>
                    <a:pt x="865" y="944"/>
                  </a:lnTo>
                  <a:lnTo>
                    <a:pt x="865" y="944"/>
                  </a:lnTo>
                  <a:lnTo>
                    <a:pt x="865" y="944"/>
                  </a:lnTo>
                  <a:lnTo>
                    <a:pt x="865" y="944"/>
                  </a:lnTo>
                  <a:lnTo>
                    <a:pt x="865" y="944"/>
                  </a:lnTo>
                  <a:lnTo>
                    <a:pt x="865" y="943"/>
                  </a:lnTo>
                  <a:lnTo>
                    <a:pt x="865" y="943"/>
                  </a:lnTo>
                  <a:lnTo>
                    <a:pt x="865" y="943"/>
                  </a:lnTo>
                  <a:lnTo>
                    <a:pt x="865" y="943"/>
                  </a:lnTo>
                  <a:lnTo>
                    <a:pt x="865" y="943"/>
                  </a:lnTo>
                  <a:lnTo>
                    <a:pt x="865" y="943"/>
                  </a:lnTo>
                  <a:lnTo>
                    <a:pt x="865" y="943"/>
                  </a:lnTo>
                  <a:lnTo>
                    <a:pt x="865" y="942"/>
                  </a:lnTo>
                  <a:lnTo>
                    <a:pt x="865" y="942"/>
                  </a:lnTo>
                  <a:lnTo>
                    <a:pt x="865" y="942"/>
                  </a:lnTo>
                  <a:lnTo>
                    <a:pt x="865" y="942"/>
                  </a:lnTo>
                  <a:lnTo>
                    <a:pt x="865" y="942"/>
                  </a:lnTo>
                  <a:lnTo>
                    <a:pt x="865" y="942"/>
                  </a:lnTo>
                  <a:lnTo>
                    <a:pt x="865" y="942"/>
                  </a:lnTo>
                  <a:lnTo>
                    <a:pt x="866" y="941"/>
                  </a:lnTo>
                  <a:lnTo>
                    <a:pt x="866" y="941"/>
                  </a:lnTo>
                  <a:lnTo>
                    <a:pt x="866" y="941"/>
                  </a:lnTo>
                  <a:lnTo>
                    <a:pt x="866" y="941"/>
                  </a:lnTo>
                  <a:lnTo>
                    <a:pt x="866" y="941"/>
                  </a:lnTo>
                  <a:lnTo>
                    <a:pt x="866" y="941"/>
                  </a:lnTo>
                  <a:lnTo>
                    <a:pt x="866" y="941"/>
                  </a:lnTo>
                  <a:lnTo>
                    <a:pt x="866" y="941"/>
                  </a:lnTo>
                  <a:lnTo>
                    <a:pt x="866" y="940"/>
                  </a:lnTo>
                  <a:lnTo>
                    <a:pt x="866" y="940"/>
                  </a:lnTo>
                  <a:lnTo>
                    <a:pt x="866" y="940"/>
                  </a:lnTo>
                  <a:lnTo>
                    <a:pt x="866" y="940"/>
                  </a:lnTo>
                  <a:lnTo>
                    <a:pt x="866" y="940"/>
                  </a:lnTo>
                  <a:lnTo>
                    <a:pt x="866" y="940"/>
                  </a:lnTo>
                  <a:lnTo>
                    <a:pt x="866" y="940"/>
                  </a:lnTo>
                  <a:lnTo>
                    <a:pt x="866" y="940"/>
                  </a:lnTo>
                  <a:lnTo>
                    <a:pt x="866" y="939"/>
                  </a:lnTo>
                  <a:lnTo>
                    <a:pt x="866" y="939"/>
                  </a:lnTo>
                  <a:lnTo>
                    <a:pt x="866" y="939"/>
                  </a:lnTo>
                  <a:lnTo>
                    <a:pt x="866" y="939"/>
                  </a:lnTo>
                  <a:lnTo>
                    <a:pt x="866" y="939"/>
                  </a:lnTo>
                  <a:lnTo>
                    <a:pt x="866" y="939"/>
                  </a:lnTo>
                  <a:lnTo>
                    <a:pt x="867" y="938"/>
                  </a:lnTo>
                  <a:lnTo>
                    <a:pt x="867" y="938"/>
                  </a:lnTo>
                  <a:lnTo>
                    <a:pt x="867" y="937"/>
                  </a:lnTo>
                  <a:lnTo>
                    <a:pt x="867" y="937"/>
                  </a:lnTo>
                  <a:lnTo>
                    <a:pt x="867" y="937"/>
                  </a:lnTo>
                  <a:lnTo>
                    <a:pt x="867" y="937"/>
                  </a:lnTo>
                  <a:lnTo>
                    <a:pt x="867" y="937"/>
                  </a:lnTo>
                  <a:lnTo>
                    <a:pt x="867" y="936"/>
                  </a:lnTo>
                  <a:lnTo>
                    <a:pt x="867" y="936"/>
                  </a:lnTo>
                  <a:lnTo>
                    <a:pt x="867" y="936"/>
                  </a:lnTo>
                  <a:lnTo>
                    <a:pt x="867" y="935"/>
                  </a:lnTo>
                  <a:lnTo>
                    <a:pt x="867" y="935"/>
                  </a:lnTo>
                  <a:lnTo>
                    <a:pt x="867" y="935"/>
                  </a:lnTo>
                  <a:lnTo>
                    <a:pt x="867" y="935"/>
                  </a:lnTo>
                  <a:lnTo>
                    <a:pt x="867" y="935"/>
                  </a:lnTo>
                  <a:lnTo>
                    <a:pt x="867" y="935"/>
                  </a:lnTo>
                  <a:lnTo>
                    <a:pt x="867" y="934"/>
                  </a:lnTo>
                  <a:lnTo>
                    <a:pt x="867" y="934"/>
                  </a:lnTo>
                  <a:lnTo>
                    <a:pt x="868" y="934"/>
                  </a:lnTo>
                  <a:lnTo>
                    <a:pt x="868" y="934"/>
                  </a:lnTo>
                  <a:lnTo>
                    <a:pt x="868" y="933"/>
                  </a:lnTo>
                  <a:lnTo>
                    <a:pt x="868" y="933"/>
                  </a:lnTo>
                  <a:lnTo>
                    <a:pt x="868" y="933"/>
                  </a:lnTo>
                  <a:lnTo>
                    <a:pt x="868" y="933"/>
                  </a:lnTo>
                  <a:lnTo>
                    <a:pt x="868" y="933"/>
                  </a:lnTo>
                  <a:lnTo>
                    <a:pt x="868" y="933"/>
                  </a:lnTo>
                  <a:lnTo>
                    <a:pt x="868" y="933"/>
                  </a:lnTo>
                  <a:lnTo>
                    <a:pt x="868" y="933"/>
                  </a:lnTo>
                  <a:lnTo>
                    <a:pt x="868" y="932"/>
                  </a:lnTo>
                  <a:lnTo>
                    <a:pt x="868" y="932"/>
                  </a:lnTo>
                  <a:lnTo>
                    <a:pt x="868" y="932"/>
                  </a:lnTo>
                  <a:lnTo>
                    <a:pt x="868" y="932"/>
                  </a:lnTo>
                  <a:lnTo>
                    <a:pt x="868" y="932"/>
                  </a:lnTo>
                  <a:lnTo>
                    <a:pt x="868" y="932"/>
                  </a:lnTo>
                  <a:lnTo>
                    <a:pt x="868" y="932"/>
                  </a:lnTo>
                  <a:lnTo>
                    <a:pt x="868" y="931"/>
                  </a:lnTo>
                  <a:lnTo>
                    <a:pt x="868" y="931"/>
                  </a:lnTo>
                  <a:lnTo>
                    <a:pt x="868" y="931"/>
                  </a:lnTo>
                  <a:lnTo>
                    <a:pt x="868" y="931"/>
                  </a:lnTo>
                  <a:lnTo>
                    <a:pt x="868" y="931"/>
                  </a:lnTo>
                  <a:lnTo>
                    <a:pt x="868" y="931"/>
                  </a:lnTo>
                  <a:lnTo>
                    <a:pt x="868" y="930"/>
                  </a:lnTo>
                  <a:lnTo>
                    <a:pt x="869" y="930"/>
                  </a:lnTo>
                  <a:lnTo>
                    <a:pt x="869" y="930"/>
                  </a:lnTo>
                  <a:lnTo>
                    <a:pt x="869" y="930"/>
                  </a:lnTo>
                  <a:lnTo>
                    <a:pt x="869" y="930"/>
                  </a:lnTo>
                  <a:lnTo>
                    <a:pt x="869" y="929"/>
                  </a:lnTo>
                  <a:lnTo>
                    <a:pt x="869" y="929"/>
                  </a:lnTo>
                  <a:lnTo>
                    <a:pt x="869" y="929"/>
                  </a:lnTo>
                  <a:lnTo>
                    <a:pt x="869" y="929"/>
                  </a:lnTo>
                  <a:lnTo>
                    <a:pt x="869" y="929"/>
                  </a:lnTo>
                  <a:lnTo>
                    <a:pt x="869" y="929"/>
                  </a:lnTo>
                  <a:cubicBezTo>
                    <a:pt x="859" y="929"/>
                    <a:pt x="850" y="936"/>
                    <a:pt x="846" y="945"/>
                  </a:cubicBezTo>
                  <a:moveTo>
                    <a:pt x="861" y="959"/>
                  </a:moveTo>
                  <a:cubicBezTo>
                    <a:pt x="861" y="961"/>
                    <a:pt x="860" y="964"/>
                    <a:pt x="860" y="966"/>
                  </a:cubicBezTo>
                  <a:moveTo>
                    <a:pt x="856" y="808"/>
                  </a:moveTo>
                  <a:lnTo>
                    <a:pt x="845" y="808"/>
                  </a:lnTo>
                  <a:lnTo>
                    <a:pt x="845" y="808"/>
                  </a:lnTo>
                  <a:lnTo>
                    <a:pt x="845" y="808"/>
                  </a:lnTo>
                  <a:lnTo>
                    <a:pt x="845" y="808"/>
                  </a:lnTo>
                  <a:lnTo>
                    <a:pt x="822" y="808"/>
                  </a:lnTo>
                  <a:cubicBezTo>
                    <a:pt x="824" y="806"/>
                    <a:pt x="825" y="803"/>
                    <a:pt x="827" y="800"/>
                  </a:cubicBezTo>
                  <a:lnTo>
                    <a:pt x="846" y="800"/>
                  </a:lnTo>
                  <a:lnTo>
                    <a:pt x="846" y="800"/>
                  </a:lnTo>
                  <a:lnTo>
                    <a:pt x="846" y="800"/>
                  </a:lnTo>
                  <a:lnTo>
                    <a:pt x="846" y="800"/>
                  </a:lnTo>
                  <a:cubicBezTo>
                    <a:pt x="850" y="790"/>
                    <a:pt x="859" y="784"/>
                    <a:pt x="870" y="784"/>
                  </a:cubicBezTo>
                  <a:cubicBezTo>
                    <a:pt x="872" y="784"/>
                    <a:pt x="874" y="784"/>
                    <a:pt x="876" y="784"/>
                  </a:cubicBezTo>
                  <a:cubicBezTo>
                    <a:pt x="885" y="774"/>
                    <a:pt x="895" y="765"/>
                    <a:pt x="906" y="756"/>
                  </a:cubicBezTo>
                  <a:lnTo>
                    <a:pt x="852" y="756"/>
                  </a:lnTo>
                  <a:lnTo>
                    <a:pt x="852" y="756"/>
                  </a:lnTo>
                  <a:lnTo>
                    <a:pt x="852" y="756"/>
                  </a:lnTo>
                  <a:lnTo>
                    <a:pt x="814" y="756"/>
                  </a:lnTo>
                  <a:cubicBezTo>
                    <a:pt x="801" y="770"/>
                    <a:pt x="790" y="785"/>
                    <a:pt x="779" y="800"/>
                  </a:cubicBezTo>
                  <a:lnTo>
                    <a:pt x="827" y="800"/>
                  </a:lnTo>
                  <a:cubicBezTo>
                    <a:pt x="825" y="803"/>
                    <a:pt x="824" y="806"/>
                    <a:pt x="822" y="808"/>
                  </a:cubicBezTo>
                  <a:lnTo>
                    <a:pt x="822" y="808"/>
                  </a:lnTo>
                  <a:lnTo>
                    <a:pt x="773" y="808"/>
                  </a:lnTo>
                  <a:cubicBezTo>
                    <a:pt x="759" y="831"/>
                    <a:pt x="746" y="855"/>
                    <a:pt x="737" y="879"/>
                  </a:cubicBezTo>
                  <a:lnTo>
                    <a:pt x="794" y="879"/>
                  </a:lnTo>
                  <a:lnTo>
                    <a:pt x="793" y="880"/>
                  </a:lnTo>
                  <a:lnTo>
                    <a:pt x="794" y="879"/>
                  </a:lnTo>
                  <a:lnTo>
                    <a:pt x="813" y="879"/>
                  </a:lnTo>
                  <a:cubicBezTo>
                    <a:pt x="823" y="858"/>
                    <a:pt x="834" y="838"/>
                    <a:pt x="847" y="820"/>
                  </a:cubicBezTo>
                  <a:cubicBezTo>
                    <a:pt x="846" y="817"/>
                    <a:pt x="845" y="813"/>
                    <a:pt x="845" y="809"/>
                  </a:cubicBezTo>
                  <a:cubicBezTo>
                    <a:pt x="845" y="809"/>
                    <a:pt x="845" y="809"/>
                    <a:pt x="845" y="808"/>
                  </a:cubicBezTo>
                  <a:lnTo>
                    <a:pt x="856" y="808"/>
                  </a:lnTo>
                  <a:close/>
                  <a:moveTo>
                    <a:pt x="749" y="756"/>
                  </a:moveTo>
                  <a:lnTo>
                    <a:pt x="700" y="756"/>
                  </a:lnTo>
                  <a:cubicBezTo>
                    <a:pt x="691" y="770"/>
                    <a:pt x="683" y="785"/>
                    <a:pt x="675" y="800"/>
                  </a:cubicBezTo>
                  <a:lnTo>
                    <a:pt x="719" y="800"/>
                  </a:lnTo>
                  <a:cubicBezTo>
                    <a:pt x="728" y="785"/>
                    <a:pt x="738" y="770"/>
                    <a:pt x="749" y="756"/>
                  </a:cubicBezTo>
                  <a:close/>
                  <a:moveTo>
                    <a:pt x="647" y="746"/>
                  </a:moveTo>
                  <a:lnTo>
                    <a:pt x="483" y="577"/>
                  </a:lnTo>
                  <a:cubicBezTo>
                    <a:pt x="466" y="601"/>
                    <a:pt x="450" y="625"/>
                    <a:pt x="436" y="651"/>
                  </a:cubicBezTo>
                  <a:lnTo>
                    <a:pt x="485" y="708"/>
                  </a:lnTo>
                  <a:lnTo>
                    <a:pt x="547" y="708"/>
                  </a:lnTo>
                  <a:lnTo>
                    <a:pt x="621" y="796"/>
                  </a:lnTo>
                  <a:cubicBezTo>
                    <a:pt x="629" y="779"/>
                    <a:pt x="638" y="762"/>
                    <a:pt x="647" y="746"/>
                  </a:cubicBezTo>
                  <a:close/>
                  <a:moveTo>
                    <a:pt x="488" y="569"/>
                  </a:moveTo>
                  <a:lnTo>
                    <a:pt x="652" y="738"/>
                  </a:lnTo>
                  <a:cubicBezTo>
                    <a:pt x="666" y="714"/>
                    <a:pt x="683" y="691"/>
                    <a:pt x="701" y="670"/>
                  </a:cubicBezTo>
                  <a:lnTo>
                    <a:pt x="540" y="503"/>
                  </a:lnTo>
                  <a:cubicBezTo>
                    <a:pt x="522" y="524"/>
                    <a:pt x="504" y="546"/>
                    <a:pt x="488" y="569"/>
                  </a:cubicBezTo>
                  <a:close/>
                  <a:moveTo>
                    <a:pt x="706" y="747"/>
                  </a:moveTo>
                  <a:lnTo>
                    <a:pt x="755" y="747"/>
                  </a:lnTo>
                  <a:cubicBezTo>
                    <a:pt x="774" y="723"/>
                    <a:pt x="795" y="701"/>
                    <a:pt x="820" y="681"/>
                  </a:cubicBezTo>
                  <a:lnTo>
                    <a:pt x="852" y="720"/>
                  </a:lnTo>
                  <a:cubicBezTo>
                    <a:pt x="842" y="728"/>
                    <a:pt x="832" y="738"/>
                    <a:pt x="823" y="747"/>
                  </a:cubicBezTo>
                  <a:lnTo>
                    <a:pt x="857" y="747"/>
                  </a:lnTo>
                  <a:lnTo>
                    <a:pt x="857" y="747"/>
                  </a:lnTo>
                  <a:lnTo>
                    <a:pt x="916" y="747"/>
                  </a:lnTo>
                  <a:cubicBezTo>
                    <a:pt x="919" y="745"/>
                    <a:pt x="921" y="743"/>
                    <a:pt x="924" y="741"/>
                  </a:cubicBezTo>
                  <a:cubicBezTo>
                    <a:pt x="980" y="699"/>
                    <a:pt x="1048" y="673"/>
                    <a:pt x="1122" y="670"/>
                  </a:cubicBezTo>
                  <a:cubicBezTo>
                    <a:pt x="1123" y="669"/>
                    <a:pt x="1123" y="669"/>
                    <a:pt x="1123" y="668"/>
                  </a:cubicBezTo>
                  <a:lnTo>
                    <a:pt x="1126" y="670"/>
                  </a:lnTo>
                  <a:lnTo>
                    <a:pt x="1126" y="670"/>
                  </a:lnTo>
                  <a:lnTo>
                    <a:pt x="1123" y="668"/>
                  </a:lnTo>
                  <a:cubicBezTo>
                    <a:pt x="1124" y="667"/>
                    <a:pt x="1124" y="666"/>
                    <a:pt x="1125" y="664"/>
                  </a:cubicBezTo>
                  <a:cubicBezTo>
                    <a:pt x="1124" y="666"/>
                    <a:pt x="1124" y="667"/>
                    <a:pt x="1123" y="668"/>
                  </a:cubicBezTo>
                  <a:lnTo>
                    <a:pt x="1123" y="668"/>
                  </a:lnTo>
                  <a:lnTo>
                    <a:pt x="1083" y="637"/>
                  </a:lnTo>
                  <a:lnTo>
                    <a:pt x="1020" y="637"/>
                  </a:lnTo>
                  <a:cubicBezTo>
                    <a:pt x="1018" y="638"/>
                    <a:pt x="1017" y="638"/>
                    <a:pt x="1015" y="639"/>
                  </a:cubicBezTo>
                  <a:lnTo>
                    <a:pt x="1014" y="637"/>
                  </a:lnTo>
                  <a:lnTo>
                    <a:pt x="805" y="637"/>
                  </a:lnTo>
                  <a:cubicBezTo>
                    <a:pt x="793" y="647"/>
                    <a:pt x="782" y="657"/>
                    <a:pt x="771" y="668"/>
                  </a:cubicBezTo>
                  <a:lnTo>
                    <a:pt x="846" y="668"/>
                  </a:lnTo>
                  <a:cubicBezTo>
                    <a:pt x="850" y="659"/>
                    <a:pt x="859" y="652"/>
                    <a:pt x="870" y="652"/>
                  </a:cubicBezTo>
                  <a:cubicBezTo>
                    <a:pt x="884" y="652"/>
                    <a:pt x="895" y="663"/>
                    <a:pt x="895" y="677"/>
                  </a:cubicBezTo>
                  <a:cubicBezTo>
                    <a:pt x="895" y="691"/>
                    <a:pt x="884" y="702"/>
                    <a:pt x="870" y="702"/>
                  </a:cubicBezTo>
                  <a:lnTo>
                    <a:pt x="870" y="702"/>
                  </a:lnTo>
                  <a:cubicBezTo>
                    <a:pt x="856" y="702"/>
                    <a:pt x="845" y="691"/>
                    <a:pt x="845" y="677"/>
                  </a:cubicBezTo>
                  <a:lnTo>
                    <a:pt x="845" y="677"/>
                  </a:lnTo>
                  <a:lnTo>
                    <a:pt x="845" y="677"/>
                  </a:lnTo>
                  <a:lnTo>
                    <a:pt x="845" y="677"/>
                  </a:lnTo>
                  <a:lnTo>
                    <a:pt x="763" y="677"/>
                  </a:lnTo>
                  <a:cubicBezTo>
                    <a:pt x="742" y="698"/>
                    <a:pt x="723" y="722"/>
                    <a:pt x="706" y="747"/>
                  </a:cubicBezTo>
                  <a:close/>
                  <a:moveTo>
                    <a:pt x="883" y="888"/>
                  </a:moveTo>
                  <a:lnTo>
                    <a:pt x="865" y="888"/>
                  </a:lnTo>
                  <a:cubicBezTo>
                    <a:pt x="857" y="904"/>
                    <a:pt x="850" y="922"/>
                    <a:pt x="845" y="940"/>
                  </a:cubicBezTo>
                  <a:lnTo>
                    <a:pt x="796" y="926"/>
                  </a:lnTo>
                  <a:cubicBezTo>
                    <a:pt x="800" y="913"/>
                    <a:pt x="804" y="900"/>
                    <a:pt x="810" y="888"/>
                  </a:cubicBezTo>
                  <a:lnTo>
                    <a:pt x="791" y="888"/>
                  </a:lnTo>
                  <a:lnTo>
                    <a:pt x="791" y="888"/>
                  </a:lnTo>
                  <a:lnTo>
                    <a:pt x="733" y="888"/>
                  </a:lnTo>
                  <a:cubicBezTo>
                    <a:pt x="726" y="906"/>
                    <a:pt x="721" y="925"/>
                    <a:pt x="717" y="945"/>
                  </a:cubicBezTo>
                  <a:cubicBezTo>
                    <a:pt x="716" y="948"/>
                    <a:pt x="715" y="951"/>
                    <a:pt x="715" y="954"/>
                  </a:cubicBezTo>
                  <a:cubicBezTo>
                    <a:pt x="713" y="961"/>
                    <a:pt x="712" y="968"/>
                    <a:pt x="711" y="976"/>
                  </a:cubicBezTo>
                  <a:cubicBezTo>
                    <a:pt x="710" y="987"/>
                    <a:pt x="708" y="999"/>
                    <a:pt x="708" y="1011"/>
                  </a:cubicBezTo>
                  <a:lnTo>
                    <a:pt x="942" y="1011"/>
                  </a:lnTo>
                  <a:lnTo>
                    <a:pt x="965" y="1033"/>
                  </a:lnTo>
                  <a:lnTo>
                    <a:pt x="965" y="1033"/>
                  </a:lnTo>
                  <a:cubicBezTo>
                    <a:pt x="965" y="985"/>
                    <a:pt x="984" y="942"/>
                    <a:pt x="1015" y="911"/>
                  </a:cubicBezTo>
                  <a:cubicBezTo>
                    <a:pt x="1024" y="902"/>
                    <a:pt x="1034" y="894"/>
                    <a:pt x="1044" y="888"/>
                  </a:cubicBezTo>
                  <a:lnTo>
                    <a:pt x="883" y="888"/>
                  </a:lnTo>
                  <a:cubicBezTo>
                    <a:pt x="884" y="885"/>
                    <a:pt x="885" y="882"/>
                    <a:pt x="886" y="879"/>
                  </a:cubicBezTo>
                  <a:cubicBezTo>
                    <a:pt x="885" y="882"/>
                    <a:pt x="884" y="885"/>
                    <a:pt x="883" y="888"/>
                  </a:cubicBezTo>
                  <a:close/>
                  <a:moveTo>
                    <a:pt x="680" y="888"/>
                  </a:moveTo>
                  <a:lnTo>
                    <a:pt x="457" y="888"/>
                  </a:lnTo>
                  <a:lnTo>
                    <a:pt x="379" y="816"/>
                  </a:lnTo>
                  <a:lnTo>
                    <a:pt x="379" y="785"/>
                  </a:lnTo>
                  <a:cubicBezTo>
                    <a:pt x="372" y="804"/>
                    <a:pt x="367" y="823"/>
                    <a:pt x="362" y="843"/>
                  </a:cubicBezTo>
                  <a:cubicBezTo>
                    <a:pt x="361" y="846"/>
                    <a:pt x="361" y="849"/>
                    <a:pt x="360" y="852"/>
                  </a:cubicBezTo>
                  <a:cubicBezTo>
                    <a:pt x="351" y="889"/>
                    <a:pt x="345" y="927"/>
                    <a:pt x="342" y="966"/>
                  </a:cubicBezTo>
                  <a:lnTo>
                    <a:pt x="393" y="1011"/>
                  </a:lnTo>
                  <a:lnTo>
                    <a:pt x="569" y="1011"/>
                  </a:lnTo>
                  <a:cubicBezTo>
                    <a:pt x="570" y="1004"/>
                    <a:pt x="570" y="998"/>
                    <a:pt x="571" y="992"/>
                  </a:cubicBezTo>
                  <a:lnTo>
                    <a:pt x="621" y="995"/>
                  </a:lnTo>
                  <a:cubicBezTo>
                    <a:pt x="621" y="1000"/>
                    <a:pt x="620" y="1006"/>
                    <a:pt x="620" y="1011"/>
                  </a:cubicBezTo>
                  <a:lnTo>
                    <a:pt x="657" y="1011"/>
                  </a:lnTo>
                  <a:cubicBezTo>
                    <a:pt x="658" y="997"/>
                    <a:pt x="659" y="983"/>
                    <a:pt x="661" y="969"/>
                  </a:cubicBezTo>
                  <a:cubicBezTo>
                    <a:pt x="662" y="964"/>
                    <a:pt x="662" y="959"/>
                    <a:pt x="663" y="954"/>
                  </a:cubicBezTo>
                  <a:cubicBezTo>
                    <a:pt x="664" y="951"/>
                    <a:pt x="664" y="948"/>
                    <a:pt x="665" y="945"/>
                  </a:cubicBezTo>
                  <a:cubicBezTo>
                    <a:pt x="669" y="925"/>
                    <a:pt x="673" y="906"/>
                    <a:pt x="680" y="888"/>
                  </a:cubicBezTo>
                  <a:close/>
                  <a:moveTo>
                    <a:pt x="387" y="760"/>
                  </a:moveTo>
                  <a:lnTo>
                    <a:pt x="387" y="812"/>
                  </a:lnTo>
                  <a:lnTo>
                    <a:pt x="461" y="879"/>
                  </a:lnTo>
                  <a:lnTo>
                    <a:pt x="683" y="879"/>
                  </a:lnTo>
                  <a:cubicBezTo>
                    <a:pt x="691" y="855"/>
                    <a:pt x="702" y="831"/>
                    <a:pt x="714" y="808"/>
                  </a:cubicBezTo>
                  <a:lnTo>
                    <a:pt x="671" y="808"/>
                  </a:lnTo>
                  <a:cubicBezTo>
                    <a:pt x="667" y="816"/>
                    <a:pt x="663" y="824"/>
                    <a:pt x="660" y="833"/>
                  </a:cubicBezTo>
                  <a:lnTo>
                    <a:pt x="613" y="813"/>
                  </a:lnTo>
                  <a:cubicBezTo>
                    <a:pt x="614" y="810"/>
                    <a:pt x="616" y="807"/>
                    <a:pt x="617" y="805"/>
                  </a:cubicBezTo>
                  <a:lnTo>
                    <a:pt x="543" y="716"/>
                  </a:lnTo>
                  <a:lnTo>
                    <a:pt x="481" y="716"/>
                  </a:lnTo>
                  <a:lnTo>
                    <a:pt x="432" y="659"/>
                  </a:lnTo>
                  <a:cubicBezTo>
                    <a:pt x="415" y="692"/>
                    <a:pt x="400" y="725"/>
                    <a:pt x="387" y="760"/>
                  </a:cubicBezTo>
                  <a:close/>
                  <a:moveTo>
                    <a:pt x="1553" y="587"/>
                  </a:moveTo>
                  <a:cubicBezTo>
                    <a:pt x="1539" y="587"/>
                    <a:pt x="1528" y="575"/>
                    <a:pt x="1528" y="561"/>
                  </a:cubicBezTo>
                  <a:cubicBezTo>
                    <a:pt x="1528" y="547"/>
                    <a:pt x="1539" y="536"/>
                    <a:pt x="1553" y="536"/>
                  </a:cubicBezTo>
                  <a:cubicBezTo>
                    <a:pt x="1564" y="536"/>
                    <a:pt x="1573" y="543"/>
                    <a:pt x="1576" y="552"/>
                  </a:cubicBezTo>
                  <a:lnTo>
                    <a:pt x="1622" y="552"/>
                  </a:lnTo>
                  <a:lnTo>
                    <a:pt x="1630" y="543"/>
                  </a:lnTo>
                  <a:lnTo>
                    <a:pt x="1630" y="543"/>
                  </a:lnTo>
                  <a:lnTo>
                    <a:pt x="1699" y="467"/>
                  </a:lnTo>
                  <a:cubicBezTo>
                    <a:pt x="1683" y="451"/>
                    <a:pt x="1666" y="436"/>
                    <a:pt x="1648" y="421"/>
                  </a:cubicBezTo>
                  <a:lnTo>
                    <a:pt x="1584" y="482"/>
                  </a:lnTo>
                  <a:lnTo>
                    <a:pt x="1475" y="482"/>
                  </a:lnTo>
                  <a:lnTo>
                    <a:pt x="1470" y="486"/>
                  </a:lnTo>
                  <a:cubicBezTo>
                    <a:pt x="1467" y="486"/>
                    <a:pt x="1463" y="485"/>
                    <a:pt x="1460" y="484"/>
                  </a:cubicBezTo>
                  <a:lnTo>
                    <a:pt x="1472" y="473"/>
                  </a:lnTo>
                  <a:lnTo>
                    <a:pt x="1581" y="473"/>
                  </a:lnTo>
                  <a:lnTo>
                    <a:pt x="1641" y="415"/>
                  </a:lnTo>
                  <a:cubicBezTo>
                    <a:pt x="1577" y="363"/>
                    <a:pt x="1504" y="320"/>
                    <a:pt x="1425" y="289"/>
                  </a:cubicBezTo>
                  <a:cubicBezTo>
                    <a:pt x="1421" y="294"/>
                    <a:pt x="1415" y="296"/>
                    <a:pt x="1408" y="296"/>
                  </a:cubicBezTo>
                  <a:lnTo>
                    <a:pt x="1408" y="296"/>
                  </a:lnTo>
                  <a:cubicBezTo>
                    <a:pt x="1395" y="296"/>
                    <a:pt x="1384" y="287"/>
                    <a:pt x="1383" y="274"/>
                  </a:cubicBezTo>
                  <a:cubicBezTo>
                    <a:pt x="1305" y="249"/>
                    <a:pt x="1223" y="235"/>
                    <a:pt x="1137" y="235"/>
                  </a:cubicBezTo>
                  <a:cubicBezTo>
                    <a:pt x="1097" y="235"/>
                    <a:pt x="1059" y="238"/>
                    <a:pt x="1021" y="244"/>
                  </a:cubicBezTo>
                  <a:cubicBezTo>
                    <a:pt x="1021" y="244"/>
                    <a:pt x="1022" y="244"/>
                    <a:pt x="1023" y="244"/>
                  </a:cubicBezTo>
                  <a:lnTo>
                    <a:pt x="1023" y="245"/>
                  </a:lnTo>
                  <a:lnTo>
                    <a:pt x="1023" y="244"/>
                  </a:lnTo>
                  <a:cubicBezTo>
                    <a:pt x="1033" y="248"/>
                    <a:pt x="1040" y="257"/>
                    <a:pt x="1040" y="268"/>
                  </a:cubicBezTo>
                  <a:cubicBezTo>
                    <a:pt x="1040" y="282"/>
                    <a:pt x="1029" y="294"/>
                    <a:pt x="1015" y="294"/>
                  </a:cubicBezTo>
                  <a:lnTo>
                    <a:pt x="1015" y="294"/>
                  </a:lnTo>
                  <a:cubicBezTo>
                    <a:pt x="1001" y="294"/>
                    <a:pt x="990" y="282"/>
                    <a:pt x="990" y="268"/>
                  </a:cubicBezTo>
                  <a:cubicBezTo>
                    <a:pt x="990" y="265"/>
                    <a:pt x="991" y="261"/>
                    <a:pt x="992" y="258"/>
                  </a:cubicBezTo>
                  <a:lnTo>
                    <a:pt x="997" y="256"/>
                  </a:lnTo>
                  <a:lnTo>
                    <a:pt x="992" y="258"/>
                  </a:lnTo>
                  <a:cubicBezTo>
                    <a:pt x="994" y="253"/>
                    <a:pt x="998" y="249"/>
                    <a:pt x="1002" y="247"/>
                  </a:cubicBezTo>
                  <a:cubicBezTo>
                    <a:pt x="909" y="263"/>
                    <a:pt x="822" y="294"/>
                    <a:pt x="743" y="339"/>
                  </a:cubicBezTo>
                  <a:lnTo>
                    <a:pt x="743" y="376"/>
                  </a:lnTo>
                  <a:lnTo>
                    <a:pt x="769" y="401"/>
                  </a:lnTo>
                  <a:lnTo>
                    <a:pt x="769" y="401"/>
                  </a:lnTo>
                  <a:lnTo>
                    <a:pt x="769" y="401"/>
                  </a:lnTo>
                  <a:lnTo>
                    <a:pt x="826" y="455"/>
                  </a:lnTo>
                  <a:lnTo>
                    <a:pt x="826" y="455"/>
                  </a:lnTo>
                  <a:lnTo>
                    <a:pt x="842" y="470"/>
                  </a:lnTo>
                  <a:lnTo>
                    <a:pt x="951" y="470"/>
                  </a:lnTo>
                  <a:lnTo>
                    <a:pt x="972" y="490"/>
                  </a:lnTo>
                  <a:cubicBezTo>
                    <a:pt x="1024" y="474"/>
                    <a:pt x="1079" y="465"/>
                    <a:pt x="1137" y="465"/>
                  </a:cubicBezTo>
                  <a:cubicBezTo>
                    <a:pt x="1195" y="465"/>
                    <a:pt x="1250" y="474"/>
                    <a:pt x="1303" y="490"/>
                  </a:cubicBezTo>
                  <a:cubicBezTo>
                    <a:pt x="1332" y="499"/>
                    <a:pt x="1359" y="510"/>
                    <a:pt x="1386" y="523"/>
                  </a:cubicBezTo>
                  <a:cubicBezTo>
                    <a:pt x="1390" y="515"/>
                    <a:pt x="1398" y="510"/>
                    <a:pt x="1408" y="510"/>
                  </a:cubicBezTo>
                  <a:cubicBezTo>
                    <a:pt x="1415" y="510"/>
                    <a:pt x="1421" y="512"/>
                    <a:pt x="1426" y="517"/>
                  </a:cubicBezTo>
                  <a:lnTo>
                    <a:pt x="1460" y="484"/>
                  </a:lnTo>
                  <a:cubicBezTo>
                    <a:pt x="1463" y="485"/>
                    <a:pt x="1467" y="486"/>
                    <a:pt x="1470" y="486"/>
                  </a:cubicBezTo>
                  <a:lnTo>
                    <a:pt x="1431" y="524"/>
                  </a:lnTo>
                  <a:lnTo>
                    <a:pt x="1431" y="524"/>
                  </a:lnTo>
                  <a:cubicBezTo>
                    <a:pt x="1432" y="528"/>
                    <a:pt x="1433" y="531"/>
                    <a:pt x="1433" y="535"/>
                  </a:cubicBezTo>
                  <a:cubicBezTo>
                    <a:pt x="1433" y="539"/>
                    <a:pt x="1432" y="543"/>
                    <a:pt x="1430" y="547"/>
                  </a:cubicBezTo>
                  <a:cubicBezTo>
                    <a:pt x="1439" y="552"/>
                    <a:pt x="1447" y="558"/>
                    <a:pt x="1455" y="563"/>
                  </a:cubicBezTo>
                  <a:lnTo>
                    <a:pt x="1427" y="605"/>
                  </a:lnTo>
                  <a:cubicBezTo>
                    <a:pt x="1385" y="576"/>
                    <a:pt x="1338" y="554"/>
                    <a:pt x="1288" y="538"/>
                  </a:cubicBezTo>
                  <a:cubicBezTo>
                    <a:pt x="1240" y="524"/>
                    <a:pt x="1189" y="516"/>
                    <a:pt x="1137" y="516"/>
                  </a:cubicBezTo>
                  <a:cubicBezTo>
                    <a:pt x="1103" y="516"/>
                    <a:pt x="1071" y="519"/>
                    <a:pt x="1039" y="525"/>
                  </a:cubicBezTo>
                  <a:cubicBezTo>
                    <a:pt x="1040" y="528"/>
                    <a:pt x="1040" y="530"/>
                    <a:pt x="1040" y="532"/>
                  </a:cubicBezTo>
                  <a:cubicBezTo>
                    <a:pt x="1040" y="546"/>
                    <a:pt x="1029" y="557"/>
                    <a:pt x="1015" y="557"/>
                  </a:cubicBezTo>
                  <a:lnTo>
                    <a:pt x="1015" y="557"/>
                  </a:lnTo>
                  <a:cubicBezTo>
                    <a:pt x="1003" y="557"/>
                    <a:pt x="993" y="549"/>
                    <a:pt x="990" y="537"/>
                  </a:cubicBezTo>
                  <a:cubicBezTo>
                    <a:pt x="940" y="552"/>
                    <a:pt x="894" y="574"/>
                    <a:pt x="851" y="603"/>
                  </a:cubicBezTo>
                  <a:cubicBezTo>
                    <a:pt x="839" y="611"/>
                    <a:pt x="827" y="619"/>
                    <a:pt x="816" y="628"/>
                  </a:cubicBezTo>
                  <a:lnTo>
                    <a:pt x="1011" y="628"/>
                  </a:lnTo>
                  <a:lnTo>
                    <a:pt x="998" y="591"/>
                  </a:lnTo>
                  <a:cubicBezTo>
                    <a:pt x="1022" y="583"/>
                    <a:pt x="1047" y="576"/>
                    <a:pt x="1073" y="572"/>
                  </a:cubicBezTo>
                  <a:cubicBezTo>
                    <a:pt x="1098" y="567"/>
                    <a:pt x="1124" y="565"/>
                    <a:pt x="1150" y="565"/>
                  </a:cubicBezTo>
                  <a:cubicBezTo>
                    <a:pt x="1236" y="565"/>
                    <a:pt x="1317" y="589"/>
                    <a:pt x="1386" y="631"/>
                  </a:cubicBezTo>
                  <a:lnTo>
                    <a:pt x="1610" y="631"/>
                  </a:lnTo>
                  <a:lnTo>
                    <a:pt x="1610" y="631"/>
                  </a:lnTo>
                  <a:lnTo>
                    <a:pt x="1640" y="631"/>
                  </a:lnTo>
                  <a:lnTo>
                    <a:pt x="1692" y="581"/>
                  </a:lnTo>
                  <a:lnTo>
                    <a:pt x="1692" y="581"/>
                  </a:lnTo>
                  <a:lnTo>
                    <a:pt x="1750" y="524"/>
                  </a:lnTo>
                  <a:cubicBezTo>
                    <a:pt x="1736" y="506"/>
                    <a:pt x="1721" y="490"/>
                    <a:pt x="1705" y="473"/>
                  </a:cubicBezTo>
                  <a:lnTo>
                    <a:pt x="1638" y="547"/>
                  </a:lnTo>
                  <a:lnTo>
                    <a:pt x="1638" y="547"/>
                  </a:lnTo>
                  <a:lnTo>
                    <a:pt x="1626" y="561"/>
                  </a:lnTo>
                  <a:lnTo>
                    <a:pt x="1626" y="561"/>
                  </a:lnTo>
                  <a:lnTo>
                    <a:pt x="1578" y="561"/>
                  </a:lnTo>
                  <a:lnTo>
                    <a:pt x="1578" y="560"/>
                  </a:lnTo>
                  <a:lnTo>
                    <a:pt x="1578" y="561"/>
                  </a:lnTo>
                  <a:cubicBezTo>
                    <a:pt x="1578" y="561"/>
                    <a:pt x="1578" y="561"/>
                    <a:pt x="1578" y="561"/>
                  </a:cubicBezTo>
                  <a:cubicBezTo>
                    <a:pt x="1578" y="575"/>
                    <a:pt x="1567" y="587"/>
                    <a:pt x="1553" y="587"/>
                  </a:cubicBezTo>
                  <a:close/>
                  <a:moveTo>
                    <a:pt x="1578" y="555"/>
                  </a:moveTo>
                  <a:cubicBezTo>
                    <a:pt x="1578" y="557"/>
                    <a:pt x="1578" y="559"/>
                    <a:pt x="1578" y="560"/>
                  </a:cubicBezTo>
                  <a:cubicBezTo>
                    <a:pt x="1578" y="559"/>
                    <a:pt x="1578" y="557"/>
                    <a:pt x="1578" y="555"/>
                  </a:cubicBezTo>
                  <a:close/>
                  <a:moveTo>
                    <a:pt x="1426" y="518"/>
                  </a:moveTo>
                  <a:cubicBezTo>
                    <a:pt x="1428" y="519"/>
                    <a:pt x="1429" y="521"/>
                    <a:pt x="1430" y="523"/>
                  </a:cubicBezTo>
                  <a:cubicBezTo>
                    <a:pt x="1429" y="521"/>
                    <a:pt x="1428" y="519"/>
                    <a:pt x="1426" y="518"/>
                  </a:cubicBezTo>
                  <a:close/>
                  <a:moveTo>
                    <a:pt x="563" y="1237"/>
                  </a:moveTo>
                  <a:lnTo>
                    <a:pt x="564" y="1240"/>
                  </a:lnTo>
                  <a:cubicBezTo>
                    <a:pt x="563" y="1239"/>
                    <a:pt x="563" y="1238"/>
                    <a:pt x="563" y="1237"/>
                  </a:cubicBezTo>
                  <a:close/>
                  <a:moveTo>
                    <a:pt x="490" y="1269"/>
                  </a:moveTo>
                  <a:cubicBezTo>
                    <a:pt x="490" y="1267"/>
                    <a:pt x="489" y="1265"/>
                    <a:pt x="489" y="1263"/>
                  </a:cubicBezTo>
                  <a:cubicBezTo>
                    <a:pt x="489" y="1265"/>
                    <a:pt x="490" y="1267"/>
                    <a:pt x="490" y="1269"/>
                  </a:cubicBezTo>
                  <a:close/>
                  <a:moveTo>
                    <a:pt x="1020" y="270"/>
                  </a:moveTo>
                  <a:lnTo>
                    <a:pt x="1011" y="270"/>
                  </a:lnTo>
                  <a:lnTo>
                    <a:pt x="1011" y="249"/>
                  </a:lnTo>
                  <a:lnTo>
                    <a:pt x="1011" y="249"/>
                  </a:lnTo>
                  <a:lnTo>
                    <a:pt x="1011" y="270"/>
                  </a:lnTo>
                  <a:lnTo>
                    <a:pt x="1020" y="270"/>
                  </a:lnTo>
                  <a:close/>
                  <a:moveTo>
                    <a:pt x="1019" y="246"/>
                  </a:moveTo>
                  <a:lnTo>
                    <a:pt x="1020" y="246"/>
                  </a:lnTo>
                  <a:lnTo>
                    <a:pt x="1020" y="246"/>
                  </a:lnTo>
                  <a:lnTo>
                    <a:pt x="1019" y="246"/>
                  </a:lnTo>
                  <a:close/>
                  <a:moveTo>
                    <a:pt x="1020" y="244"/>
                  </a:moveTo>
                  <a:lnTo>
                    <a:pt x="1020" y="246"/>
                  </a:lnTo>
                  <a:lnTo>
                    <a:pt x="1020" y="246"/>
                  </a:lnTo>
                  <a:lnTo>
                    <a:pt x="1020" y="244"/>
                  </a:lnTo>
                  <a:close/>
                  <a:moveTo>
                    <a:pt x="819" y="460"/>
                  </a:moveTo>
                  <a:lnTo>
                    <a:pt x="763" y="407"/>
                  </a:lnTo>
                  <a:lnTo>
                    <a:pt x="765" y="405"/>
                  </a:lnTo>
                  <a:cubicBezTo>
                    <a:pt x="764" y="405"/>
                    <a:pt x="764" y="406"/>
                    <a:pt x="763" y="407"/>
                  </a:cubicBezTo>
                  <a:lnTo>
                    <a:pt x="763" y="407"/>
                  </a:lnTo>
                  <a:lnTo>
                    <a:pt x="735" y="380"/>
                  </a:lnTo>
                  <a:lnTo>
                    <a:pt x="735" y="344"/>
                  </a:lnTo>
                  <a:cubicBezTo>
                    <a:pt x="715" y="356"/>
                    <a:pt x="696" y="368"/>
                    <a:pt x="677" y="381"/>
                  </a:cubicBezTo>
                  <a:lnTo>
                    <a:pt x="677" y="413"/>
                  </a:lnTo>
                  <a:lnTo>
                    <a:pt x="714" y="454"/>
                  </a:lnTo>
                  <a:lnTo>
                    <a:pt x="714" y="454"/>
                  </a:lnTo>
                  <a:lnTo>
                    <a:pt x="767" y="511"/>
                  </a:lnTo>
                  <a:cubicBezTo>
                    <a:pt x="765" y="513"/>
                    <a:pt x="764" y="514"/>
                    <a:pt x="763" y="516"/>
                  </a:cubicBezTo>
                  <a:lnTo>
                    <a:pt x="763" y="516"/>
                  </a:lnTo>
                  <a:cubicBezTo>
                    <a:pt x="764" y="514"/>
                    <a:pt x="765" y="513"/>
                    <a:pt x="767" y="511"/>
                  </a:cubicBezTo>
                  <a:lnTo>
                    <a:pt x="801" y="549"/>
                  </a:lnTo>
                  <a:lnTo>
                    <a:pt x="840" y="549"/>
                  </a:lnTo>
                  <a:cubicBezTo>
                    <a:pt x="843" y="548"/>
                    <a:pt x="846" y="546"/>
                    <a:pt x="849" y="544"/>
                  </a:cubicBezTo>
                  <a:cubicBezTo>
                    <a:pt x="853" y="538"/>
                    <a:pt x="860" y="534"/>
                    <a:pt x="868" y="533"/>
                  </a:cubicBezTo>
                  <a:cubicBezTo>
                    <a:pt x="898" y="517"/>
                    <a:pt x="930" y="504"/>
                    <a:pt x="962" y="493"/>
                  </a:cubicBezTo>
                  <a:lnTo>
                    <a:pt x="948" y="479"/>
                  </a:lnTo>
                  <a:lnTo>
                    <a:pt x="838" y="479"/>
                  </a:lnTo>
                  <a:lnTo>
                    <a:pt x="819" y="460"/>
                  </a:lnTo>
                  <a:lnTo>
                    <a:pt x="819" y="460"/>
                  </a:lnTo>
                  <a:close/>
                  <a:moveTo>
                    <a:pt x="759" y="512"/>
                  </a:moveTo>
                  <a:lnTo>
                    <a:pt x="737" y="492"/>
                  </a:lnTo>
                  <a:lnTo>
                    <a:pt x="708" y="460"/>
                  </a:lnTo>
                  <a:lnTo>
                    <a:pt x="708" y="460"/>
                  </a:lnTo>
                  <a:lnTo>
                    <a:pt x="708" y="460"/>
                  </a:lnTo>
                  <a:lnTo>
                    <a:pt x="669" y="416"/>
                  </a:lnTo>
                  <a:lnTo>
                    <a:pt x="669" y="387"/>
                  </a:lnTo>
                  <a:cubicBezTo>
                    <a:pt x="643" y="406"/>
                    <a:pt x="619" y="425"/>
                    <a:pt x="596" y="447"/>
                  </a:cubicBezTo>
                  <a:lnTo>
                    <a:pt x="761" y="608"/>
                  </a:lnTo>
                  <a:cubicBezTo>
                    <a:pt x="781" y="591"/>
                    <a:pt x="802" y="575"/>
                    <a:pt x="823" y="560"/>
                  </a:cubicBezTo>
                  <a:lnTo>
                    <a:pt x="827" y="558"/>
                  </a:lnTo>
                  <a:lnTo>
                    <a:pt x="797" y="558"/>
                  </a:lnTo>
                  <a:lnTo>
                    <a:pt x="737" y="492"/>
                  </a:lnTo>
                  <a:lnTo>
                    <a:pt x="759" y="512"/>
                  </a:lnTo>
                  <a:close/>
                  <a:moveTo>
                    <a:pt x="710" y="459"/>
                  </a:moveTo>
                  <a:cubicBezTo>
                    <a:pt x="711" y="457"/>
                    <a:pt x="712" y="456"/>
                    <a:pt x="713" y="455"/>
                  </a:cubicBezTo>
                  <a:cubicBezTo>
                    <a:pt x="712" y="456"/>
                    <a:pt x="711" y="457"/>
                    <a:pt x="710" y="459"/>
                  </a:cubicBezTo>
                  <a:close/>
                  <a:moveTo>
                    <a:pt x="1403" y="227"/>
                  </a:moveTo>
                  <a:lnTo>
                    <a:pt x="1403" y="88"/>
                  </a:lnTo>
                  <a:moveTo>
                    <a:pt x="1411" y="90"/>
                  </a:moveTo>
                  <a:lnTo>
                    <a:pt x="1411" y="230"/>
                  </a:lnTo>
                  <a:moveTo>
                    <a:pt x="845" y="1650"/>
                  </a:moveTo>
                  <a:cubicBezTo>
                    <a:pt x="845" y="1648"/>
                    <a:pt x="846" y="1646"/>
                    <a:pt x="846" y="1644"/>
                  </a:cubicBezTo>
                  <a:lnTo>
                    <a:pt x="877" y="1644"/>
                  </a:lnTo>
                  <a:lnTo>
                    <a:pt x="877" y="1652"/>
                  </a:lnTo>
                  <a:lnTo>
                    <a:pt x="877" y="1652"/>
                  </a:lnTo>
                  <a:lnTo>
                    <a:pt x="877" y="1644"/>
                  </a:lnTo>
                  <a:lnTo>
                    <a:pt x="846" y="1644"/>
                  </a:lnTo>
                  <a:cubicBezTo>
                    <a:pt x="850" y="1634"/>
                    <a:pt x="859" y="1627"/>
                    <a:pt x="870" y="1627"/>
                  </a:cubicBezTo>
                  <a:cubicBezTo>
                    <a:pt x="884" y="1627"/>
                    <a:pt x="895" y="1639"/>
                    <a:pt x="895" y="1653"/>
                  </a:cubicBezTo>
                  <a:cubicBezTo>
                    <a:pt x="895" y="1667"/>
                    <a:pt x="884" y="1678"/>
                    <a:pt x="870" y="1678"/>
                  </a:cubicBezTo>
                  <a:lnTo>
                    <a:pt x="870" y="1678"/>
                  </a:lnTo>
                  <a:cubicBezTo>
                    <a:pt x="856" y="1678"/>
                    <a:pt x="845" y="1667"/>
                    <a:pt x="845" y="1653"/>
                  </a:cubicBezTo>
                  <a:lnTo>
                    <a:pt x="845" y="1652"/>
                  </a:lnTo>
                  <a:lnTo>
                    <a:pt x="845" y="1652"/>
                  </a:lnTo>
                  <a:lnTo>
                    <a:pt x="794" y="1652"/>
                  </a:lnTo>
                  <a:cubicBezTo>
                    <a:pt x="791" y="1649"/>
                    <a:pt x="788" y="1647"/>
                    <a:pt x="785" y="1644"/>
                  </a:cubicBezTo>
                  <a:lnTo>
                    <a:pt x="846" y="1644"/>
                  </a:lnTo>
                  <a:cubicBezTo>
                    <a:pt x="845" y="1646"/>
                    <a:pt x="845" y="1648"/>
                    <a:pt x="845" y="1650"/>
                  </a:cubicBezTo>
                  <a:close/>
                  <a:moveTo>
                    <a:pt x="846" y="1077"/>
                  </a:moveTo>
                  <a:lnTo>
                    <a:pt x="877" y="1077"/>
                  </a:lnTo>
                  <a:lnTo>
                    <a:pt x="877" y="1085"/>
                  </a:lnTo>
                  <a:lnTo>
                    <a:pt x="877" y="1085"/>
                  </a:lnTo>
                  <a:lnTo>
                    <a:pt x="877" y="1077"/>
                  </a:lnTo>
                  <a:lnTo>
                    <a:pt x="846" y="1077"/>
                  </a:lnTo>
                  <a:close/>
                  <a:moveTo>
                    <a:pt x="341" y="1077"/>
                  </a:moveTo>
                  <a:lnTo>
                    <a:pt x="571" y="1077"/>
                  </a:lnTo>
                  <a:cubicBezTo>
                    <a:pt x="569" y="1058"/>
                    <a:pt x="569" y="1038"/>
                    <a:pt x="569" y="1019"/>
                  </a:cubicBezTo>
                  <a:lnTo>
                    <a:pt x="390" y="1019"/>
                  </a:lnTo>
                  <a:lnTo>
                    <a:pt x="341" y="977"/>
                  </a:lnTo>
                  <a:cubicBezTo>
                    <a:pt x="340" y="995"/>
                    <a:pt x="339" y="1014"/>
                    <a:pt x="339" y="1033"/>
                  </a:cubicBezTo>
                  <a:cubicBezTo>
                    <a:pt x="339" y="1047"/>
                    <a:pt x="340" y="1062"/>
                    <a:pt x="341" y="1077"/>
                  </a:cubicBezTo>
                  <a:close/>
                  <a:moveTo>
                    <a:pt x="622" y="1077"/>
                  </a:moveTo>
                  <a:lnTo>
                    <a:pt x="659" y="1077"/>
                  </a:lnTo>
                  <a:cubicBezTo>
                    <a:pt x="657" y="1058"/>
                    <a:pt x="656" y="1039"/>
                    <a:pt x="657" y="1019"/>
                  </a:cubicBezTo>
                  <a:lnTo>
                    <a:pt x="620" y="1019"/>
                  </a:lnTo>
                  <a:cubicBezTo>
                    <a:pt x="619" y="1038"/>
                    <a:pt x="620" y="1058"/>
                    <a:pt x="622" y="1077"/>
                  </a:cubicBezTo>
                  <a:close/>
                  <a:moveTo>
                    <a:pt x="1134" y="1230"/>
                  </a:moveTo>
                  <a:lnTo>
                    <a:pt x="1126" y="1222"/>
                  </a:lnTo>
                  <a:lnTo>
                    <a:pt x="1134" y="1230"/>
                  </a:lnTo>
                  <a:close/>
                  <a:moveTo>
                    <a:pt x="1124" y="1220"/>
                  </a:moveTo>
                  <a:lnTo>
                    <a:pt x="1124" y="1220"/>
                  </a:lnTo>
                  <a:cubicBezTo>
                    <a:pt x="1125" y="1217"/>
                    <a:pt x="1127" y="1215"/>
                    <a:pt x="1129" y="1212"/>
                  </a:cubicBezTo>
                  <a:lnTo>
                    <a:pt x="1129" y="1212"/>
                  </a:lnTo>
                  <a:cubicBezTo>
                    <a:pt x="1134" y="1208"/>
                    <a:pt x="1140" y="1206"/>
                    <a:pt x="1147" y="1206"/>
                  </a:cubicBezTo>
                  <a:cubicBezTo>
                    <a:pt x="1161" y="1206"/>
                    <a:pt x="1172" y="1217"/>
                    <a:pt x="1172" y="1231"/>
                  </a:cubicBezTo>
                  <a:cubicBezTo>
                    <a:pt x="1172" y="1245"/>
                    <a:pt x="1161" y="1256"/>
                    <a:pt x="1147" y="1256"/>
                  </a:cubicBezTo>
                  <a:lnTo>
                    <a:pt x="1147" y="1256"/>
                  </a:lnTo>
                  <a:cubicBezTo>
                    <a:pt x="1133" y="1256"/>
                    <a:pt x="1121" y="1245"/>
                    <a:pt x="1121" y="1231"/>
                  </a:cubicBezTo>
                  <a:cubicBezTo>
                    <a:pt x="1121" y="1227"/>
                    <a:pt x="1122" y="1223"/>
                    <a:pt x="1124" y="1220"/>
                  </a:cubicBezTo>
                  <a:close/>
                  <a:moveTo>
                    <a:pt x="1141" y="1225"/>
                  </a:moveTo>
                  <a:lnTo>
                    <a:pt x="1136" y="1228"/>
                  </a:lnTo>
                  <a:lnTo>
                    <a:pt x="1141" y="1225"/>
                  </a:lnTo>
                  <a:close/>
                  <a:moveTo>
                    <a:pt x="869" y="929"/>
                  </a:moveTo>
                  <a:lnTo>
                    <a:pt x="869" y="929"/>
                  </a:lnTo>
                  <a:cubicBezTo>
                    <a:pt x="869" y="929"/>
                    <a:pt x="870" y="929"/>
                    <a:pt x="870" y="929"/>
                  </a:cubicBezTo>
                  <a:cubicBezTo>
                    <a:pt x="884" y="929"/>
                    <a:pt x="895" y="940"/>
                    <a:pt x="895" y="954"/>
                  </a:cubicBezTo>
                  <a:cubicBezTo>
                    <a:pt x="895" y="968"/>
                    <a:pt x="884" y="979"/>
                    <a:pt x="870" y="979"/>
                  </a:cubicBezTo>
                  <a:lnTo>
                    <a:pt x="870" y="979"/>
                  </a:lnTo>
                  <a:cubicBezTo>
                    <a:pt x="859" y="979"/>
                    <a:pt x="850" y="973"/>
                    <a:pt x="846" y="964"/>
                  </a:cubicBezTo>
                  <a:lnTo>
                    <a:pt x="860" y="966"/>
                  </a:lnTo>
                  <a:cubicBezTo>
                    <a:pt x="860" y="964"/>
                    <a:pt x="861" y="961"/>
                    <a:pt x="861" y="959"/>
                  </a:cubicBezTo>
                  <a:moveTo>
                    <a:pt x="877" y="945"/>
                  </a:moveTo>
                  <a:lnTo>
                    <a:pt x="877" y="954"/>
                  </a:lnTo>
                  <a:lnTo>
                    <a:pt x="877" y="954"/>
                  </a:lnTo>
                  <a:lnTo>
                    <a:pt x="877" y="945"/>
                  </a:lnTo>
                  <a:close/>
                  <a:moveTo>
                    <a:pt x="546" y="497"/>
                  </a:moveTo>
                  <a:lnTo>
                    <a:pt x="706" y="664"/>
                  </a:lnTo>
                  <a:cubicBezTo>
                    <a:pt x="721" y="646"/>
                    <a:pt x="738" y="629"/>
                    <a:pt x="755" y="614"/>
                  </a:cubicBezTo>
                  <a:lnTo>
                    <a:pt x="590" y="453"/>
                  </a:lnTo>
                  <a:cubicBezTo>
                    <a:pt x="584" y="458"/>
                    <a:pt x="578" y="463"/>
                    <a:pt x="573" y="469"/>
                  </a:cubicBezTo>
                  <a:cubicBezTo>
                    <a:pt x="564" y="478"/>
                    <a:pt x="555" y="487"/>
                    <a:pt x="546" y="497"/>
                  </a:cubicBezTo>
                  <a:close/>
                  <a:moveTo>
                    <a:pt x="846" y="668"/>
                  </a:moveTo>
                  <a:lnTo>
                    <a:pt x="877" y="668"/>
                  </a:lnTo>
                  <a:lnTo>
                    <a:pt x="877" y="677"/>
                  </a:lnTo>
                  <a:lnTo>
                    <a:pt x="877" y="677"/>
                  </a:lnTo>
                  <a:lnTo>
                    <a:pt x="877" y="668"/>
                  </a:lnTo>
                  <a:lnTo>
                    <a:pt x="846" y="668"/>
                  </a:lnTo>
                  <a:close/>
                  <a:moveTo>
                    <a:pt x="1018" y="1651"/>
                  </a:moveTo>
                  <a:lnTo>
                    <a:pt x="1011" y="1645"/>
                  </a:lnTo>
                  <a:lnTo>
                    <a:pt x="1018" y="1651"/>
                  </a:lnTo>
                  <a:close/>
                  <a:moveTo>
                    <a:pt x="1023" y="1644"/>
                  </a:moveTo>
                  <a:lnTo>
                    <a:pt x="1019" y="1650"/>
                  </a:lnTo>
                  <a:lnTo>
                    <a:pt x="1023" y="1644"/>
                  </a:lnTo>
                  <a:close/>
                  <a:moveTo>
                    <a:pt x="996" y="1762"/>
                  </a:moveTo>
                  <a:lnTo>
                    <a:pt x="993" y="1759"/>
                  </a:lnTo>
                  <a:cubicBezTo>
                    <a:pt x="995" y="1756"/>
                    <a:pt x="996" y="1754"/>
                    <a:pt x="999" y="1752"/>
                  </a:cubicBezTo>
                  <a:lnTo>
                    <a:pt x="999" y="1752"/>
                  </a:lnTo>
                  <a:cubicBezTo>
                    <a:pt x="1003" y="1748"/>
                    <a:pt x="1009" y="1746"/>
                    <a:pt x="1015" y="1746"/>
                  </a:cubicBezTo>
                  <a:cubicBezTo>
                    <a:pt x="1029" y="1746"/>
                    <a:pt x="1040" y="1757"/>
                    <a:pt x="1040" y="1771"/>
                  </a:cubicBezTo>
                  <a:cubicBezTo>
                    <a:pt x="1040" y="1785"/>
                    <a:pt x="1029" y="1797"/>
                    <a:pt x="1015" y="1797"/>
                  </a:cubicBezTo>
                  <a:lnTo>
                    <a:pt x="1015" y="1797"/>
                  </a:lnTo>
                  <a:cubicBezTo>
                    <a:pt x="1001" y="1797"/>
                    <a:pt x="990" y="1785"/>
                    <a:pt x="990" y="1771"/>
                  </a:cubicBezTo>
                  <a:cubicBezTo>
                    <a:pt x="990" y="1767"/>
                    <a:pt x="991" y="1762"/>
                    <a:pt x="993" y="1759"/>
                  </a:cubicBezTo>
                  <a:lnTo>
                    <a:pt x="996" y="1762"/>
                  </a:lnTo>
                  <a:close/>
                  <a:moveTo>
                    <a:pt x="1009" y="1761"/>
                  </a:moveTo>
                  <a:lnTo>
                    <a:pt x="1013" y="1765"/>
                  </a:lnTo>
                  <a:lnTo>
                    <a:pt x="1013" y="1765"/>
                  </a:lnTo>
                  <a:lnTo>
                    <a:pt x="1013" y="1765"/>
                  </a:lnTo>
                  <a:lnTo>
                    <a:pt x="1009" y="1761"/>
                  </a:lnTo>
                  <a:close/>
                  <a:moveTo>
                    <a:pt x="1005" y="806"/>
                  </a:moveTo>
                  <a:lnTo>
                    <a:pt x="999" y="812"/>
                  </a:lnTo>
                  <a:lnTo>
                    <a:pt x="1005" y="806"/>
                  </a:lnTo>
                  <a:close/>
                  <a:moveTo>
                    <a:pt x="1014" y="531"/>
                  </a:moveTo>
                  <a:lnTo>
                    <a:pt x="1014" y="531"/>
                  </a:lnTo>
                  <a:lnTo>
                    <a:pt x="1014" y="531"/>
                  </a:lnTo>
                  <a:lnTo>
                    <a:pt x="1014" y="531"/>
                  </a:lnTo>
                  <a:close/>
                  <a:moveTo>
                    <a:pt x="352" y="1491"/>
                  </a:moveTo>
                  <a:cubicBezTo>
                    <a:pt x="352" y="1490"/>
                    <a:pt x="351" y="1488"/>
                    <a:pt x="351" y="1486"/>
                  </a:cubicBezTo>
                  <a:lnTo>
                    <a:pt x="352" y="1491"/>
                  </a:lnTo>
                  <a:close/>
                  <a:moveTo>
                    <a:pt x="1384" y="1544"/>
                  </a:moveTo>
                  <a:cubicBezTo>
                    <a:pt x="1434" y="1519"/>
                    <a:pt x="1482" y="1487"/>
                    <a:pt x="1524" y="1448"/>
                  </a:cubicBezTo>
                  <a:cubicBezTo>
                    <a:pt x="1564" y="1411"/>
                    <a:pt x="1599" y="1367"/>
                    <a:pt x="1628" y="1316"/>
                  </a:cubicBezTo>
                  <a:cubicBezTo>
                    <a:pt x="1686" y="1216"/>
                    <a:pt x="1709" y="1105"/>
                    <a:pt x="1702" y="997"/>
                  </a:cubicBezTo>
                  <a:cubicBezTo>
                    <a:pt x="1695" y="886"/>
                    <a:pt x="1656" y="779"/>
                    <a:pt x="1589" y="689"/>
                  </a:cubicBezTo>
                  <a:lnTo>
                    <a:pt x="1548" y="720"/>
                  </a:lnTo>
                  <a:cubicBezTo>
                    <a:pt x="1610" y="801"/>
                    <a:pt x="1645" y="899"/>
                    <a:pt x="1652" y="1001"/>
                  </a:cubicBezTo>
                  <a:cubicBezTo>
                    <a:pt x="1658" y="1099"/>
                    <a:pt x="1637" y="1200"/>
                    <a:pt x="1584" y="1291"/>
                  </a:cubicBezTo>
                  <a:cubicBezTo>
                    <a:pt x="1558" y="1337"/>
                    <a:pt x="1526" y="1377"/>
                    <a:pt x="1489" y="1411"/>
                  </a:cubicBezTo>
                  <a:cubicBezTo>
                    <a:pt x="1451" y="1447"/>
                    <a:pt x="1408" y="1476"/>
                    <a:pt x="1362" y="1498"/>
                  </a:cubicBezTo>
                  <a:lnTo>
                    <a:pt x="1384" y="15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6594601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3073DFA-6198-45A2-999B-4188CC900E9C}"/>
              </a:ext>
            </a:extLst>
          </p:cNvPr>
          <p:cNvSpPr>
            <a:spLocks noGrp="1"/>
          </p:cNvSpPr>
          <p:nvPr>
            <p:ph type="title"/>
          </p:nvPr>
        </p:nvSpPr>
        <p:spPr/>
        <p:txBody>
          <a:bodyPr/>
          <a:lstStyle/>
          <a:p>
            <a:endParaRPr lang="en-GB" dirty="0"/>
          </a:p>
        </p:txBody>
      </p:sp>
      <p:sp>
        <p:nvSpPr>
          <p:cNvPr id="2" name="Text Placeholder 10">
            <a:extLst>
              <a:ext uri="{FF2B5EF4-FFF2-40B4-BE49-F238E27FC236}">
                <a16:creationId xmlns:a16="http://schemas.microsoft.com/office/drawing/2014/main" id="{B26B237B-0DD5-5203-3A34-119EAFBAB3E5}"/>
              </a:ext>
            </a:extLst>
          </p:cNvPr>
          <p:cNvSpPr txBox="1">
            <a:spLocks/>
          </p:cNvSpPr>
          <p:nvPr/>
        </p:nvSpPr>
        <p:spPr>
          <a:xfrm>
            <a:off x="695322" y="1741610"/>
            <a:ext cx="10848975" cy="41275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Tx/>
              <a:buNone/>
              <a:defRPr sz="1500" b="1" kern="1200">
                <a:solidFill>
                  <a:schemeClr val="bg1"/>
                </a:solidFill>
                <a:latin typeface="Century Gothic" panose="020B0502020202020204" pitchFamily="34" charset="0"/>
                <a:ea typeface="+mn-ea"/>
                <a:cs typeface="+mn-cs"/>
              </a:defRPr>
            </a:lvl1pPr>
            <a:lvl2pPr marL="457200" indent="0" algn="l" defTabSz="914400" rtl="0" eaLnBrk="1" latinLnBrk="0" hangingPunct="1">
              <a:lnSpc>
                <a:spcPct val="100000"/>
              </a:lnSpc>
              <a:spcBef>
                <a:spcPts val="500"/>
              </a:spcBef>
              <a:buFontTx/>
              <a:buNone/>
              <a:defRPr sz="2400" kern="1200">
                <a:solidFill>
                  <a:srgbClr val="323E48"/>
                </a:solidFill>
                <a:latin typeface="+mn-lt"/>
                <a:ea typeface="+mn-ea"/>
                <a:cs typeface="+mn-cs"/>
              </a:defRPr>
            </a:lvl2pPr>
            <a:lvl3pPr marL="914400" indent="0" algn="l" defTabSz="914400" rtl="0" eaLnBrk="1" latinLnBrk="0" hangingPunct="1">
              <a:lnSpc>
                <a:spcPct val="100000"/>
              </a:lnSpc>
              <a:spcBef>
                <a:spcPts val="500"/>
              </a:spcBef>
              <a:buFontTx/>
              <a:buNone/>
              <a:defRPr sz="2000" kern="1200">
                <a:solidFill>
                  <a:srgbClr val="323E48"/>
                </a:solidFill>
                <a:latin typeface="+mn-lt"/>
                <a:ea typeface="+mn-ea"/>
                <a:cs typeface="+mn-cs"/>
              </a:defRPr>
            </a:lvl3pPr>
            <a:lvl4pPr marL="13716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4pPr>
            <a:lvl5pPr marL="1828800" indent="0" algn="l" defTabSz="914400" rtl="0" eaLnBrk="1" latinLnBrk="0" hangingPunct="1">
              <a:lnSpc>
                <a:spcPct val="100000"/>
              </a:lnSpc>
              <a:spcBef>
                <a:spcPts val="500"/>
              </a:spcBef>
              <a:buFontTx/>
              <a:buNone/>
              <a:defRPr sz="1800" kern="1200">
                <a:solidFill>
                  <a:srgbClr val="323E48"/>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rgbClr val="323E48"/>
                </a:solidFill>
                <a:latin typeface="+mn-lt"/>
                <a:ea typeface="+mn-ea"/>
                <a:cs typeface="+mn-cs"/>
              </a:defRPr>
            </a:lvl9pPr>
          </a:lstStyle>
          <a:p>
            <a:r>
              <a:rPr lang="en-US" dirty="0"/>
              <a:t>For further information, please contact:</a:t>
            </a:r>
          </a:p>
          <a:p>
            <a:r>
              <a:rPr lang="en-US" sz="1800" u="sng" dirty="0">
                <a:solidFill>
                  <a:srgbClr val="0000FF"/>
                </a:solidFill>
                <a:latin typeface="Aptos" panose="020B0004020202020204" pitchFamily="34" charset="0"/>
                <a:ea typeface="Aptos" panose="020B0004020202020204" pitchFamily="34" charset="0"/>
                <a:cs typeface="Aptos" panose="020B0004020202020204" pitchFamily="34" charset="0"/>
                <a:hlinkClick r:id="rId2"/>
              </a:rPr>
              <a:t>creditorsinfo.ostrava@libertysteelgroup.com</a:t>
            </a:r>
            <a:endParaRPr lang="en-GB" dirty="0"/>
          </a:p>
        </p:txBody>
      </p:sp>
    </p:spTree>
    <p:extLst>
      <p:ext uri="{BB962C8B-B14F-4D97-AF65-F5344CB8AC3E}">
        <p14:creationId xmlns:p14="http://schemas.microsoft.com/office/powerpoint/2010/main" val="20824789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Executive Summary </a:t>
            </a:r>
          </a:p>
        </p:txBody>
      </p:sp>
      <p:sp>
        <p:nvSpPr>
          <p:cNvPr id="248" name="Footer Placeholder 11">
            <a:extLst>
              <a:ext uri="{FF2B5EF4-FFF2-40B4-BE49-F238E27FC236}">
                <a16:creationId xmlns:a16="http://schemas.microsoft.com/office/drawing/2014/main" id="{C363E175-83EC-4744-AEC9-B6AE1C9D1AC5}"/>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
        <p:nvSpPr>
          <p:cNvPr id="27" name="TextBox 26">
            <a:extLst>
              <a:ext uri="{FF2B5EF4-FFF2-40B4-BE49-F238E27FC236}">
                <a16:creationId xmlns:a16="http://schemas.microsoft.com/office/drawing/2014/main" id="{9FAA1913-8B37-5F0A-DCF3-389788873397}"/>
              </a:ext>
            </a:extLst>
          </p:cNvPr>
          <p:cNvSpPr txBox="1"/>
          <p:nvPr/>
        </p:nvSpPr>
        <p:spPr>
          <a:xfrm>
            <a:off x="704295" y="772857"/>
            <a:ext cx="7229960" cy="4862870"/>
          </a:xfrm>
          <a:prstGeom prst="rect">
            <a:avLst/>
          </a:prstGeom>
          <a:noFill/>
        </p:spPr>
        <p:txBody>
          <a:bodyPr wrap="square">
            <a:spAutoFit/>
          </a:bodyPr>
          <a:lstStyle/>
          <a:p>
            <a:pPr algn="ctr">
              <a:spcBef>
                <a:spcPts val="600"/>
              </a:spcBef>
              <a:spcAft>
                <a:spcPts val="600"/>
              </a:spcAft>
            </a:pPr>
            <a:r>
              <a:rPr lang="en-AE" sz="2800" b="1" dirty="0">
                <a:latin typeface="Calibri" panose="020F0502020204030204" pitchFamily="34" charset="0"/>
                <a:ea typeface="Calibri" panose="020F0502020204030204" pitchFamily="34" charset="0"/>
              </a:rPr>
              <a:t>The Restructuring Plan  </a:t>
            </a:r>
          </a:p>
          <a:p>
            <a:pPr marL="742950" lvl="1"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Will create a sustainable future for LIBERTY Ostrava and all its stakeholders</a:t>
            </a:r>
          </a:p>
          <a:p>
            <a:pPr marL="742950" lvl="1"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Will use our own Blast Furnace and Meltshop to make slabs and billets</a:t>
            </a:r>
          </a:p>
          <a:p>
            <a:pPr marL="742950" lvl="1"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Will use our own Rolling Mills to convert the slabs and billets into high value finished product for our customers.</a:t>
            </a:r>
          </a:p>
          <a:p>
            <a:pPr marL="742950" lvl="1"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Our plan will see our Creditors being paid back in full</a:t>
            </a:r>
          </a:p>
          <a:p>
            <a:pPr marL="742950" lvl="1"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The plan relies on significant Group contribution to support the recovery plan. </a:t>
            </a:r>
          </a:p>
          <a:p>
            <a:pPr marL="742950" lvl="1"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Calibri" panose="020F0502020204030204" pitchFamily="34" charset="0"/>
              </a:rPr>
              <a:t>The Restructuring Plan includes two options</a:t>
            </a:r>
          </a:p>
          <a:p>
            <a:pPr marL="1200150" lvl="2"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one which includes a solution with Tameh – Our Preference</a:t>
            </a:r>
          </a:p>
          <a:p>
            <a:pPr marL="1200150" lvl="2"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one without Tameh – Currently looking more likely </a:t>
            </a:r>
          </a:p>
          <a:p>
            <a:pPr marL="1200150" lvl="2" indent="-285750">
              <a:spcBef>
                <a:spcPts val="600"/>
              </a:spcBef>
              <a:spcAft>
                <a:spcPts val="600"/>
              </a:spcAft>
              <a:buFont typeface="Arial" panose="020B0604020202020204" pitchFamily="34" charset="0"/>
              <a:buChar char="•"/>
            </a:pPr>
            <a:r>
              <a:rPr lang="en-GB" sz="1600" kern="100" dirty="0">
                <a:latin typeface="Calibri" panose="020F0502020204030204" pitchFamily="34" charset="0"/>
                <a:ea typeface="Calibri" panose="020F0502020204030204" pitchFamily="34" charset="0"/>
                <a:cs typeface="Times New Roman" panose="02020603050405020304" pitchFamily="18" charset="0"/>
              </a:rPr>
              <a:t>Both plans have largely the same underlying production assumptions but are phased differently (see later).</a:t>
            </a:r>
          </a:p>
        </p:txBody>
      </p:sp>
      <p:sp>
        <p:nvSpPr>
          <p:cNvPr id="29" name="Rectangle 28">
            <a:extLst>
              <a:ext uri="{FF2B5EF4-FFF2-40B4-BE49-F238E27FC236}">
                <a16:creationId xmlns:a16="http://schemas.microsoft.com/office/drawing/2014/main" id="{804F16C2-A4ED-E0BB-4A39-33540234359E}"/>
              </a:ext>
            </a:extLst>
          </p:cNvPr>
          <p:cNvSpPr/>
          <p:nvPr/>
        </p:nvSpPr>
        <p:spPr>
          <a:xfrm>
            <a:off x="674147" y="739684"/>
            <a:ext cx="7506781" cy="5539978"/>
          </a:xfrm>
          <a:prstGeom prst="rect">
            <a:avLst/>
          </a:prstGeom>
          <a:noFill/>
          <a:ln w="6350">
            <a:solidFill>
              <a:srgbClr val="36BCE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57D3EAF7-CA11-85DE-617B-58DF0D517C63}"/>
              </a:ext>
            </a:extLst>
          </p:cNvPr>
          <p:cNvGrpSpPr/>
          <p:nvPr/>
        </p:nvGrpSpPr>
        <p:grpSpPr>
          <a:xfrm>
            <a:off x="8180928" y="735660"/>
            <a:ext cx="4011072" cy="5548320"/>
            <a:chOff x="8180928" y="735660"/>
            <a:chExt cx="4011072" cy="5548320"/>
          </a:xfrm>
        </p:grpSpPr>
        <p:pic>
          <p:nvPicPr>
            <p:cNvPr id="8" name="Picture 7" descr="A group of people sitting around a table&#10;&#10;Description automatically generated">
              <a:extLst>
                <a:ext uri="{FF2B5EF4-FFF2-40B4-BE49-F238E27FC236}">
                  <a16:creationId xmlns:a16="http://schemas.microsoft.com/office/drawing/2014/main" id="{0C46D3A9-DC44-7907-1658-547807E730F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0928" y="739683"/>
              <a:ext cx="4011072" cy="5539977"/>
            </a:xfrm>
            <a:prstGeom prst="rect">
              <a:avLst/>
            </a:prstGeom>
          </p:spPr>
        </p:pic>
        <p:sp>
          <p:nvSpPr>
            <p:cNvPr id="9" name="직사각형 11">
              <a:extLst>
                <a:ext uri="{FF2B5EF4-FFF2-40B4-BE49-F238E27FC236}">
                  <a16:creationId xmlns:a16="http://schemas.microsoft.com/office/drawing/2014/main" id="{046ED19D-14DB-09D4-FE87-B2AD8A6BF2C7}"/>
                </a:ext>
              </a:extLst>
            </p:cNvPr>
            <p:cNvSpPr/>
            <p:nvPr/>
          </p:nvSpPr>
          <p:spPr>
            <a:xfrm>
              <a:off x="8183159" y="735660"/>
              <a:ext cx="4005537" cy="5544000"/>
            </a:xfrm>
            <a:prstGeom prst="rect">
              <a:avLst/>
            </a:prstGeom>
            <a:solidFill>
              <a:srgbClr val="36BCEE">
                <a:alpha val="62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10" name="직사각형 12">
              <a:extLst>
                <a:ext uri="{FF2B5EF4-FFF2-40B4-BE49-F238E27FC236}">
                  <a16:creationId xmlns:a16="http://schemas.microsoft.com/office/drawing/2014/main" id="{AF19B577-B2AB-C913-4F44-2CE427623BD8}"/>
                </a:ext>
              </a:extLst>
            </p:cNvPr>
            <p:cNvSpPr/>
            <p:nvPr/>
          </p:nvSpPr>
          <p:spPr>
            <a:xfrm>
              <a:off x="12037861" y="739980"/>
              <a:ext cx="150835" cy="5544000"/>
            </a:xfrm>
            <a:prstGeom prst="rect">
              <a:avLst/>
            </a:prstGeom>
            <a:solidFill>
              <a:srgbClr val="36BC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grpSp>
          <p:nvGrpSpPr>
            <p:cNvPr id="11" name="Group 10">
              <a:extLst>
                <a:ext uri="{FF2B5EF4-FFF2-40B4-BE49-F238E27FC236}">
                  <a16:creationId xmlns:a16="http://schemas.microsoft.com/office/drawing/2014/main" id="{F31FA37C-74D0-A502-D203-8D2BB2A86164}"/>
                </a:ext>
              </a:extLst>
            </p:cNvPr>
            <p:cNvGrpSpPr/>
            <p:nvPr/>
          </p:nvGrpSpPr>
          <p:grpSpPr>
            <a:xfrm>
              <a:off x="8737053" y="2492896"/>
              <a:ext cx="3119587" cy="1711265"/>
              <a:chOff x="8328403" y="2257803"/>
              <a:chExt cx="3119587" cy="1711265"/>
            </a:xfrm>
          </p:grpSpPr>
          <p:sp>
            <p:nvSpPr>
              <p:cNvPr id="12" name="TextBox 11">
                <a:extLst>
                  <a:ext uri="{FF2B5EF4-FFF2-40B4-BE49-F238E27FC236}">
                    <a16:creationId xmlns:a16="http://schemas.microsoft.com/office/drawing/2014/main" id="{6C0F152D-6D31-2C81-34D9-CDAE06068520}"/>
                  </a:ext>
                </a:extLst>
              </p:cNvPr>
              <p:cNvSpPr txBox="1"/>
              <p:nvPr/>
            </p:nvSpPr>
            <p:spPr>
              <a:xfrm>
                <a:off x="8328403" y="3014961"/>
                <a:ext cx="3119587" cy="954107"/>
              </a:xfrm>
              <a:prstGeom prst="rect">
                <a:avLst/>
              </a:prstGeom>
              <a:noFill/>
            </p:spPr>
            <p:txBody>
              <a:bodyPr wrap="square">
                <a:spAutoFit/>
              </a:bodyPr>
              <a:lstStyle/>
              <a:p>
                <a:pPr algn="ctr"/>
                <a:r>
                  <a:rPr lang="en-GB" sz="3200" b="1" dirty="0">
                    <a:solidFill>
                      <a:schemeClr val="bg1"/>
                    </a:solidFill>
                    <a:effectLst>
                      <a:outerShdw blurRad="38100" dist="38100" dir="2700000" algn="tl">
                        <a:srgbClr val="000000">
                          <a:alpha val="43137"/>
                        </a:srgbClr>
                      </a:outerShdw>
                    </a:effectLst>
                    <a:latin typeface="Century Gothic" panose="020B0502020202020204" pitchFamily="34" charset="0"/>
                  </a:rPr>
                  <a:t>The Plan</a:t>
                </a:r>
              </a:p>
              <a:p>
                <a:pPr algn="ctr"/>
                <a:r>
                  <a:rPr lang="en-GB" sz="2400" b="1" dirty="0">
                    <a:solidFill>
                      <a:schemeClr val="bg1"/>
                    </a:solidFill>
                    <a:effectLst>
                      <a:outerShdw blurRad="38100" dist="38100" dir="2700000" algn="tl">
                        <a:srgbClr val="000000">
                          <a:alpha val="43137"/>
                        </a:srgbClr>
                      </a:outerShdw>
                    </a:effectLst>
                    <a:latin typeface="Century Gothic" panose="020B0502020202020204" pitchFamily="34" charset="0"/>
                  </a:rPr>
                  <a:t>The key outcomes</a:t>
                </a:r>
              </a:p>
            </p:txBody>
          </p:sp>
          <p:sp>
            <p:nvSpPr>
              <p:cNvPr id="13" name="Freeform 20">
                <a:extLst>
                  <a:ext uri="{FF2B5EF4-FFF2-40B4-BE49-F238E27FC236}">
                    <a16:creationId xmlns:a16="http://schemas.microsoft.com/office/drawing/2014/main" id="{73DE1478-97E3-A6FB-03F0-F09A52441CC4}"/>
                  </a:ext>
                </a:extLst>
              </p:cNvPr>
              <p:cNvSpPr>
                <a:spLocks noEditPoints="1"/>
              </p:cNvSpPr>
              <p:nvPr/>
            </p:nvSpPr>
            <p:spPr bwMode="auto">
              <a:xfrm>
                <a:off x="9593203" y="2257803"/>
                <a:ext cx="589986" cy="755744"/>
              </a:xfrm>
              <a:custGeom>
                <a:avLst/>
                <a:gdLst>
                  <a:gd name="T0" fmla="*/ 524 w 2544"/>
                  <a:gd name="T1" fmla="*/ 1894 h 3098"/>
                  <a:gd name="T2" fmla="*/ 1846 w 2544"/>
                  <a:gd name="T3" fmla="*/ 423 h 3098"/>
                  <a:gd name="T4" fmla="*/ 1745 w 2544"/>
                  <a:gd name="T5" fmla="*/ 357 h 3098"/>
                  <a:gd name="T6" fmla="*/ 1405 w 2544"/>
                  <a:gd name="T7" fmla="*/ 228 h 3098"/>
                  <a:gd name="T8" fmla="*/ 585 w 2544"/>
                  <a:gd name="T9" fmla="*/ 261 h 3098"/>
                  <a:gd name="T10" fmla="*/ 421 w 2544"/>
                  <a:gd name="T11" fmla="*/ 501 h 3098"/>
                  <a:gd name="T12" fmla="*/ 380 w 2544"/>
                  <a:gd name="T13" fmla="*/ 599 h 3098"/>
                  <a:gd name="T14" fmla="*/ 203 w 2544"/>
                  <a:gd name="T15" fmla="*/ 948 h 3098"/>
                  <a:gd name="T16" fmla="*/ 308 w 2544"/>
                  <a:gd name="T17" fmla="*/ 1237 h 3098"/>
                  <a:gd name="T18" fmla="*/ 334 w 2544"/>
                  <a:gd name="T19" fmla="*/ 1415 h 3098"/>
                  <a:gd name="T20" fmla="*/ 389 w 2544"/>
                  <a:gd name="T21" fmla="*/ 1611 h 3098"/>
                  <a:gd name="T22" fmla="*/ 229 w 2544"/>
                  <a:gd name="T23" fmla="*/ 1707 h 3098"/>
                  <a:gd name="T24" fmla="*/ 272 w 2544"/>
                  <a:gd name="T25" fmla="*/ 1778 h 3098"/>
                  <a:gd name="T26" fmla="*/ 737 w 2544"/>
                  <a:gd name="T27" fmla="*/ 1781 h 3098"/>
                  <a:gd name="T28" fmla="*/ 93 w 2544"/>
                  <a:gd name="T29" fmla="*/ 1349 h 3098"/>
                  <a:gd name="T30" fmla="*/ 1147 w 2544"/>
                  <a:gd name="T31" fmla="*/ 979 h 3098"/>
                  <a:gd name="T32" fmla="*/ 835 w 2544"/>
                  <a:gd name="T33" fmla="*/ 1349 h 3098"/>
                  <a:gd name="T34" fmla="*/ 481 w 2544"/>
                  <a:gd name="T35" fmla="*/ 1485 h 3098"/>
                  <a:gd name="T36" fmla="*/ 571 w 2544"/>
                  <a:gd name="T37" fmla="*/ 1270 h 3098"/>
                  <a:gd name="T38" fmla="*/ 1307 w 2544"/>
                  <a:gd name="T39" fmla="*/ 1476 h 3098"/>
                  <a:gd name="T40" fmla="*/ 1011 w 2544"/>
                  <a:gd name="T41" fmla="*/ 1635 h 3098"/>
                  <a:gd name="T42" fmla="*/ 695 w 2544"/>
                  <a:gd name="T43" fmla="*/ 1652 h 3098"/>
                  <a:gd name="T44" fmla="*/ 786 w 2544"/>
                  <a:gd name="T45" fmla="*/ 1749 h 3098"/>
                  <a:gd name="T46" fmla="*/ 848 w 2544"/>
                  <a:gd name="T47" fmla="*/ 1758 h 3098"/>
                  <a:gd name="T48" fmla="*/ 1625 w 2544"/>
                  <a:gd name="T49" fmla="*/ 640 h 3098"/>
                  <a:gd name="T50" fmla="*/ 1295 w 2544"/>
                  <a:gd name="T51" fmla="*/ 663 h 3098"/>
                  <a:gd name="T52" fmla="*/ 990 w 2544"/>
                  <a:gd name="T53" fmla="*/ 803 h 3098"/>
                  <a:gd name="T54" fmla="*/ 1352 w 2544"/>
                  <a:gd name="T55" fmla="*/ 1240 h 3098"/>
                  <a:gd name="T56" fmla="*/ 722 w 2544"/>
                  <a:gd name="T57" fmla="*/ 1340 h 3098"/>
                  <a:gd name="T58" fmla="*/ 489 w 2544"/>
                  <a:gd name="T59" fmla="*/ 1261 h 3098"/>
                  <a:gd name="T60" fmla="*/ 352 w 2544"/>
                  <a:gd name="T61" fmla="*/ 1178 h 3098"/>
                  <a:gd name="T62" fmla="*/ 767 w 2544"/>
                  <a:gd name="T63" fmla="*/ 1244 h 3098"/>
                  <a:gd name="T64" fmla="*/ 638 w 2544"/>
                  <a:gd name="T65" fmla="*/ 1169 h 3098"/>
                  <a:gd name="T66" fmla="*/ 870 w 2544"/>
                  <a:gd name="T67" fmla="*/ 1061 h 3098"/>
                  <a:gd name="T68" fmla="*/ 545 w 2544"/>
                  <a:gd name="T69" fmla="*/ 1430 h 3098"/>
                  <a:gd name="T70" fmla="*/ 845 w 2544"/>
                  <a:gd name="T71" fmla="*/ 952 h 3098"/>
                  <a:gd name="T72" fmla="*/ 863 w 2544"/>
                  <a:gd name="T73" fmla="*/ 951 h 3098"/>
                  <a:gd name="T74" fmla="*/ 863 w 2544"/>
                  <a:gd name="T75" fmla="*/ 954 h 3098"/>
                  <a:gd name="T76" fmla="*/ 483 w 2544"/>
                  <a:gd name="T77" fmla="*/ 945 h 3098"/>
                  <a:gd name="T78" fmla="*/ 865 w 2544"/>
                  <a:gd name="T79" fmla="*/ 943 h 3098"/>
                  <a:gd name="T80" fmla="*/ 866 w 2544"/>
                  <a:gd name="T81" fmla="*/ 940 h 3098"/>
                  <a:gd name="T82" fmla="*/ 867 w 2544"/>
                  <a:gd name="T83" fmla="*/ 936 h 3098"/>
                  <a:gd name="T84" fmla="*/ 868 w 2544"/>
                  <a:gd name="T85" fmla="*/ 932 h 3098"/>
                  <a:gd name="T86" fmla="*/ 846 w 2544"/>
                  <a:gd name="T87" fmla="*/ 945 h 3098"/>
                  <a:gd name="T88" fmla="*/ 827 w 2544"/>
                  <a:gd name="T89" fmla="*/ 800 h 3098"/>
                  <a:gd name="T90" fmla="*/ 547 w 2544"/>
                  <a:gd name="T91" fmla="*/ 708 h 3098"/>
                  <a:gd name="T92" fmla="*/ 1125 w 2544"/>
                  <a:gd name="T93" fmla="*/ 664 h 3098"/>
                  <a:gd name="T94" fmla="*/ 845 w 2544"/>
                  <a:gd name="T95" fmla="*/ 940 h 3098"/>
                  <a:gd name="T96" fmla="*/ 362 w 2544"/>
                  <a:gd name="T97" fmla="*/ 843 h 3098"/>
                  <a:gd name="T98" fmla="*/ 543 w 2544"/>
                  <a:gd name="T99" fmla="*/ 716 h 3098"/>
                  <a:gd name="T100" fmla="*/ 1408 w 2544"/>
                  <a:gd name="T101" fmla="*/ 296 h 3098"/>
                  <a:gd name="T102" fmla="*/ 842 w 2544"/>
                  <a:gd name="T103" fmla="*/ 470 h 3098"/>
                  <a:gd name="T104" fmla="*/ 990 w 2544"/>
                  <a:gd name="T105" fmla="*/ 537 h 3098"/>
                  <a:gd name="T106" fmla="*/ 1578 w 2544"/>
                  <a:gd name="T107" fmla="*/ 561 h 3098"/>
                  <a:gd name="T108" fmla="*/ 1020 w 2544"/>
                  <a:gd name="T109" fmla="*/ 246 h 3098"/>
                  <a:gd name="T110" fmla="*/ 840 w 2544"/>
                  <a:gd name="T111" fmla="*/ 549 h 3098"/>
                  <a:gd name="T112" fmla="*/ 710 w 2544"/>
                  <a:gd name="T113" fmla="*/ 459 h 3098"/>
                  <a:gd name="T114" fmla="*/ 785 w 2544"/>
                  <a:gd name="T115" fmla="*/ 1644 h 3098"/>
                  <a:gd name="T116" fmla="*/ 1126 w 2544"/>
                  <a:gd name="T117" fmla="*/ 1222 h 3098"/>
                  <a:gd name="T118" fmla="*/ 860 w 2544"/>
                  <a:gd name="T119" fmla="*/ 966 h 3098"/>
                  <a:gd name="T120" fmla="*/ 1019 w 2544"/>
                  <a:gd name="T121" fmla="*/ 1650 h 3098"/>
                  <a:gd name="T122" fmla="*/ 1014 w 2544"/>
                  <a:gd name="T123" fmla="*/ 531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4" h="3098">
                    <a:moveTo>
                      <a:pt x="2148" y="1044"/>
                    </a:moveTo>
                    <a:cubicBezTo>
                      <a:pt x="2190" y="965"/>
                      <a:pt x="2202" y="899"/>
                      <a:pt x="2201" y="845"/>
                    </a:cubicBezTo>
                    <a:cubicBezTo>
                      <a:pt x="2200" y="737"/>
                      <a:pt x="2139" y="593"/>
                      <a:pt x="2087" y="501"/>
                    </a:cubicBezTo>
                    <a:cubicBezTo>
                      <a:pt x="1854" y="93"/>
                      <a:pt x="1224" y="0"/>
                      <a:pt x="809" y="113"/>
                    </a:cubicBezTo>
                    <a:cubicBezTo>
                      <a:pt x="0" y="334"/>
                      <a:pt x="53" y="1213"/>
                      <a:pt x="117" y="1497"/>
                    </a:cubicBezTo>
                    <a:cubicBezTo>
                      <a:pt x="189" y="1862"/>
                      <a:pt x="420" y="2189"/>
                      <a:pt x="529" y="2269"/>
                    </a:cubicBezTo>
                    <a:cubicBezTo>
                      <a:pt x="484" y="2471"/>
                      <a:pt x="439" y="2672"/>
                      <a:pt x="393" y="2873"/>
                    </a:cubicBezTo>
                    <a:cubicBezTo>
                      <a:pt x="622" y="2956"/>
                      <a:pt x="925" y="3098"/>
                      <a:pt x="1497" y="2995"/>
                    </a:cubicBezTo>
                    <a:cubicBezTo>
                      <a:pt x="1542" y="2844"/>
                      <a:pt x="1586" y="2678"/>
                      <a:pt x="1789" y="2438"/>
                    </a:cubicBezTo>
                    <a:cubicBezTo>
                      <a:pt x="1964" y="2424"/>
                      <a:pt x="2139" y="2409"/>
                      <a:pt x="2313" y="2395"/>
                    </a:cubicBezTo>
                    <a:cubicBezTo>
                      <a:pt x="2519" y="2328"/>
                      <a:pt x="2416" y="2100"/>
                      <a:pt x="2421" y="2068"/>
                    </a:cubicBezTo>
                    <a:cubicBezTo>
                      <a:pt x="2544" y="1913"/>
                      <a:pt x="2413" y="1867"/>
                      <a:pt x="2410" y="1860"/>
                    </a:cubicBezTo>
                    <a:cubicBezTo>
                      <a:pt x="2459" y="1790"/>
                      <a:pt x="2517" y="1746"/>
                      <a:pt x="2377" y="1606"/>
                    </a:cubicBezTo>
                    <a:cubicBezTo>
                      <a:pt x="2406" y="1572"/>
                      <a:pt x="2457" y="1530"/>
                      <a:pt x="2481" y="1480"/>
                    </a:cubicBezTo>
                    <a:cubicBezTo>
                      <a:pt x="2502" y="1438"/>
                      <a:pt x="2502" y="1419"/>
                      <a:pt x="2471" y="1385"/>
                    </a:cubicBezTo>
                    <a:cubicBezTo>
                      <a:pt x="2409" y="1319"/>
                      <a:pt x="2246" y="1199"/>
                      <a:pt x="2168" y="1118"/>
                    </a:cubicBezTo>
                    <a:cubicBezTo>
                      <a:pt x="2136" y="1084"/>
                      <a:pt x="2129" y="1080"/>
                      <a:pt x="2148" y="1044"/>
                    </a:cubicBezTo>
                    <a:close/>
                    <a:moveTo>
                      <a:pt x="298" y="1970"/>
                    </a:moveTo>
                    <a:lnTo>
                      <a:pt x="365" y="1905"/>
                    </a:lnTo>
                    <a:lnTo>
                      <a:pt x="365" y="1905"/>
                    </a:lnTo>
                    <a:lnTo>
                      <a:pt x="376" y="1894"/>
                    </a:lnTo>
                    <a:lnTo>
                      <a:pt x="524" y="1894"/>
                    </a:lnTo>
                    <a:cubicBezTo>
                      <a:pt x="526" y="1897"/>
                      <a:pt x="527" y="1900"/>
                      <a:pt x="529" y="1903"/>
                    </a:cubicBezTo>
                    <a:lnTo>
                      <a:pt x="379" y="1903"/>
                    </a:lnTo>
                    <a:lnTo>
                      <a:pt x="370" y="1912"/>
                    </a:lnTo>
                    <a:lnTo>
                      <a:pt x="370" y="1912"/>
                    </a:lnTo>
                    <a:lnTo>
                      <a:pt x="368" y="1909"/>
                    </a:lnTo>
                    <a:lnTo>
                      <a:pt x="370" y="1912"/>
                    </a:lnTo>
                    <a:lnTo>
                      <a:pt x="302" y="1978"/>
                    </a:lnTo>
                    <a:cubicBezTo>
                      <a:pt x="301" y="1975"/>
                      <a:pt x="299" y="1973"/>
                      <a:pt x="298" y="1970"/>
                    </a:cubicBezTo>
                    <a:close/>
                    <a:moveTo>
                      <a:pt x="1939" y="322"/>
                    </a:moveTo>
                    <a:cubicBezTo>
                      <a:pt x="1936" y="319"/>
                      <a:pt x="1933" y="317"/>
                      <a:pt x="1930" y="314"/>
                    </a:cubicBezTo>
                    <a:lnTo>
                      <a:pt x="1930" y="391"/>
                    </a:lnTo>
                    <a:lnTo>
                      <a:pt x="1930" y="391"/>
                    </a:lnTo>
                    <a:lnTo>
                      <a:pt x="1930" y="444"/>
                    </a:lnTo>
                    <a:lnTo>
                      <a:pt x="1904" y="471"/>
                    </a:lnTo>
                    <a:lnTo>
                      <a:pt x="1906" y="473"/>
                    </a:lnTo>
                    <a:lnTo>
                      <a:pt x="1904" y="471"/>
                    </a:lnTo>
                    <a:lnTo>
                      <a:pt x="1832" y="547"/>
                    </a:lnTo>
                    <a:cubicBezTo>
                      <a:pt x="1819" y="529"/>
                      <a:pt x="1806" y="512"/>
                      <a:pt x="1793" y="495"/>
                    </a:cubicBezTo>
                    <a:lnTo>
                      <a:pt x="1846" y="443"/>
                    </a:lnTo>
                    <a:lnTo>
                      <a:pt x="1846" y="423"/>
                    </a:lnTo>
                    <a:lnTo>
                      <a:pt x="1843" y="420"/>
                    </a:lnTo>
                    <a:lnTo>
                      <a:pt x="1846" y="423"/>
                    </a:lnTo>
                    <a:lnTo>
                      <a:pt x="1846" y="423"/>
                    </a:lnTo>
                    <a:lnTo>
                      <a:pt x="1846" y="328"/>
                    </a:lnTo>
                    <a:cubicBezTo>
                      <a:pt x="1843" y="326"/>
                      <a:pt x="1841" y="324"/>
                      <a:pt x="1838" y="322"/>
                    </a:cubicBezTo>
                    <a:lnTo>
                      <a:pt x="1838" y="416"/>
                    </a:lnTo>
                    <a:lnTo>
                      <a:pt x="1839" y="417"/>
                    </a:lnTo>
                    <a:lnTo>
                      <a:pt x="1838" y="416"/>
                    </a:lnTo>
                    <a:lnTo>
                      <a:pt x="1838" y="439"/>
                    </a:lnTo>
                    <a:lnTo>
                      <a:pt x="1787" y="488"/>
                    </a:lnTo>
                    <a:cubicBezTo>
                      <a:pt x="1772" y="470"/>
                      <a:pt x="1756" y="453"/>
                      <a:pt x="1739" y="436"/>
                    </a:cubicBezTo>
                    <a:lnTo>
                      <a:pt x="1754" y="419"/>
                    </a:lnTo>
                    <a:lnTo>
                      <a:pt x="1754" y="362"/>
                    </a:lnTo>
                    <a:lnTo>
                      <a:pt x="1754" y="362"/>
                    </a:lnTo>
                    <a:lnTo>
                      <a:pt x="1754" y="274"/>
                    </a:lnTo>
                    <a:lnTo>
                      <a:pt x="1754" y="274"/>
                    </a:lnTo>
                    <a:lnTo>
                      <a:pt x="1754" y="274"/>
                    </a:lnTo>
                    <a:lnTo>
                      <a:pt x="1754" y="274"/>
                    </a:lnTo>
                    <a:lnTo>
                      <a:pt x="1754" y="199"/>
                    </a:lnTo>
                    <a:cubicBezTo>
                      <a:pt x="1751" y="198"/>
                      <a:pt x="1748" y="196"/>
                      <a:pt x="1745" y="195"/>
                    </a:cubicBezTo>
                    <a:lnTo>
                      <a:pt x="1745" y="270"/>
                    </a:lnTo>
                    <a:lnTo>
                      <a:pt x="1747" y="271"/>
                    </a:lnTo>
                    <a:lnTo>
                      <a:pt x="1745" y="270"/>
                    </a:lnTo>
                    <a:lnTo>
                      <a:pt x="1745" y="357"/>
                    </a:lnTo>
                    <a:lnTo>
                      <a:pt x="1745" y="357"/>
                    </a:lnTo>
                    <a:lnTo>
                      <a:pt x="1745" y="416"/>
                    </a:lnTo>
                    <a:lnTo>
                      <a:pt x="1733" y="430"/>
                    </a:lnTo>
                    <a:cubicBezTo>
                      <a:pt x="1717" y="414"/>
                      <a:pt x="1701" y="400"/>
                      <a:pt x="1685" y="386"/>
                    </a:cubicBezTo>
                    <a:lnTo>
                      <a:pt x="1688" y="382"/>
                    </a:lnTo>
                    <a:lnTo>
                      <a:pt x="1688" y="328"/>
                    </a:lnTo>
                    <a:lnTo>
                      <a:pt x="1688" y="328"/>
                    </a:lnTo>
                    <a:lnTo>
                      <a:pt x="1688" y="244"/>
                    </a:lnTo>
                    <a:lnTo>
                      <a:pt x="1688" y="244"/>
                    </a:lnTo>
                    <a:lnTo>
                      <a:pt x="1688" y="244"/>
                    </a:lnTo>
                    <a:lnTo>
                      <a:pt x="1688" y="169"/>
                    </a:lnTo>
                    <a:cubicBezTo>
                      <a:pt x="1685" y="168"/>
                      <a:pt x="1682" y="166"/>
                      <a:pt x="1679" y="165"/>
                    </a:cubicBezTo>
                    <a:lnTo>
                      <a:pt x="1679" y="241"/>
                    </a:lnTo>
                    <a:cubicBezTo>
                      <a:pt x="1682" y="242"/>
                      <a:pt x="1684" y="243"/>
                      <a:pt x="1686" y="243"/>
                    </a:cubicBezTo>
                    <a:cubicBezTo>
                      <a:pt x="1684" y="243"/>
                      <a:pt x="1682" y="242"/>
                      <a:pt x="1679" y="241"/>
                    </a:cubicBezTo>
                    <a:lnTo>
                      <a:pt x="1679" y="325"/>
                    </a:lnTo>
                    <a:lnTo>
                      <a:pt x="1679" y="325"/>
                    </a:lnTo>
                    <a:lnTo>
                      <a:pt x="1679" y="379"/>
                    </a:lnTo>
                    <a:lnTo>
                      <a:pt x="1678" y="380"/>
                    </a:lnTo>
                    <a:cubicBezTo>
                      <a:pt x="1600" y="315"/>
                      <a:pt x="1510" y="264"/>
                      <a:pt x="1411" y="230"/>
                    </a:cubicBezTo>
                    <a:lnTo>
                      <a:pt x="1411" y="230"/>
                    </a:lnTo>
                    <a:cubicBezTo>
                      <a:pt x="1409" y="229"/>
                      <a:pt x="1407" y="229"/>
                      <a:pt x="1405" y="228"/>
                    </a:cubicBezTo>
                    <a:lnTo>
                      <a:pt x="1403" y="227"/>
                    </a:lnTo>
                    <a:cubicBezTo>
                      <a:pt x="1319" y="200"/>
                      <a:pt x="1230" y="185"/>
                      <a:pt x="1137" y="185"/>
                    </a:cubicBezTo>
                    <a:cubicBezTo>
                      <a:pt x="1097" y="185"/>
                      <a:pt x="1058" y="187"/>
                      <a:pt x="1020" y="193"/>
                    </a:cubicBezTo>
                    <a:lnTo>
                      <a:pt x="1020" y="75"/>
                    </a:lnTo>
                    <a:cubicBezTo>
                      <a:pt x="1017" y="76"/>
                      <a:pt x="1014" y="76"/>
                      <a:pt x="1011" y="76"/>
                    </a:cubicBezTo>
                    <a:lnTo>
                      <a:pt x="1011" y="194"/>
                    </a:lnTo>
                    <a:cubicBezTo>
                      <a:pt x="916" y="208"/>
                      <a:pt x="826" y="238"/>
                      <a:pt x="743" y="281"/>
                    </a:cubicBezTo>
                    <a:lnTo>
                      <a:pt x="743" y="133"/>
                    </a:lnTo>
                    <a:cubicBezTo>
                      <a:pt x="740" y="134"/>
                      <a:pt x="737" y="135"/>
                      <a:pt x="735" y="136"/>
                    </a:cubicBezTo>
                    <a:lnTo>
                      <a:pt x="735" y="286"/>
                    </a:lnTo>
                    <a:cubicBezTo>
                      <a:pt x="715" y="296"/>
                      <a:pt x="696" y="308"/>
                      <a:pt x="677" y="320"/>
                    </a:cubicBezTo>
                    <a:lnTo>
                      <a:pt x="677" y="177"/>
                    </a:lnTo>
                    <a:lnTo>
                      <a:pt x="676" y="178"/>
                    </a:lnTo>
                    <a:lnTo>
                      <a:pt x="677" y="177"/>
                    </a:lnTo>
                    <a:lnTo>
                      <a:pt x="677" y="158"/>
                    </a:lnTo>
                    <a:cubicBezTo>
                      <a:pt x="675" y="159"/>
                      <a:pt x="672" y="160"/>
                      <a:pt x="669" y="161"/>
                    </a:cubicBezTo>
                    <a:lnTo>
                      <a:pt x="669" y="184"/>
                    </a:lnTo>
                    <a:lnTo>
                      <a:pt x="669" y="184"/>
                    </a:lnTo>
                    <a:lnTo>
                      <a:pt x="669" y="325"/>
                    </a:lnTo>
                    <a:cubicBezTo>
                      <a:pt x="640" y="345"/>
                      <a:pt x="612" y="366"/>
                      <a:pt x="585" y="388"/>
                    </a:cubicBezTo>
                    <a:lnTo>
                      <a:pt x="585" y="261"/>
                    </a:lnTo>
                    <a:lnTo>
                      <a:pt x="585" y="261"/>
                    </a:lnTo>
                    <a:lnTo>
                      <a:pt x="585" y="201"/>
                    </a:lnTo>
                    <a:cubicBezTo>
                      <a:pt x="582" y="203"/>
                      <a:pt x="579" y="204"/>
                      <a:pt x="576" y="206"/>
                    </a:cubicBezTo>
                    <a:lnTo>
                      <a:pt x="576" y="270"/>
                    </a:lnTo>
                    <a:lnTo>
                      <a:pt x="576" y="270"/>
                    </a:lnTo>
                    <a:cubicBezTo>
                      <a:pt x="579" y="268"/>
                      <a:pt x="582" y="265"/>
                      <a:pt x="584" y="262"/>
                    </a:cubicBezTo>
                    <a:lnTo>
                      <a:pt x="576" y="270"/>
                    </a:lnTo>
                    <a:lnTo>
                      <a:pt x="576" y="396"/>
                    </a:lnTo>
                    <a:cubicBezTo>
                      <a:pt x="563" y="408"/>
                      <a:pt x="550" y="420"/>
                      <a:pt x="537" y="433"/>
                    </a:cubicBezTo>
                    <a:cubicBezTo>
                      <a:pt x="528" y="442"/>
                      <a:pt x="519" y="451"/>
                      <a:pt x="511" y="460"/>
                    </a:cubicBezTo>
                    <a:lnTo>
                      <a:pt x="493" y="441"/>
                    </a:lnTo>
                    <a:lnTo>
                      <a:pt x="493" y="376"/>
                    </a:lnTo>
                    <a:lnTo>
                      <a:pt x="493" y="376"/>
                    </a:lnTo>
                    <a:lnTo>
                      <a:pt x="493" y="258"/>
                    </a:lnTo>
                    <a:cubicBezTo>
                      <a:pt x="490" y="260"/>
                      <a:pt x="487" y="262"/>
                      <a:pt x="484" y="264"/>
                    </a:cubicBezTo>
                    <a:lnTo>
                      <a:pt x="484" y="389"/>
                    </a:lnTo>
                    <a:lnTo>
                      <a:pt x="484" y="389"/>
                    </a:lnTo>
                    <a:cubicBezTo>
                      <a:pt x="487" y="385"/>
                      <a:pt x="489" y="381"/>
                      <a:pt x="491" y="378"/>
                    </a:cubicBezTo>
                    <a:lnTo>
                      <a:pt x="484" y="389"/>
                    </a:lnTo>
                    <a:lnTo>
                      <a:pt x="484" y="445"/>
                    </a:lnTo>
                    <a:lnTo>
                      <a:pt x="505" y="467"/>
                    </a:lnTo>
                    <a:cubicBezTo>
                      <a:pt x="486" y="488"/>
                      <a:pt x="468" y="510"/>
                      <a:pt x="452" y="532"/>
                    </a:cubicBezTo>
                    <a:lnTo>
                      <a:pt x="421" y="501"/>
                    </a:lnTo>
                    <a:lnTo>
                      <a:pt x="421" y="501"/>
                    </a:lnTo>
                    <a:lnTo>
                      <a:pt x="387" y="466"/>
                    </a:lnTo>
                    <a:lnTo>
                      <a:pt x="387" y="345"/>
                    </a:lnTo>
                    <a:cubicBezTo>
                      <a:pt x="384" y="348"/>
                      <a:pt x="382" y="351"/>
                      <a:pt x="379" y="353"/>
                    </a:cubicBezTo>
                    <a:lnTo>
                      <a:pt x="379" y="470"/>
                    </a:lnTo>
                    <a:lnTo>
                      <a:pt x="417" y="509"/>
                    </a:lnTo>
                    <a:lnTo>
                      <a:pt x="417" y="509"/>
                    </a:lnTo>
                    <a:lnTo>
                      <a:pt x="419" y="505"/>
                    </a:lnTo>
                    <a:cubicBezTo>
                      <a:pt x="418" y="506"/>
                      <a:pt x="418" y="508"/>
                      <a:pt x="417" y="509"/>
                    </a:cubicBezTo>
                    <a:lnTo>
                      <a:pt x="447" y="540"/>
                    </a:lnTo>
                    <a:cubicBezTo>
                      <a:pt x="430" y="562"/>
                      <a:pt x="415" y="586"/>
                      <a:pt x="401" y="610"/>
                    </a:cubicBezTo>
                    <a:lnTo>
                      <a:pt x="383" y="590"/>
                    </a:lnTo>
                    <a:lnTo>
                      <a:pt x="383" y="591"/>
                    </a:lnTo>
                    <a:lnTo>
                      <a:pt x="383" y="590"/>
                    </a:lnTo>
                    <a:lnTo>
                      <a:pt x="308" y="503"/>
                    </a:lnTo>
                    <a:lnTo>
                      <a:pt x="308" y="433"/>
                    </a:lnTo>
                    <a:cubicBezTo>
                      <a:pt x="305" y="436"/>
                      <a:pt x="302" y="440"/>
                      <a:pt x="300" y="444"/>
                    </a:cubicBezTo>
                    <a:lnTo>
                      <a:pt x="300" y="506"/>
                    </a:lnTo>
                    <a:lnTo>
                      <a:pt x="380" y="599"/>
                    </a:lnTo>
                    <a:lnTo>
                      <a:pt x="380" y="599"/>
                    </a:lnTo>
                    <a:lnTo>
                      <a:pt x="381" y="596"/>
                    </a:lnTo>
                    <a:lnTo>
                      <a:pt x="380" y="599"/>
                    </a:lnTo>
                    <a:lnTo>
                      <a:pt x="396" y="618"/>
                    </a:lnTo>
                    <a:cubicBezTo>
                      <a:pt x="382" y="643"/>
                      <a:pt x="370" y="669"/>
                      <a:pt x="358" y="696"/>
                    </a:cubicBezTo>
                    <a:lnTo>
                      <a:pt x="351" y="689"/>
                    </a:lnTo>
                    <a:cubicBezTo>
                      <a:pt x="350" y="692"/>
                      <a:pt x="350" y="694"/>
                      <a:pt x="349" y="697"/>
                    </a:cubicBezTo>
                    <a:cubicBezTo>
                      <a:pt x="350" y="694"/>
                      <a:pt x="350" y="692"/>
                      <a:pt x="351" y="689"/>
                    </a:cubicBezTo>
                    <a:lnTo>
                      <a:pt x="224" y="561"/>
                    </a:lnTo>
                    <a:cubicBezTo>
                      <a:pt x="223" y="564"/>
                      <a:pt x="221" y="566"/>
                      <a:pt x="220" y="569"/>
                    </a:cubicBezTo>
                    <a:lnTo>
                      <a:pt x="348" y="699"/>
                    </a:lnTo>
                    <a:lnTo>
                      <a:pt x="348" y="699"/>
                    </a:lnTo>
                    <a:lnTo>
                      <a:pt x="354" y="705"/>
                    </a:lnTo>
                    <a:cubicBezTo>
                      <a:pt x="350" y="714"/>
                      <a:pt x="346" y="724"/>
                      <a:pt x="343" y="733"/>
                    </a:cubicBezTo>
                    <a:cubicBezTo>
                      <a:pt x="342" y="736"/>
                      <a:pt x="341" y="739"/>
                      <a:pt x="339" y="742"/>
                    </a:cubicBezTo>
                    <a:cubicBezTo>
                      <a:pt x="318" y="801"/>
                      <a:pt x="303" y="862"/>
                      <a:pt x="295" y="926"/>
                    </a:cubicBezTo>
                    <a:lnTo>
                      <a:pt x="282" y="914"/>
                    </a:lnTo>
                    <a:lnTo>
                      <a:pt x="282" y="857"/>
                    </a:lnTo>
                    <a:lnTo>
                      <a:pt x="151" y="731"/>
                    </a:lnTo>
                    <a:cubicBezTo>
                      <a:pt x="150" y="734"/>
                      <a:pt x="149" y="737"/>
                      <a:pt x="148" y="740"/>
                    </a:cubicBezTo>
                    <a:lnTo>
                      <a:pt x="273" y="861"/>
                    </a:lnTo>
                    <a:lnTo>
                      <a:pt x="273" y="918"/>
                    </a:lnTo>
                    <a:lnTo>
                      <a:pt x="294" y="936"/>
                    </a:lnTo>
                    <a:cubicBezTo>
                      <a:pt x="291" y="966"/>
                      <a:pt x="289" y="997"/>
                      <a:pt x="289" y="1028"/>
                    </a:cubicBezTo>
                    <a:lnTo>
                      <a:pt x="203" y="948"/>
                    </a:lnTo>
                    <a:lnTo>
                      <a:pt x="203" y="886"/>
                    </a:lnTo>
                    <a:lnTo>
                      <a:pt x="127" y="812"/>
                    </a:lnTo>
                    <a:cubicBezTo>
                      <a:pt x="127" y="815"/>
                      <a:pt x="126" y="819"/>
                      <a:pt x="125" y="822"/>
                    </a:cubicBezTo>
                    <a:lnTo>
                      <a:pt x="194" y="889"/>
                    </a:lnTo>
                    <a:lnTo>
                      <a:pt x="194" y="951"/>
                    </a:lnTo>
                    <a:lnTo>
                      <a:pt x="289" y="1040"/>
                    </a:lnTo>
                    <a:cubicBezTo>
                      <a:pt x="289" y="1084"/>
                      <a:pt x="293" y="1127"/>
                      <a:pt x="299" y="1169"/>
                    </a:cubicBezTo>
                    <a:lnTo>
                      <a:pt x="274" y="1169"/>
                    </a:lnTo>
                    <a:lnTo>
                      <a:pt x="96" y="982"/>
                    </a:lnTo>
                    <a:cubicBezTo>
                      <a:pt x="95" y="986"/>
                      <a:pt x="95" y="990"/>
                      <a:pt x="94" y="994"/>
                    </a:cubicBezTo>
                    <a:lnTo>
                      <a:pt x="270" y="1178"/>
                    </a:lnTo>
                    <a:lnTo>
                      <a:pt x="301" y="1178"/>
                    </a:lnTo>
                    <a:cubicBezTo>
                      <a:pt x="304" y="1197"/>
                      <a:pt x="308" y="1216"/>
                      <a:pt x="313" y="1235"/>
                    </a:cubicBezTo>
                    <a:lnTo>
                      <a:pt x="307" y="1235"/>
                    </a:lnTo>
                    <a:lnTo>
                      <a:pt x="307" y="1235"/>
                    </a:lnTo>
                    <a:lnTo>
                      <a:pt x="274" y="1235"/>
                    </a:lnTo>
                    <a:lnTo>
                      <a:pt x="90" y="1039"/>
                    </a:lnTo>
                    <a:cubicBezTo>
                      <a:pt x="90" y="1043"/>
                      <a:pt x="89" y="1047"/>
                      <a:pt x="89" y="1050"/>
                    </a:cubicBezTo>
                    <a:lnTo>
                      <a:pt x="270" y="1244"/>
                    </a:lnTo>
                    <a:lnTo>
                      <a:pt x="308" y="1244"/>
                    </a:lnTo>
                    <a:lnTo>
                      <a:pt x="308" y="1244"/>
                    </a:lnTo>
                    <a:cubicBezTo>
                      <a:pt x="308" y="1242"/>
                      <a:pt x="308" y="1240"/>
                      <a:pt x="308" y="1237"/>
                    </a:cubicBezTo>
                    <a:lnTo>
                      <a:pt x="308" y="1244"/>
                    </a:lnTo>
                    <a:lnTo>
                      <a:pt x="315" y="1244"/>
                    </a:lnTo>
                    <a:cubicBezTo>
                      <a:pt x="323" y="1277"/>
                      <a:pt x="334" y="1309"/>
                      <a:pt x="346" y="1340"/>
                    </a:cubicBezTo>
                    <a:lnTo>
                      <a:pt x="321" y="1340"/>
                    </a:lnTo>
                    <a:lnTo>
                      <a:pt x="321" y="1340"/>
                    </a:lnTo>
                    <a:lnTo>
                      <a:pt x="92" y="1340"/>
                    </a:lnTo>
                    <a:cubicBezTo>
                      <a:pt x="93" y="1343"/>
                      <a:pt x="94" y="1346"/>
                      <a:pt x="94" y="1349"/>
                    </a:cubicBezTo>
                    <a:lnTo>
                      <a:pt x="322" y="1349"/>
                    </a:lnTo>
                    <a:lnTo>
                      <a:pt x="322" y="1349"/>
                    </a:lnTo>
                    <a:lnTo>
                      <a:pt x="322" y="1349"/>
                    </a:lnTo>
                    <a:lnTo>
                      <a:pt x="349" y="1349"/>
                    </a:lnTo>
                    <a:cubicBezTo>
                      <a:pt x="357" y="1368"/>
                      <a:pt x="366" y="1388"/>
                      <a:pt x="375" y="1406"/>
                    </a:cubicBezTo>
                    <a:lnTo>
                      <a:pt x="332" y="1406"/>
                    </a:lnTo>
                    <a:lnTo>
                      <a:pt x="332" y="1406"/>
                    </a:lnTo>
                    <a:lnTo>
                      <a:pt x="108" y="1406"/>
                    </a:lnTo>
                    <a:lnTo>
                      <a:pt x="108" y="1406"/>
                    </a:lnTo>
                    <a:lnTo>
                      <a:pt x="100" y="1406"/>
                    </a:lnTo>
                    <a:cubicBezTo>
                      <a:pt x="101" y="1409"/>
                      <a:pt x="101" y="1412"/>
                      <a:pt x="102" y="1415"/>
                    </a:cubicBezTo>
                    <a:lnTo>
                      <a:pt x="110" y="1415"/>
                    </a:lnTo>
                    <a:lnTo>
                      <a:pt x="110" y="1412"/>
                    </a:lnTo>
                    <a:cubicBezTo>
                      <a:pt x="110" y="1413"/>
                      <a:pt x="110" y="1414"/>
                      <a:pt x="110" y="1415"/>
                    </a:cubicBezTo>
                    <a:lnTo>
                      <a:pt x="334" y="1415"/>
                    </a:lnTo>
                    <a:lnTo>
                      <a:pt x="334" y="1415"/>
                    </a:lnTo>
                    <a:lnTo>
                      <a:pt x="334" y="1413"/>
                    </a:lnTo>
                    <a:lnTo>
                      <a:pt x="334" y="1415"/>
                    </a:lnTo>
                    <a:lnTo>
                      <a:pt x="379" y="1415"/>
                    </a:lnTo>
                    <a:cubicBezTo>
                      <a:pt x="392" y="1439"/>
                      <a:pt x="405" y="1463"/>
                      <a:pt x="419" y="1485"/>
                    </a:cubicBezTo>
                    <a:lnTo>
                      <a:pt x="351" y="1485"/>
                    </a:lnTo>
                    <a:lnTo>
                      <a:pt x="351" y="1485"/>
                    </a:lnTo>
                    <a:lnTo>
                      <a:pt x="167" y="1485"/>
                    </a:lnTo>
                    <a:lnTo>
                      <a:pt x="143" y="1517"/>
                    </a:lnTo>
                    <a:lnTo>
                      <a:pt x="143" y="1518"/>
                    </a:lnTo>
                    <a:lnTo>
                      <a:pt x="143" y="1517"/>
                    </a:lnTo>
                    <a:lnTo>
                      <a:pt x="126" y="1538"/>
                    </a:lnTo>
                    <a:cubicBezTo>
                      <a:pt x="126" y="1542"/>
                      <a:pt x="127" y="1546"/>
                      <a:pt x="128" y="1549"/>
                    </a:cubicBezTo>
                    <a:lnTo>
                      <a:pt x="146" y="1526"/>
                    </a:lnTo>
                    <a:lnTo>
                      <a:pt x="146" y="1526"/>
                    </a:lnTo>
                    <a:lnTo>
                      <a:pt x="171" y="1494"/>
                    </a:lnTo>
                    <a:lnTo>
                      <a:pt x="353" y="1494"/>
                    </a:lnTo>
                    <a:lnTo>
                      <a:pt x="353" y="1494"/>
                    </a:lnTo>
                    <a:lnTo>
                      <a:pt x="425" y="1494"/>
                    </a:lnTo>
                    <a:cubicBezTo>
                      <a:pt x="450" y="1533"/>
                      <a:pt x="479" y="1570"/>
                      <a:pt x="510" y="1604"/>
                    </a:cubicBezTo>
                    <a:lnTo>
                      <a:pt x="387" y="1604"/>
                    </a:lnTo>
                    <a:cubicBezTo>
                      <a:pt x="387" y="1606"/>
                      <a:pt x="388" y="1608"/>
                      <a:pt x="389" y="1611"/>
                    </a:cubicBezTo>
                    <a:lnTo>
                      <a:pt x="387" y="1604"/>
                    </a:lnTo>
                    <a:lnTo>
                      <a:pt x="195" y="1604"/>
                    </a:lnTo>
                    <a:lnTo>
                      <a:pt x="183" y="1615"/>
                    </a:lnTo>
                    <a:lnTo>
                      <a:pt x="183" y="1615"/>
                    </a:lnTo>
                    <a:lnTo>
                      <a:pt x="154" y="1641"/>
                    </a:lnTo>
                    <a:cubicBezTo>
                      <a:pt x="155" y="1644"/>
                      <a:pt x="156" y="1647"/>
                      <a:pt x="157" y="1650"/>
                    </a:cubicBezTo>
                    <a:lnTo>
                      <a:pt x="187" y="1623"/>
                    </a:lnTo>
                    <a:lnTo>
                      <a:pt x="187" y="1623"/>
                    </a:lnTo>
                    <a:lnTo>
                      <a:pt x="199" y="1613"/>
                    </a:lnTo>
                    <a:lnTo>
                      <a:pt x="390" y="1613"/>
                    </a:lnTo>
                    <a:lnTo>
                      <a:pt x="390" y="1613"/>
                    </a:lnTo>
                    <a:lnTo>
                      <a:pt x="514" y="1613"/>
                    </a:lnTo>
                    <a:lnTo>
                      <a:pt x="514" y="1613"/>
                    </a:lnTo>
                    <a:lnTo>
                      <a:pt x="516" y="1611"/>
                    </a:lnTo>
                    <a:cubicBezTo>
                      <a:pt x="523" y="1618"/>
                      <a:pt x="530" y="1625"/>
                      <a:pt x="537" y="1632"/>
                    </a:cubicBezTo>
                    <a:cubicBezTo>
                      <a:pt x="546" y="1642"/>
                      <a:pt x="556" y="1651"/>
                      <a:pt x="566" y="1660"/>
                    </a:cubicBezTo>
                    <a:lnTo>
                      <a:pt x="556" y="1670"/>
                    </a:lnTo>
                    <a:lnTo>
                      <a:pt x="411" y="1670"/>
                    </a:lnTo>
                    <a:lnTo>
                      <a:pt x="411" y="1670"/>
                    </a:lnTo>
                    <a:lnTo>
                      <a:pt x="266" y="1670"/>
                    </a:lnTo>
                    <a:lnTo>
                      <a:pt x="229" y="1707"/>
                    </a:lnTo>
                    <a:lnTo>
                      <a:pt x="229" y="1707"/>
                    </a:lnTo>
                    <a:lnTo>
                      <a:pt x="191" y="1746"/>
                    </a:lnTo>
                    <a:cubicBezTo>
                      <a:pt x="192" y="1749"/>
                      <a:pt x="193" y="1752"/>
                      <a:pt x="194" y="1755"/>
                    </a:cubicBezTo>
                    <a:lnTo>
                      <a:pt x="234" y="1715"/>
                    </a:lnTo>
                    <a:lnTo>
                      <a:pt x="232" y="1712"/>
                    </a:lnTo>
                    <a:lnTo>
                      <a:pt x="234" y="1715"/>
                    </a:lnTo>
                    <a:lnTo>
                      <a:pt x="234" y="1715"/>
                    </a:lnTo>
                    <a:lnTo>
                      <a:pt x="270" y="1679"/>
                    </a:lnTo>
                    <a:lnTo>
                      <a:pt x="415" y="1679"/>
                    </a:lnTo>
                    <a:lnTo>
                      <a:pt x="415" y="1679"/>
                    </a:lnTo>
                    <a:lnTo>
                      <a:pt x="560" y="1679"/>
                    </a:lnTo>
                    <a:lnTo>
                      <a:pt x="560" y="1679"/>
                    </a:lnTo>
                    <a:lnTo>
                      <a:pt x="572" y="1666"/>
                    </a:lnTo>
                    <a:cubicBezTo>
                      <a:pt x="588" y="1680"/>
                      <a:pt x="605" y="1694"/>
                      <a:pt x="622" y="1707"/>
                    </a:cubicBezTo>
                    <a:lnTo>
                      <a:pt x="590" y="1736"/>
                    </a:lnTo>
                    <a:lnTo>
                      <a:pt x="440" y="1736"/>
                    </a:lnTo>
                    <a:lnTo>
                      <a:pt x="440" y="1736"/>
                    </a:lnTo>
                    <a:lnTo>
                      <a:pt x="301" y="1736"/>
                    </a:lnTo>
                    <a:lnTo>
                      <a:pt x="267" y="1771"/>
                    </a:lnTo>
                    <a:lnTo>
                      <a:pt x="267" y="1771"/>
                    </a:lnTo>
                    <a:lnTo>
                      <a:pt x="221" y="1819"/>
                    </a:lnTo>
                    <a:cubicBezTo>
                      <a:pt x="222" y="1822"/>
                      <a:pt x="224" y="1824"/>
                      <a:pt x="225" y="1827"/>
                    </a:cubicBezTo>
                    <a:lnTo>
                      <a:pt x="272" y="1778"/>
                    </a:lnTo>
                    <a:lnTo>
                      <a:pt x="271" y="1776"/>
                    </a:lnTo>
                    <a:lnTo>
                      <a:pt x="272" y="1778"/>
                    </a:lnTo>
                    <a:lnTo>
                      <a:pt x="272" y="1778"/>
                    </a:lnTo>
                    <a:lnTo>
                      <a:pt x="304" y="1745"/>
                    </a:lnTo>
                    <a:lnTo>
                      <a:pt x="444" y="1745"/>
                    </a:lnTo>
                    <a:lnTo>
                      <a:pt x="441" y="1740"/>
                    </a:lnTo>
                    <a:cubicBezTo>
                      <a:pt x="442" y="1741"/>
                      <a:pt x="443" y="1743"/>
                      <a:pt x="444" y="1745"/>
                    </a:cubicBezTo>
                    <a:lnTo>
                      <a:pt x="593" y="1745"/>
                    </a:lnTo>
                    <a:lnTo>
                      <a:pt x="629" y="1712"/>
                    </a:lnTo>
                    <a:cubicBezTo>
                      <a:pt x="651" y="1728"/>
                      <a:pt x="673" y="1744"/>
                      <a:pt x="696" y="1758"/>
                    </a:cubicBezTo>
                    <a:lnTo>
                      <a:pt x="617" y="1841"/>
                    </a:lnTo>
                    <a:lnTo>
                      <a:pt x="493" y="1841"/>
                    </a:lnTo>
                    <a:cubicBezTo>
                      <a:pt x="495" y="1844"/>
                      <a:pt x="496" y="1847"/>
                      <a:pt x="498" y="1850"/>
                    </a:cubicBezTo>
                    <a:lnTo>
                      <a:pt x="620" y="1850"/>
                    </a:lnTo>
                    <a:lnTo>
                      <a:pt x="704" y="1762"/>
                    </a:lnTo>
                    <a:cubicBezTo>
                      <a:pt x="712" y="1767"/>
                      <a:pt x="720" y="1772"/>
                      <a:pt x="729" y="1777"/>
                    </a:cubicBezTo>
                    <a:lnTo>
                      <a:pt x="632" y="1894"/>
                    </a:lnTo>
                    <a:lnTo>
                      <a:pt x="524" y="1894"/>
                    </a:lnTo>
                    <a:cubicBezTo>
                      <a:pt x="526" y="1897"/>
                      <a:pt x="527" y="1900"/>
                      <a:pt x="529" y="1903"/>
                    </a:cubicBezTo>
                    <a:lnTo>
                      <a:pt x="636" y="1903"/>
                    </a:lnTo>
                    <a:lnTo>
                      <a:pt x="636" y="1903"/>
                    </a:lnTo>
                    <a:lnTo>
                      <a:pt x="737" y="1781"/>
                    </a:lnTo>
                    <a:cubicBezTo>
                      <a:pt x="856" y="1845"/>
                      <a:pt x="992" y="1881"/>
                      <a:pt x="1137" y="1881"/>
                    </a:cubicBezTo>
                    <a:cubicBezTo>
                      <a:pt x="1371" y="1881"/>
                      <a:pt x="1583" y="1786"/>
                      <a:pt x="1736" y="1632"/>
                    </a:cubicBezTo>
                    <a:cubicBezTo>
                      <a:pt x="1890" y="1479"/>
                      <a:pt x="1985" y="1267"/>
                      <a:pt x="1985" y="1033"/>
                    </a:cubicBezTo>
                    <a:cubicBezTo>
                      <a:pt x="1985" y="855"/>
                      <a:pt x="1930" y="690"/>
                      <a:pt x="1837" y="554"/>
                    </a:cubicBezTo>
                    <a:lnTo>
                      <a:pt x="1939" y="448"/>
                    </a:lnTo>
                    <a:lnTo>
                      <a:pt x="1939" y="442"/>
                    </a:lnTo>
                    <a:lnTo>
                      <a:pt x="1908" y="475"/>
                    </a:lnTo>
                    <a:cubicBezTo>
                      <a:pt x="1908" y="474"/>
                      <a:pt x="1908" y="474"/>
                      <a:pt x="1907" y="474"/>
                    </a:cubicBezTo>
                    <a:lnTo>
                      <a:pt x="1908" y="475"/>
                    </a:lnTo>
                    <a:lnTo>
                      <a:pt x="1908" y="475"/>
                    </a:lnTo>
                    <a:lnTo>
                      <a:pt x="1939" y="442"/>
                    </a:lnTo>
                    <a:lnTo>
                      <a:pt x="1939" y="398"/>
                    </a:lnTo>
                    <a:lnTo>
                      <a:pt x="1939" y="398"/>
                    </a:lnTo>
                    <a:lnTo>
                      <a:pt x="1939" y="322"/>
                    </a:lnTo>
                    <a:close/>
                    <a:moveTo>
                      <a:pt x="1846" y="252"/>
                    </a:moveTo>
                    <a:cubicBezTo>
                      <a:pt x="1844" y="250"/>
                      <a:pt x="1841" y="248"/>
                      <a:pt x="1838" y="246"/>
                    </a:cubicBezTo>
                    <a:lnTo>
                      <a:pt x="1838" y="322"/>
                    </a:lnTo>
                    <a:cubicBezTo>
                      <a:pt x="1841" y="324"/>
                      <a:pt x="1844" y="326"/>
                      <a:pt x="1846" y="328"/>
                    </a:cubicBezTo>
                    <a:lnTo>
                      <a:pt x="1846" y="328"/>
                    </a:lnTo>
                    <a:lnTo>
                      <a:pt x="1846" y="252"/>
                    </a:lnTo>
                    <a:close/>
                    <a:moveTo>
                      <a:pt x="92" y="1340"/>
                    </a:moveTo>
                    <a:cubicBezTo>
                      <a:pt x="93" y="1343"/>
                      <a:pt x="93" y="1346"/>
                      <a:pt x="93" y="1349"/>
                    </a:cubicBezTo>
                    <a:lnTo>
                      <a:pt x="94" y="1349"/>
                    </a:lnTo>
                    <a:cubicBezTo>
                      <a:pt x="94" y="1346"/>
                      <a:pt x="93" y="1343"/>
                      <a:pt x="92" y="1340"/>
                    </a:cubicBezTo>
                    <a:close/>
                    <a:moveTo>
                      <a:pt x="270" y="1919"/>
                    </a:moveTo>
                    <a:cubicBezTo>
                      <a:pt x="271" y="1922"/>
                      <a:pt x="273" y="1924"/>
                      <a:pt x="274" y="1927"/>
                    </a:cubicBezTo>
                    <a:lnTo>
                      <a:pt x="336" y="1869"/>
                    </a:lnTo>
                    <a:lnTo>
                      <a:pt x="336" y="1869"/>
                    </a:lnTo>
                    <a:lnTo>
                      <a:pt x="336" y="1869"/>
                    </a:lnTo>
                    <a:lnTo>
                      <a:pt x="356" y="1850"/>
                    </a:lnTo>
                    <a:lnTo>
                      <a:pt x="498" y="1850"/>
                    </a:lnTo>
                    <a:cubicBezTo>
                      <a:pt x="496" y="1847"/>
                      <a:pt x="495" y="1844"/>
                      <a:pt x="493" y="1841"/>
                    </a:cubicBezTo>
                    <a:lnTo>
                      <a:pt x="353" y="1841"/>
                    </a:lnTo>
                    <a:lnTo>
                      <a:pt x="331" y="1862"/>
                    </a:lnTo>
                    <a:lnTo>
                      <a:pt x="332" y="1864"/>
                    </a:lnTo>
                    <a:lnTo>
                      <a:pt x="331" y="1862"/>
                    </a:lnTo>
                    <a:lnTo>
                      <a:pt x="270" y="1919"/>
                    </a:lnTo>
                    <a:close/>
                    <a:moveTo>
                      <a:pt x="1051" y="947"/>
                    </a:moveTo>
                    <a:cubicBezTo>
                      <a:pt x="1067" y="931"/>
                      <a:pt x="1088" y="919"/>
                      <a:pt x="1111" y="914"/>
                    </a:cubicBezTo>
                    <a:lnTo>
                      <a:pt x="1131" y="934"/>
                    </a:lnTo>
                    <a:lnTo>
                      <a:pt x="1131" y="934"/>
                    </a:lnTo>
                    <a:lnTo>
                      <a:pt x="1131" y="934"/>
                    </a:lnTo>
                    <a:cubicBezTo>
                      <a:pt x="1125" y="939"/>
                      <a:pt x="1121" y="946"/>
                      <a:pt x="1121" y="954"/>
                    </a:cubicBezTo>
                    <a:cubicBezTo>
                      <a:pt x="1121" y="968"/>
                      <a:pt x="1133" y="979"/>
                      <a:pt x="1147" y="979"/>
                    </a:cubicBezTo>
                    <a:lnTo>
                      <a:pt x="1147" y="979"/>
                    </a:lnTo>
                    <a:cubicBezTo>
                      <a:pt x="1161" y="979"/>
                      <a:pt x="1172" y="968"/>
                      <a:pt x="1172" y="954"/>
                    </a:cubicBezTo>
                    <a:cubicBezTo>
                      <a:pt x="1172" y="940"/>
                      <a:pt x="1161" y="929"/>
                      <a:pt x="1147" y="929"/>
                    </a:cubicBezTo>
                    <a:cubicBezTo>
                      <a:pt x="1144" y="929"/>
                      <a:pt x="1142" y="929"/>
                      <a:pt x="1139" y="930"/>
                    </a:cubicBezTo>
                    <a:lnTo>
                      <a:pt x="1139" y="930"/>
                    </a:lnTo>
                    <a:cubicBezTo>
                      <a:pt x="1136" y="931"/>
                      <a:pt x="1134" y="932"/>
                      <a:pt x="1132" y="934"/>
                    </a:cubicBezTo>
                    <a:cubicBezTo>
                      <a:pt x="1134" y="932"/>
                      <a:pt x="1136" y="931"/>
                      <a:pt x="1139" y="930"/>
                    </a:cubicBezTo>
                    <a:lnTo>
                      <a:pt x="1121" y="912"/>
                    </a:lnTo>
                    <a:cubicBezTo>
                      <a:pt x="1126" y="912"/>
                      <a:pt x="1131" y="911"/>
                      <a:pt x="1137" y="911"/>
                    </a:cubicBezTo>
                    <a:cubicBezTo>
                      <a:pt x="1170" y="911"/>
                      <a:pt x="1200" y="925"/>
                      <a:pt x="1222" y="947"/>
                    </a:cubicBezTo>
                    <a:cubicBezTo>
                      <a:pt x="1244" y="969"/>
                      <a:pt x="1258" y="999"/>
                      <a:pt x="1258" y="1033"/>
                    </a:cubicBezTo>
                    <a:cubicBezTo>
                      <a:pt x="1258" y="1066"/>
                      <a:pt x="1244" y="1097"/>
                      <a:pt x="1222" y="1118"/>
                    </a:cubicBezTo>
                    <a:cubicBezTo>
                      <a:pt x="1200" y="1140"/>
                      <a:pt x="1170" y="1154"/>
                      <a:pt x="1137" y="1154"/>
                    </a:cubicBezTo>
                    <a:cubicBezTo>
                      <a:pt x="1103" y="1154"/>
                      <a:pt x="1073" y="1140"/>
                      <a:pt x="1051" y="1118"/>
                    </a:cubicBezTo>
                    <a:cubicBezTo>
                      <a:pt x="1045" y="1113"/>
                      <a:pt x="1040" y="1107"/>
                      <a:pt x="1036" y="1100"/>
                    </a:cubicBezTo>
                    <a:cubicBezTo>
                      <a:pt x="1039" y="1096"/>
                      <a:pt x="1040" y="1091"/>
                      <a:pt x="1040" y="1086"/>
                    </a:cubicBezTo>
                    <a:cubicBezTo>
                      <a:pt x="1040" y="1073"/>
                      <a:pt x="1031" y="1063"/>
                      <a:pt x="1019" y="1061"/>
                    </a:cubicBezTo>
                    <a:cubicBezTo>
                      <a:pt x="1017" y="1052"/>
                      <a:pt x="1015" y="1042"/>
                      <a:pt x="1015" y="1033"/>
                    </a:cubicBezTo>
                    <a:cubicBezTo>
                      <a:pt x="1015" y="999"/>
                      <a:pt x="1029" y="969"/>
                      <a:pt x="1051" y="947"/>
                    </a:cubicBezTo>
                    <a:close/>
                    <a:moveTo>
                      <a:pt x="845" y="1349"/>
                    </a:moveTo>
                    <a:lnTo>
                      <a:pt x="845" y="1349"/>
                    </a:lnTo>
                    <a:lnTo>
                      <a:pt x="835" y="1349"/>
                    </a:lnTo>
                    <a:lnTo>
                      <a:pt x="832" y="1345"/>
                    </a:lnTo>
                    <a:cubicBezTo>
                      <a:pt x="833" y="1347"/>
                      <a:pt x="834" y="1348"/>
                      <a:pt x="834" y="1349"/>
                    </a:cubicBezTo>
                    <a:lnTo>
                      <a:pt x="834" y="1349"/>
                    </a:lnTo>
                    <a:lnTo>
                      <a:pt x="728" y="1349"/>
                    </a:lnTo>
                    <a:cubicBezTo>
                      <a:pt x="744" y="1370"/>
                      <a:pt x="762" y="1389"/>
                      <a:pt x="780" y="1406"/>
                    </a:cubicBezTo>
                    <a:lnTo>
                      <a:pt x="836" y="1406"/>
                    </a:lnTo>
                    <a:cubicBezTo>
                      <a:pt x="832" y="1403"/>
                      <a:pt x="829" y="1400"/>
                      <a:pt x="825" y="1397"/>
                    </a:cubicBezTo>
                    <a:lnTo>
                      <a:pt x="852" y="1367"/>
                    </a:lnTo>
                    <a:cubicBezTo>
                      <a:pt x="847" y="1362"/>
                      <a:pt x="845" y="1356"/>
                      <a:pt x="845" y="1350"/>
                    </a:cubicBezTo>
                    <a:cubicBezTo>
                      <a:pt x="845" y="1349"/>
                      <a:pt x="845" y="1349"/>
                      <a:pt x="845" y="1349"/>
                    </a:cubicBezTo>
                    <a:close/>
                    <a:moveTo>
                      <a:pt x="666" y="1349"/>
                    </a:moveTo>
                    <a:lnTo>
                      <a:pt x="595" y="1349"/>
                    </a:lnTo>
                    <a:lnTo>
                      <a:pt x="595" y="1349"/>
                    </a:lnTo>
                    <a:lnTo>
                      <a:pt x="595" y="1349"/>
                    </a:lnTo>
                    <a:lnTo>
                      <a:pt x="513" y="1349"/>
                    </a:lnTo>
                    <a:cubicBezTo>
                      <a:pt x="512" y="1348"/>
                      <a:pt x="512" y="1346"/>
                      <a:pt x="511" y="1344"/>
                    </a:cubicBezTo>
                    <a:cubicBezTo>
                      <a:pt x="512" y="1346"/>
                      <a:pt x="512" y="1347"/>
                      <a:pt x="513" y="1349"/>
                    </a:cubicBezTo>
                    <a:lnTo>
                      <a:pt x="500" y="1349"/>
                    </a:lnTo>
                    <a:lnTo>
                      <a:pt x="444" y="1415"/>
                    </a:lnTo>
                    <a:lnTo>
                      <a:pt x="437" y="1415"/>
                    </a:lnTo>
                    <a:cubicBezTo>
                      <a:pt x="450" y="1439"/>
                      <a:pt x="465" y="1463"/>
                      <a:pt x="480" y="1485"/>
                    </a:cubicBezTo>
                    <a:lnTo>
                      <a:pt x="481" y="1485"/>
                    </a:lnTo>
                    <a:lnTo>
                      <a:pt x="541" y="1422"/>
                    </a:lnTo>
                    <a:lnTo>
                      <a:pt x="541" y="1422"/>
                    </a:lnTo>
                    <a:lnTo>
                      <a:pt x="541" y="1422"/>
                    </a:lnTo>
                    <a:lnTo>
                      <a:pt x="555" y="1406"/>
                    </a:lnTo>
                    <a:lnTo>
                      <a:pt x="619" y="1406"/>
                    </a:lnTo>
                    <a:lnTo>
                      <a:pt x="619" y="1406"/>
                    </a:lnTo>
                    <a:lnTo>
                      <a:pt x="710" y="1406"/>
                    </a:lnTo>
                    <a:cubicBezTo>
                      <a:pt x="694" y="1388"/>
                      <a:pt x="679" y="1369"/>
                      <a:pt x="666" y="1349"/>
                    </a:cubicBezTo>
                    <a:close/>
                    <a:moveTo>
                      <a:pt x="432" y="1406"/>
                    </a:moveTo>
                    <a:lnTo>
                      <a:pt x="440" y="1406"/>
                    </a:lnTo>
                    <a:lnTo>
                      <a:pt x="496" y="1340"/>
                    </a:lnTo>
                    <a:lnTo>
                      <a:pt x="510" y="1340"/>
                    </a:lnTo>
                    <a:lnTo>
                      <a:pt x="510" y="1340"/>
                    </a:lnTo>
                    <a:lnTo>
                      <a:pt x="592" y="1340"/>
                    </a:lnTo>
                    <a:cubicBezTo>
                      <a:pt x="593" y="1343"/>
                      <a:pt x="594" y="1345"/>
                      <a:pt x="595" y="1348"/>
                    </a:cubicBezTo>
                    <a:lnTo>
                      <a:pt x="592" y="1340"/>
                    </a:lnTo>
                    <a:lnTo>
                      <a:pt x="660" y="1340"/>
                    </a:lnTo>
                    <a:cubicBezTo>
                      <a:pt x="655" y="1333"/>
                      <a:pt x="650" y="1325"/>
                      <a:pt x="645" y="1316"/>
                    </a:cubicBezTo>
                    <a:cubicBezTo>
                      <a:pt x="636" y="1301"/>
                      <a:pt x="628" y="1286"/>
                      <a:pt x="621" y="1270"/>
                    </a:cubicBezTo>
                    <a:lnTo>
                      <a:pt x="571" y="1270"/>
                    </a:lnTo>
                    <a:lnTo>
                      <a:pt x="570" y="1268"/>
                    </a:lnTo>
                    <a:lnTo>
                      <a:pt x="571" y="1270"/>
                    </a:lnTo>
                    <a:lnTo>
                      <a:pt x="571" y="1270"/>
                    </a:lnTo>
                    <a:lnTo>
                      <a:pt x="491" y="1270"/>
                    </a:lnTo>
                    <a:lnTo>
                      <a:pt x="491" y="1270"/>
                    </a:lnTo>
                    <a:lnTo>
                      <a:pt x="464" y="1270"/>
                    </a:lnTo>
                    <a:lnTo>
                      <a:pt x="410" y="1349"/>
                    </a:lnTo>
                    <a:lnTo>
                      <a:pt x="405" y="1349"/>
                    </a:lnTo>
                    <a:cubicBezTo>
                      <a:pt x="413" y="1369"/>
                      <a:pt x="422" y="1388"/>
                      <a:pt x="432" y="1406"/>
                    </a:cubicBezTo>
                    <a:close/>
                    <a:moveTo>
                      <a:pt x="722" y="1340"/>
                    </a:moveTo>
                    <a:lnTo>
                      <a:pt x="830" y="1340"/>
                    </a:lnTo>
                    <a:lnTo>
                      <a:pt x="830" y="1340"/>
                    </a:lnTo>
                    <a:lnTo>
                      <a:pt x="846" y="1340"/>
                    </a:lnTo>
                    <a:lnTo>
                      <a:pt x="846" y="1340"/>
                    </a:lnTo>
                    <a:cubicBezTo>
                      <a:pt x="850" y="1331"/>
                      <a:pt x="859" y="1324"/>
                      <a:pt x="870" y="1324"/>
                    </a:cubicBezTo>
                    <a:cubicBezTo>
                      <a:pt x="884" y="1324"/>
                      <a:pt x="895" y="1336"/>
                      <a:pt x="895" y="1350"/>
                    </a:cubicBezTo>
                    <a:cubicBezTo>
                      <a:pt x="895" y="1361"/>
                      <a:pt x="887" y="1371"/>
                      <a:pt x="877" y="1374"/>
                    </a:cubicBezTo>
                    <a:cubicBezTo>
                      <a:pt x="892" y="1386"/>
                      <a:pt x="908" y="1397"/>
                      <a:pt x="924" y="1406"/>
                    </a:cubicBezTo>
                    <a:lnTo>
                      <a:pt x="981" y="1406"/>
                    </a:lnTo>
                    <a:lnTo>
                      <a:pt x="981" y="1406"/>
                    </a:lnTo>
                    <a:lnTo>
                      <a:pt x="1072" y="1406"/>
                    </a:lnTo>
                    <a:lnTo>
                      <a:pt x="1124" y="1461"/>
                    </a:lnTo>
                    <a:cubicBezTo>
                      <a:pt x="1179" y="1462"/>
                      <a:pt x="1235" y="1451"/>
                      <a:pt x="1287" y="1429"/>
                    </a:cubicBezTo>
                    <a:lnTo>
                      <a:pt x="1307" y="1476"/>
                    </a:lnTo>
                    <a:cubicBezTo>
                      <a:pt x="1262" y="1495"/>
                      <a:pt x="1214" y="1506"/>
                      <a:pt x="1167" y="1510"/>
                    </a:cubicBezTo>
                    <a:cubicBezTo>
                      <a:pt x="1162" y="1516"/>
                      <a:pt x="1155" y="1520"/>
                      <a:pt x="1147" y="1520"/>
                    </a:cubicBezTo>
                    <a:lnTo>
                      <a:pt x="1147" y="1520"/>
                    </a:lnTo>
                    <a:cubicBezTo>
                      <a:pt x="1140" y="1520"/>
                      <a:pt x="1133" y="1517"/>
                      <a:pt x="1128" y="1512"/>
                    </a:cubicBezTo>
                    <a:cubicBezTo>
                      <a:pt x="1104" y="1512"/>
                      <a:pt x="1079" y="1510"/>
                      <a:pt x="1055" y="1506"/>
                    </a:cubicBezTo>
                    <a:cubicBezTo>
                      <a:pt x="980" y="1494"/>
                      <a:pt x="908" y="1463"/>
                      <a:pt x="847" y="1415"/>
                    </a:cubicBezTo>
                    <a:lnTo>
                      <a:pt x="789" y="1415"/>
                    </a:lnTo>
                    <a:cubicBezTo>
                      <a:pt x="812" y="1436"/>
                      <a:pt x="837" y="1454"/>
                      <a:pt x="863" y="1470"/>
                    </a:cubicBezTo>
                    <a:cubicBezTo>
                      <a:pt x="865" y="1470"/>
                      <a:pt x="867" y="1469"/>
                      <a:pt x="870" y="1469"/>
                    </a:cubicBezTo>
                    <a:cubicBezTo>
                      <a:pt x="882" y="1469"/>
                      <a:pt x="892" y="1478"/>
                      <a:pt x="895" y="1489"/>
                    </a:cubicBezTo>
                    <a:cubicBezTo>
                      <a:pt x="899" y="1491"/>
                      <a:pt x="903" y="1493"/>
                      <a:pt x="907" y="1495"/>
                    </a:cubicBezTo>
                    <a:cubicBezTo>
                      <a:pt x="998" y="1540"/>
                      <a:pt x="1101" y="1558"/>
                      <a:pt x="1202" y="1546"/>
                    </a:cubicBezTo>
                    <a:lnTo>
                      <a:pt x="1208" y="1596"/>
                    </a:lnTo>
                    <a:cubicBezTo>
                      <a:pt x="1097" y="1610"/>
                      <a:pt x="984" y="1590"/>
                      <a:pt x="884" y="1540"/>
                    </a:cubicBezTo>
                    <a:cubicBezTo>
                      <a:pt x="858" y="1527"/>
                      <a:pt x="832" y="1512"/>
                      <a:pt x="807" y="1494"/>
                    </a:cubicBezTo>
                    <a:lnTo>
                      <a:pt x="606" y="1494"/>
                    </a:lnTo>
                    <a:lnTo>
                      <a:pt x="547" y="1570"/>
                    </a:lnTo>
                    <a:cubicBezTo>
                      <a:pt x="556" y="1579"/>
                      <a:pt x="564" y="1588"/>
                      <a:pt x="573" y="1597"/>
                    </a:cubicBezTo>
                    <a:cubicBezTo>
                      <a:pt x="582" y="1606"/>
                      <a:pt x="592" y="1615"/>
                      <a:pt x="602" y="1624"/>
                    </a:cubicBezTo>
                    <a:lnTo>
                      <a:pt x="634" y="1591"/>
                    </a:lnTo>
                    <a:lnTo>
                      <a:pt x="951" y="1591"/>
                    </a:lnTo>
                    <a:lnTo>
                      <a:pt x="1011" y="1635"/>
                    </a:lnTo>
                    <a:cubicBezTo>
                      <a:pt x="1015" y="1630"/>
                      <a:pt x="1021" y="1627"/>
                      <a:pt x="1028" y="1627"/>
                    </a:cubicBezTo>
                    <a:cubicBezTo>
                      <a:pt x="1042" y="1627"/>
                      <a:pt x="1053" y="1639"/>
                      <a:pt x="1053" y="1653"/>
                    </a:cubicBezTo>
                    <a:cubicBezTo>
                      <a:pt x="1053" y="1667"/>
                      <a:pt x="1042" y="1678"/>
                      <a:pt x="1028" y="1678"/>
                    </a:cubicBezTo>
                    <a:lnTo>
                      <a:pt x="1028" y="1678"/>
                    </a:lnTo>
                    <a:cubicBezTo>
                      <a:pt x="1014" y="1678"/>
                      <a:pt x="1003" y="1667"/>
                      <a:pt x="1003" y="1653"/>
                    </a:cubicBezTo>
                    <a:cubicBezTo>
                      <a:pt x="1003" y="1649"/>
                      <a:pt x="1004" y="1645"/>
                      <a:pt x="1005" y="1642"/>
                    </a:cubicBezTo>
                    <a:lnTo>
                      <a:pt x="1005" y="1642"/>
                    </a:lnTo>
                    <a:cubicBezTo>
                      <a:pt x="1006" y="1641"/>
                      <a:pt x="1006" y="1640"/>
                      <a:pt x="1007" y="1639"/>
                    </a:cubicBezTo>
                    <a:cubicBezTo>
                      <a:pt x="1006" y="1640"/>
                      <a:pt x="1006" y="1641"/>
                      <a:pt x="1005" y="1642"/>
                    </a:cubicBezTo>
                    <a:lnTo>
                      <a:pt x="948" y="1600"/>
                    </a:lnTo>
                    <a:lnTo>
                      <a:pt x="638" y="1600"/>
                    </a:lnTo>
                    <a:lnTo>
                      <a:pt x="608" y="1630"/>
                    </a:lnTo>
                    <a:cubicBezTo>
                      <a:pt x="625" y="1645"/>
                      <a:pt x="642" y="1659"/>
                      <a:pt x="660" y="1672"/>
                    </a:cubicBezTo>
                    <a:lnTo>
                      <a:pt x="692" y="1644"/>
                    </a:lnTo>
                    <a:lnTo>
                      <a:pt x="774" y="1644"/>
                    </a:lnTo>
                    <a:lnTo>
                      <a:pt x="774" y="1644"/>
                    </a:lnTo>
                    <a:lnTo>
                      <a:pt x="785" y="1644"/>
                    </a:lnTo>
                    <a:cubicBezTo>
                      <a:pt x="788" y="1647"/>
                      <a:pt x="791" y="1649"/>
                      <a:pt x="794" y="1652"/>
                    </a:cubicBezTo>
                    <a:lnTo>
                      <a:pt x="794" y="1652"/>
                    </a:lnTo>
                    <a:lnTo>
                      <a:pt x="765" y="1652"/>
                    </a:lnTo>
                    <a:lnTo>
                      <a:pt x="765" y="1652"/>
                    </a:lnTo>
                    <a:lnTo>
                      <a:pt x="695" y="1652"/>
                    </a:lnTo>
                    <a:lnTo>
                      <a:pt x="667" y="1677"/>
                    </a:lnTo>
                    <a:cubicBezTo>
                      <a:pt x="688" y="1693"/>
                      <a:pt x="710" y="1707"/>
                      <a:pt x="732" y="1720"/>
                    </a:cubicBezTo>
                    <a:lnTo>
                      <a:pt x="742" y="1710"/>
                    </a:lnTo>
                    <a:lnTo>
                      <a:pt x="742" y="1710"/>
                    </a:lnTo>
                    <a:lnTo>
                      <a:pt x="755" y="1696"/>
                    </a:lnTo>
                    <a:lnTo>
                      <a:pt x="843" y="1696"/>
                    </a:lnTo>
                    <a:lnTo>
                      <a:pt x="843" y="1696"/>
                    </a:lnTo>
                    <a:lnTo>
                      <a:pt x="936" y="1696"/>
                    </a:lnTo>
                    <a:lnTo>
                      <a:pt x="999" y="1752"/>
                    </a:lnTo>
                    <a:cubicBezTo>
                      <a:pt x="996" y="1754"/>
                      <a:pt x="995" y="1756"/>
                      <a:pt x="993" y="1759"/>
                    </a:cubicBezTo>
                    <a:lnTo>
                      <a:pt x="993" y="1759"/>
                    </a:lnTo>
                    <a:lnTo>
                      <a:pt x="933" y="1705"/>
                    </a:lnTo>
                    <a:lnTo>
                      <a:pt x="854" y="1705"/>
                    </a:lnTo>
                    <a:cubicBezTo>
                      <a:pt x="852" y="1704"/>
                      <a:pt x="850" y="1702"/>
                      <a:pt x="848" y="1700"/>
                    </a:cubicBezTo>
                    <a:cubicBezTo>
                      <a:pt x="850" y="1702"/>
                      <a:pt x="852" y="1704"/>
                      <a:pt x="854" y="1705"/>
                    </a:cubicBezTo>
                    <a:lnTo>
                      <a:pt x="759" y="1705"/>
                    </a:lnTo>
                    <a:lnTo>
                      <a:pt x="748" y="1716"/>
                    </a:lnTo>
                    <a:lnTo>
                      <a:pt x="748" y="1716"/>
                    </a:lnTo>
                    <a:lnTo>
                      <a:pt x="747" y="1715"/>
                    </a:lnTo>
                    <a:lnTo>
                      <a:pt x="748" y="1716"/>
                    </a:lnTo>
                    <a:lnTo>
                      <a:pt x="740" y="1724"/>
                    </a:lnTo>
                    <a:cubicBezTo>
                      <a:pt x="755" y="1733"/>
                      <a:pt x="770" y="1741"/>
                      <a:pt x="786" y="1749"/>
                    </a:cubicBezTo>
                    <a:lnTo>
                      <a:pt x="845" y="1749"/>
                    </a:lnTo>
                    <a:cubicBezTo>
                      <a:pt x="845" y="1748"/>
                      <a:pt x="845" y="1746"/>
                      <a:pt x="845" y="1745"/>
                    </a:cubicBezTo>
                    <a:cubicBezTo>
                      <a:pt x="845" y="1731"/>
                      <a:pt x="856" y="1720"/>
                      <a:pt x="870" y="1720"/>
                    </a:cubicBezTo>
                    <a:cubicBezTo>
                      <a:pt x="871" y="1720"/>
                      <a:pt x="873" y="1720"/>
                      <a:pt x="874" y="1720"/>
                    </a:cubicBezTo>
                    <a:cubicBezTo>
                      <a:pt x="876" y="1721"/>
                      <a:pt x="877" y="1723"/>
                      <a:pt x="879" y="1724"/>
                    </a:cubicBezTo>
                    <a:cubicBezTo>
                      <a:pt x="877" y="1723"/>
                      <a:pt x="876" y="1721"/>
                      <a:pt x="874" y="1720"/>
                    </a:cubicBezTo>
                    <a:cubicBezTo>
                      <a:pt x="882" y="1721"/>
                      <a:pt x="889" y="1726"/>
                      <a:pt x="892" y="1733"/>
                    </a:cubicBezTo>
                    <a:lnTo>
                      <a:pt x="892" y="1733"/>
                    </a:lnTo>
                    <a:lnTo>
                      <a:pt x="890" y="1732"/>
                    </a:lnTo>
                    <a:lnTo>
                      <a:pt x="892" y="1733"/>
                    </a:lnTo>
                    <a:cubicBezTo>
                      <a:pt x="894" y="1737"/>
                      <a:pt x="895" y="1741"/>
                      <a:pt x="895" y="1745"/>
                    </a:cubicBezTo>
                    <a:cubicBezTo>
                      <a:pt x="895" y="1759"/>
                      <a:pt x="884" y="1770"/>
                      <a:pt x="870" y="1770"/>
                    </a:cubicBezTo>
                    <a:lnTo>
                      <a:pt x="870" y="1770"/>
                    </a:lnTo>
                    <a:cubicBezTo>
                      <a:pt x="861" y="1770"/>
                      <a:pt x="852" y="1765"/>
                      <a:pt x="848" y="1758"/>
                    </a:cubicBezTo>
                    <a:lnTo>
                      <a:pt x="877" y="1758"/>
                    </a:lnTo>
                    <a:lnTo>
                      <a:pt x="877" y="1749"/>
                    </a:lnTo>
                    <a:lnTo>
                      <a:pt x="877" y="1749"/>
                    </a:lnTo>
                    <a:lnTo>
                      <a:pt x="877" y="1758"/>
                    </a:lnTo>
                    <a:lnTo>
                      <a:pt x="877" y="1758"/>
                    </a:lnTo>
                    <a:lnTo>
                      <a:pt x="848" y="1758"/>
                    </a:lnTo>
                    <a:lnTo>
                      <a:pt x="848" y="1758"/>
                    </a:lnTo>
                    <a:lnTo>
                      <a:pt x="848" y="1758"/>
                    </a:lnTo>
                    <a:lnTo>
                      <a:pt x="804" y="1758"/>
                    </a:lnTo>
                    <a:cubicBezTo>
                      <a:pt x="906" y="1804"/>
                      <a:pt x="1018" y="1830"/>
                      <a:pt x="1137" y="1830"/>
                    </a:cubicBezTo>
                    <a:cubicBezTo>
                      <a:pt x="1357" y="1830"/>
                      <a:pt x="1556" y="1741"/>
                      <a:pt x="1700" y="1597"/>
                    </a:cubicBezTo>
                    <a:cubicBezTo>
                      <a:pt x="1845" y="1452"/>
                      <a:pt x="1934" y="1253"/>
                      <a:pt x="1934" y="1033"/>
                    </a:cubicBezTo>
                    <a:cubicBezTo>
                      <a:pt x="1934" y="869"/>
                      <a:pt x="1885" y="718"/>
                      <a:pt x="1801" y="591"/>
                    </a:cubicBezTo>
                    <a:lnTo>
                      <a:pt x="1716" y="679"/>
                    </a:lnTo>
                    <a:lnTo>
                      <a:pt x="1578" y="679"/>
                    </a:lnTo>
                    <a:lnTo>
                      <a:pt x="1578" y="680"/>
                    </a:lnTo>
                    <a:cubicBezTo>
                      <a:pt x="1578" y="694"/>
                      <a:pt x="1567" y="705"/>
                      <a:pt x="1553" y="705"/>
                    </a:cubicBezTo>
                    <a:lnTo>
                      <a:pt x="1553" y="705"/>
                    </a:lnTo>
                    <a:cubicBezTo>
                      <a:pt x="1539" y="705"/>
                      <a:pt x="1528" y="694"/>
                      <a:pt x="1528" y="680"/>
                    </a:cubicBezTo>
                    <a:cubicBezTo>
                      <a:pt x="1528" y="666"/>
                      <a:pt x="1539" y="655"/>
                      <a:pt x="1553" y="655"/>
                    </a:cubicBezTo>
                    <a:cubicBezTo>
                      <a:pt x="1564" y="655"/>
                      <a:pt x="1573" y="661"/>
                      <a:pt x="1576" y="671"/>
                    </a:cubicBezTo>
                    <a:lnTo>
                      <a:pt x="1712" y="671"/>
                    </a:lnTo>
                    <a:lnTo>
                      <a:pt x="1796" y="584"/>
                    </a:lnTo>
                    <a:cubicBezTo>
                      <a:pt x="1783" y="566"/>
                      <a:pt x="1770" y="548"/>
                      <a:pt x="1756" y="531"/>
                    </a:cubicBezTo>
                    <a:lnTo>
                      <a:pt x="1699" y="586"/>
                    </a:lnTo>
                    <a:lnTo>
                      <a:pt x="1698" y="585"/>
                    </a:lnTo>
                    <a:lnTo>
                      <a:pt x="1699" y="586"/>
                    </a:lnTo>
                    <a:lnTo>
                      <a:pt x="1644" y="640"/>
                    </a:lnTo>
                    <a:lnTo>
                      <a:pt x="1644" y="640"/>
                    </a:lnTo>
                    <a:lnTo>
                      <a:pt x="1625" y="640"/>
                    </a:lnTo>
                    <a:cubicBezTo>
                      <a:pt x="1622" y="638"/>
                      <a:pt x="1619" y="636"/>
                      <a:pt x="1616" y="634"/>
                    </a:cubicBezTo>
                    <a:cubicBezTo>
                      <a:pt x="1619" y="636"/>
                      <a:pt x="1622" y="638"/>
                      <a:pt x="1625" y="640"/>
                    </a:cubicBezTo>
                    <a:lnTo>
                      <a:pt x="1400" y="640"/>
                    </a:lnTo>
                    <a:cubicBezTo>
                      <a:pt x="1427" y="657"/>
                      <a:pt x="1451" y="677"/>
                      <a:pt x="1473" y="699"/>
                    </a:cubicBezTo>
                    <a:cubicBezTo>
                      <a:pt x="1556" y="782"/>
                      <a:pt x="1607" y="897"/>
                      <a:pt x="1607" y="1023"/>
                    </a:cubicBezTo>
                    <a:cubicBezTo>
                      <a:pt x="1607" y="1067"/>
                      <a:pt x="1601" y="1111"/>
                      <a:pt x="1589" y="1152"/>
                    </a:cubicBezTo>
                    <a:cubicBezTo>
                      <a:pt x="1576" y="1194"/>
                      <a:pt x="1558" y="1234"/>
                      <a:pt x="1535" y="1270"/>
                    </a:cubicBezTo>
                    <a:lnTo>
                      <a:pt x="1492" y="1243"/>
                    </a:lnTo>
                    <a:cubicBezTo>
                      <a:pt x="1513" y="1210"/>
                      <a:pt x="1529" y="1175"/>
                      <a:pt x="1540" y="1138"/>
                    </a:cubicBezTo>
                    <a:cubicBezTo>
                      <a:pt x="1551" y="1101"/>
                      <a:pt x="1556" y="1063"/>
                      <a:pt x="1556" y="1023"/>
                    </a:cubicBezTo>
                    <a:cubicBezTo>
                      <a:pt x="1556" y="911"/>
                      <a:pt x="1511" y="809"/>
                      <a:pt x="1437" y="735"/>
                    </a:cubicBezTo>
                    <a:cubicBezTo>
                      <a:pt x="1404" y="702"/>
                      <a:pt x="1365" y="674"/>
                      <a:pt x="1321" y="654"/>
                    </a:cubicBezTo>
                    <a:lnTo>
                      <a:pt x="1300" y="671"/>
                    </a:lnTo>
                    <a:cubicBezTo>
                      <a:pt x="1299" y="668"/>
                      <a:pt x="1298" y="666"/>
                      <a:pt x="1296" y="664"/>
                    </a:cubicBezTo>
                    <a:cubicBezTo>
                      <a:pt x="1298" y="666"/>
                      <a:pt x="1299" y="668"/>
                      <a:pt x="1300" y="671"/>
                    </a:cubicBezTo>
                    <a:cubicBezTo>
                      <a:pt x="1301" y="674"/>
                      <a:pt x="1301" y="677"/>
                      <a:pt x="1301" y="680"/>
                    </a:cubicBezTo>
                    <a:cubicBezTo>
                      <a:pt x="1301" y="694"/>
                      <a:pt x="1290" y="705"/>
                      <a:pt x="1276" y="705"/>
                    </a:cubicBezTo>
                    <a:lnTo>
                      <a:pt x="1276" y="705"/>
                    </a:lnTo>
                    <a:cubicBezTo>
                      <a:pt x="1262" y="705"/>
                      <a:pt x="1251" y="694"/>
                      <a:pt x="1251" y="680"/>
                    </a:cubicBezTo>
                    <a:cubicBezTo>
                      <a:pt x="1251" y="666"/>
                      <a:pt x="1262" y="655"/>
                      <a:pt x="1276" y="655"/>
                    </a:cubicBezTo>
                    <a:cubicBezTo>
                      <a:pt x="1284" y="655"/>
                      <a:pt x="1290" y="658"/>
                      <a:pt x="1295" y="663"/>
                    </a:cubicBezTo>
                    <a:lnTo>
                      <a:pt x="1295" y="663"/>
                    </a:lnTo>
                    <a:lnTo>
                      <a:pt x="1312" y="650"/>
                    </a:lnTo>
                    <a:cubicBezTo>
                      <a:pt x="1263" y="628"/>
                      <a:pt x="1207" y="616"/>
                      <a:pt x="1150" y="616"/>
                    </a:cubicBezTo>
                    <a:cubicBezTo>
                      <a:pt x="1126" y="616"/>
                      <a:pt x="1103" y="618"/>
                      <a:pt x="1081" y="622"/>
                    </a:cubicBezTo>
                    <a:cubicBezTo>
                      <a:pt x="1070" y="624"/>
                      <a:pt x="1060" y="626"/>
                      <a:pt x="1050" y="628"/>
                    </a:cubicBezTo>
                    <a:lnTo>
                      <a:pt x="1086" y="628"/>
                    </a:lnTo>
                    <a:lnTo>
                      <a:pt x="1128" y="661"/>
                    </a:lnTo>
                    <a:cubicBezTo>
                      <a:pt x="1132" y="655"/>
                      <a:pt x="1139" y="652"/>
                      <a:pt x="1147" y="652"/>
                    </a:cubicBezTo>
                    <a:cubicBezTo>
                      <a:pt x="1159" y="652"/>
                      <a:pt x="1169" y="660"/>
                      <a:pt x="1171" y="672"/>
                    </a:cubicBezTo>
                    <a:cubicBezTo>
                      <a:pt x="1175" y="672"/>
                      <a:pt x="1178" y="672"/>
                      <a:pt x="1182" y="673"/>
                    </a:cubicBezTo>
                    <a:cubicBezTo>
                      <a:pt x="1197" y="675"/>
                      <a:pt x="1212" y="677"/>
                      <a:pt x="1226" y="681"/>
                    </a:cubicBezTo>
                    <a:lnTo>
                      <a:pt x="1214" y="730"/>
                    </a:lnTo>
                    <a:cubicBezTo>
                      <a:pt x="1201" y="727"/>
                      <a:pt x="1188" y="725"/>
                      <a:pt x="1176" y="723"/>
                    </a:cubicBezTo>
                    <a:cubicBezTo>
                      <a:pt x="1164" y="721"/>
                      <a:pt x="1151" y="721"/>
                      <a:pt x="1137" y="721"/>
                    </a:cubicBezTo>
                    <a:cubicBezTo>
                      <a:pt x="1076" y="721"/>
                      <a:pt x="1019" y="739"/>
                      <a:pt x="972" y="769"/>
                    </a:cubicBezTo>
                    <a:lnTo>
                      <a:pt x="994" y="794"/>
                    </a:lnTo>
                    <a:cubicBezTo>
                      <a:pt x="999" y="788"/>
                      <a:pt x="1006" y="784"/>
                      <a:pt x="1015" y="784"/>
                    </a:cubicBezTo>
                    <a:cubicBezTo>
                      <a:pt x="1029" y="784"/>
                      <a:pt x="1040" y="795"/>
                      <a:pt x="1040" y="809"/>
                    </a:cubicBezTo>
                    <a:cubicBezTo>
                      <a:pt x="1040" y="823"/>
                      <a:pt x="1029" y="834"/>
                      <a:pt x="1015" y="834"/>
                    </a:cubicBezTo>
                    <a:lnTo>
                      <a:pt x="1015" y="834"/>
                    </a:lnTo>
                    <a:cubicBezTo>
                      <a:pt x="1001" y="834"/>
                      <a:pt x="990" y="823"/>
                      <a:pt x="990" y="809"/>
                    </a:cubicBezTo>
                    <a:cubicBezTo>
                      <a:pt x="990" y="807"/>
                      <a:pt x="990" y="805"/>
                      <a:pt x="990" y="803"/>
                    </a:cubicBezTo>
                    <a:lnTo>
                      <a:pt x="990" y="803"/>
                    </a:lnTo>
                    <a:cubicBezTo>
                      <a:pt x="991" y="802"/>
                      <a:pt x="991" y="802"/>
                      <a:pt x="991" y="801"/>
                    </a:cubicBezTo>
                    <a:cubicBezTo>
                      <a:pt x="991" y="802"/>
                      <a:pt x="991" y="802"/>
                      <a:pt x="990" y="803"/>
                    </a:cubicBezTo>
                    <a:lnTo>
                      <a:pt x="964" y="774"/>
                    </a:lnTo>
                    <a:cubicBezTo>
                      <a:pt x="961" y="777"/>
                      <a:pt x="958" y="779"/>
                      <a:pt x="954" y="781"/>
                    </a:cubicBezTo>
                    <a:cubicBezTo>
                      <a:pt x="920" y="807"/>
                      <a:pt x="891" y="841"/>
                      <a:pt x="870" y="879"/>
                    </a:cubicBezTo>
                    <a:lnTo>
                      <a:pt x="886" y="879"/>
                    </a:lnTo>
                    <a:lnTo>
                      <a:pt x="886" y="879"/>
                    </a:lnTo>
                    <a:lnTo>
                      <a:pt x="1059" y="879"/>
                    </a:lnTo>
                    <a:cubicBezTo>
                      <a:pt x="1083" y="867"/>
                      <a:pt x="1109" y="861"/>
                      <a:pt x="1137" y="861"/>
                    </a:cubicBezTo>
                    <a:cubicBezTo>
                      <a:pt x="1184" y="861"/>
                      <a:pt x="1227" y="880"/>
                      <a:pt x="1258" y="911"/>
                    </a:cubicBezTo>
                    <a:cubicBezTo>
                      <a:pt x="1289" y="942"/>
                      <a:pt x="1309" y="985"/>
                      <a:pt x="1309" y="1033"/>
                    </a:cubicBezTo>
                    <a:cubicBezTo>
                      <a:pt x="1309" y="1080"/>
                      <a:pt x="1289" y="1123"/>
                      <a:pt x="1258" y="1154"/>
                    </a:cubicBezTo>
                    <a:cubicBezTo>
                      <a:pt x="1227" y="1185"/>
                      <a:pt x="1184" y="1205"/>
                      <a:pt x="1137" y="1205"/>
                    </a:cubicBezTo>
                    <a:cubicBezTo>
                      <a:pt x="1132" y="1205"/>
                      <a:pt x="1127" y="1205"/>
                      <a:pt x="1122" y="1204"/>
                    </a:cubicBezTo>
                    <a:lnTo>
                      <a:pt x="1129" y="1212"/>
                    </a:lnTo>
                    <a:cubicBezTo>
                      <a:pt x="1127" y="1215"/>
                      <a:pt x="1126" y="1217"/>
                      <a:pt x="1124" y="1220"/>
                    </a:cubicBezTo>
                    <a:lnTo>
                      <a:pt x="1108" y="1202"/>
                    </a:lnTo>
                    <a:cubicBezTo>
                      <a:pt x="1085" y="1199"/>
                      <a:pt x="1063" y="1190"/>
                      <a:pt x="1044" y="1178"/>
                    </a:cubicBezTo>
                    <a:lnTo>
                      <a:pt x="874" y="1178"/>
                    </a:lnTo>
                    <a:cubicBezTo>
                      <a:pt x="892" y="1209"/>
                      <a:pt x="915" y="1236"/>
                      <a:pt x="943" y="1259"/>
                    </a:cubicBezTo>
                    <a:cubicBezTo>
                      <a:pt x="995" y="1303"/>
                      <a:pt x="1063" y="1329"/>
                      <a:pt x="1137" y="1329"/>
                    </a:cubicBezTo>
                    <a:cubicBezTo>
                      <a:pt x="1221" y="1329"/>
                      <a:pt x="1297" y="1295"/>
                      <a:pt x="1352" y="1240"/>
                    </a:cubicBezTo>
                    <a:cubicBezTo>
                      <a:pt x="1407" y="1185"/>
                      <a:pt x="1441" y="1109"/>
                      <a:pt x="1441" y="1025"/>
                    </a:cubicBezTo>
                    <a:cubicBezTo>
                      <a:pt x="1441" y="1005"/>
                      <a:pt x="1439" y="986"/>
                      <a:pt x="1436" y="968"/>
                    </a:cubicBezTo>
                    <a:cubicBezTo>
                      <a:pt x="1432" y="949"/>
                      <a:pt x="1427" y="931"/>
                      <a:pt x="1420" y="913"/>
                    </a:cubicBezTo>
                    <a:lnTo>
                      <a:pt x="1467" y="895"/>
                    </a:lnTo>
                    <a:cubicBezTo>
                      <a:pt x="1475" y="915"/>
                      <a:pt x="1482" y="936"/>
                      <a:pt x="1486" y="958"/>
                    </a:cubicBezTo>
                    <a:cubicBezTo>
                      <a:pt x="1490" y="980"/>
                      <a:pt x="1492" y="1002"/>
                      <a:pt x="1492" y="1025"/>
                    </a:cubicBezTo>
                    <a:cubicBezTo>
                      <a:pt x="1492" y="1123"/>
                      <a:pt x="1452" y="1212"/>
                      <a:pt x="1388" y="1276"/>
                    </a:cubicBezTo>
                    <a:cubicBezTo>
                      <a:pt x="1324" y="1340"/>
                      <a:pt x="1235" y="1380"/>
                      <a:pt x="1137" y="1380"/>
                    </a:cubicBezTo>
                    <a:cubicBezTo>
                      <a:pt x="1105" y="1380"/>
                      <a:pt x="1075" y="1376"/>
                      <a:pt x="1046" y="1368"/>
                    </a:cubicBezTo>
                    <a:cubicBezTo>
                      <a:pt x="1041" y="1372"/>
                      <a:pt x="1035" y="1375"/>
                      <a:pt x="1028" y="1375"/>
                    </a:cubicBezTo>
                    <a:lnTo>
                      <a:pt x="1028" y="1375"/>
                    </a:lnTo>
                    <a:cubicBezTo>
                      <a:pt x="1016" y="1375"/>
                      <a:pt x="1005" y="1366"/>
                      <a:pt x="1003" y="1354"/>
                    </a:cubicBezTo>
                    <a:cubicBezTo>
                      <a:pt x="969" y="1340"/>
                      <a:pt x="938" y="1321"/>
                      <a:pt x="910" y="1298"/>
                    </a:cubicBezTo>
                    <a:cubicBezTo>
                      <a:pt x="900" y="1289"/>
                      <a:pt x="890" y="1280"/>
                      <a:pt x="880" y="1270"/>
                    </a:cubicBezTo>
                    <a:lnTo>
                      <a:pt x="799" y="1270"/>
                    </a:lnTo>
                    <a:lnTo>
                      <a:pt x="799" y="1270"/>
                    </a:lnTo>
                    <a:lnTo>
                      <a:pt x="765" y="1270"/>
                    </a:lnTo>
                    <a:lnTo>
                      <a:pt x="737" y="1289"/>
                    </a:lnTo>
                    <a:cubicBezTo>
                      <a:pt x="732" y="1283"/>
                      <a:pt x="728" y="1276"/>
                      <a:pt x="724" y="1270"/>
                    </a:cubicBezTo>
                    <a:lnTo>
                      <a:pt x="677" y="1270"/>
                    </a:lnTo>
                    <a:cubicBezTo>
                      <a:pt x="681" y="1277"/>
                      <a:pt x="685" y="1284"/>
                      <a:pt x="689" y="1291"/>
                    </a:cubicBezTo>
                    <a:cubicBezTo>
                      <a:pt x="699" y="1308"/>
                      <a:pt x="710" y="1325"/>
                      <a:pt x="722" y="1340"/>
                    </a:cubicBezTo>
                    <a:close/>
                    <a:moveTo>
                      <a:pt x="864" y="1340"/>
                    </a:moveTo>
                    <a:lnTo>
                      <a:pt x="864" y="1349"/>
                    </a:lnTo>
                    <a:lnTo>
                      <a:pt x="864" y="1349"/>
                    </a:lnTo>
                    <a:lnTo>
                      <a:pt x="864" y="1340"/>
                    </a:lnTo>
                    <a:close/>
                    <a:moveTo>
                      <a:pt x="845" y="1349"/>
                    </a:moveTo>
                    <a:lnTo>
                      <a:pt x="864" y="1349"/>
                    </a:lnTo>
                    <a:moveTo>
                      <a:pt x="846" y="1235"/>
                    </a:moveTo>
                    <a:lnTo>
                      <a:pt x="846" y="1235"/>
                    </a:lnTo>
                    <a:lnTo>
                      <a:pt x="846" y="1235"/>
                    </a:lnTo>
                    <a:cubicBezTo>
                      <a:pt x="847" y="1234"/>
                      <a:pt x="847" y="1232"/>
                      <a:pt x="848" y="1231"/>
                    </a:cubicBezTo>
                    <a:cubicBezTo>
                      <a:pt x="836" y="1214"/>
                      <a:pt x="826" y="1196"/>
                      <a:pt x="817" y="1178"/>
                    </a:cubicBezTo>
                    <a:lnTo>
                      <a:pt x="774" y="1178"/>
                    </a:lnTo>
                    <a:lnTo>
                      <a:pt x="774" y="1178"/>
                    </a:lnTo>
                    <a:lnTo>
                      <a:pt x="735" y="1178"/>
                    </a:lnTo>
                    <a:cubicBezTo>
                      <a:pt x="742" y="1197"/>
                      <a:pt x="752" y="1216"/>
                      <a:pt x="762" y="1235"/>
                    </a:cubicBezTo>
                    <a:lnTo>
                      <a:pt x="787" y="1235"/>
                    </a:lnTo>
                    <a:lnTo>
                      <a:pt x="787" y="1235"/>
                    </a:lnTo>
                    <a:lnTo>
                      <a:pt x="846" y="1235"/>
                    </a:lnTo>
                    <a:close/>
                    <a:moveTo>
                      <a:pt x="401" y="1340"/>
                    </a:moveTo>
                    <a:lnTo>
                      <a:pt x="405" y="1340"/>
                    </a:lnTo>
                    <a:lnTo>
                      <a:pt x="459" y="1261"/>
                    </a:lnTo>
                    <a:lnTo>
                      <a:pt x="489" y="1261"/>
                    </a:lnTo>
                    <a:lnTo>
                      <a:pt x="489" y="1261"/>
                    </a:lnTo>
                    <a:lnTo>
                      <a:pt x="568" y="1261"/>
                    </a:lnTo>
                    <a:lnTo>
                      <a:pt x="568" y="1262"/>
                    </a:lnTo>
                    <a:lnTo>
                      <a:pt x="568" y="1261"/>
                    </a:lnTo>
                    <a:lnTo>
                      <a:pt x="617" y="1261"/>
                    </a:lnTo>
                    <a:cubicBezTo>
                      <a:pt x="614" y="1255"/>
                      <a:pt x="612" y="1249"/>
                      <a:pt x="610" y="1244"/>
                    </a:cubicBezTo>
                    <a:lnTo>
                      <a:pt x="564" y="1244"/>
                    </a:lnTo>
                    <a:lnTo>
                      <a:pt x="564" y="1244"/>
                    </a:lnTo>
                    <a:lnTo>
                      <a:pt x="485" y="1244"/>
                    </a:lnTo>
                    <a:cubicBezTo>
                      <a:pt x="484" y="1241"/>
                      <a:pt x="484" y="1238"/>
                      <a:pt x="483" y="1235"/>
                    </a:cubicBezTo>
                    <a:lnTo>
                      <a:pt x="562" y="1235"/>
                    </a:lnTo>
                    <a:lnTo>
                      <a:pt x="562" y="1235"/>
                    </a:lnTo>
                    <a:lnTo>
                      <a:pt x="606" y="1235"/>
                    </a:lnTo>
                    <a:cubicBezTo>
                      <a:pt x="599" y="1216"/>
                      <a:pt x="593" y="1197"/>
                      <a:pt x="588" y="1178"/>
                    </a:cubicBezTo>
                    <a:lnTo>
                      <a:pt x="553" y="1178"/>
                    </a:lnTo>
                    <a:cubicBezTo>
                      <a:pt x="552" y="1175"/>
                      <a:pt x="552" y="1172"/>
                      <a:pt x="551" y="1170"/>
                    </a:cubicBezTo>
                    <a:cubicBezTo>
                      <a:pt x="552" y="1172"/>
                      <a:pt x="552" y="1175"/>
                      <a:pt x="553" y="1178"/>
                    </a:cubicBezTo>
                    <a:lnTo>
                      <a:pt x="553" y="1178"/>
                    </a:lnTo>
                    <a:lnTo>
                      <a:pt x="474" y="1178"/>
                    </a:lnTo>
                    <a:lnTo>
                      <a:pt x="474" y="1178"/>
                    </a:lnTo>
                    <a:lnTo>
                      <a:pt x="474" y="1178"/>
                    </a:lnTo>
                    <a:lnTo>
                      <a:pt x="352" y="1178"/>
                    </a:lnTo>
                    <a:cubicBezTo>
                      <a:pt x="356" y="1197"/>
                      <a:pt x="360" y="1216"/>
                      <a:pt x="365" y="1235"/>
                    </a:cubicBezTo>
                    <a:lnTo>
                      <a:pt x="483" y="1235"/>
                    </a:lnTo>
                    <a:cubicBezTo>
                      <a:pt x="484" y="1238"/>
                      <a:pt x="484" y="1241"/>
                      <a:pt x="485" y="1244"/>
                    </a:cubicBezTo>
                    <a:lnTo>
                      <a:pt x="485" y="1244"/>
                    </a:lnTo>
                    <a:lnTo>
                      <a:pt x="368" y="1244"/>
                    </a:lnTo>
                    <a:cubicBezTo>
                      <a:pt x="377" y="1277"/>
                      <a:pt x="388" y="1309"/>
                      <a:pt x="401" y="1340"/>
                    </a:cubicBezTo>
                    <a:close/>
                    <a:moveTo>
                      <a:pt x="673" y="1261"/>
                    </a:moveTo>
                    <a:lnTo>
                      <a:pt x="719" y="1261"/>
                    </a:lnTo>
                    <a:cubicBezTo>
                      <a:pt x="716" y="1255"/>
                      <a:pt x="712" y="1250"/>
                      <a:pt x="709" y="1244"/>
                    </a:cubicBezTo>
                    <a:lnTo>
                      <a:pt x="665" y="1244"/>
                    </a:lnTo>
                    <a:cubicBezTo>
                      <a:pt x="667" y="1249"/>
                      <a:pt x="670" y="1255"/>
                      <a:pt x="673" y="1261"/>
                    </a:cubicBezTo>
                    <a:close/>
                    <a:moveTo>
                      <a:pt x="778" y="1261"/>
                    </a:moveTo>
                    <a:lnTo>
                      <a:pt x="796" y="1261"/>
                    </a:lnTo>
                    <a:cubicBezTo>
                      <a:pt x="796" y="1263"/>
                      <a:pt x="797" y="1265"/>
                      <a:pt x="798" y="1266"/>
                    </a:cubicBezTo>
                    <a:lnTo>
                      <a:pt x="796" y="1261"/>
                    </a:lnTo>
                    <a:lnTo>
                      <a:pt x="851" y="1261"/>
                    </a:lnTo>
                    <a:cubicBezTo>
                      <a:pt x="847" y="1257"/>
                      <a:pt x="845" y="1251"/>
                      <a:pt x="845" y="1244"/>
                    </a:cubicBezTo>
                    <a:cubicBezTo>
                      <a:pt x="845" y="1244"/>
                      <a:pt x="845" y="1244"/>
                      <a:pt x="845" y="1244"/>
                    </a:cubicBezTo>
                    <a:lnTo>
                      <a:pt x="790" y="1244"/>
                    </a:lnTo>
                    <a:lnTo>
                      <a:pt x="789" y="1241"/>
                    </a:lnTo>
                    <a:lnTo>
                      <a:pt x="790" y="1244"/>
                    </a:lnTo>
                    <a:lnTo>
                      <a:pt x="767" y="1244"/>
                    </a:lnTo>
                    <a:cubicBezTo>
                      <a:pt x="771" y="1249"/>
                      <a:pt x="775" y="1255"/>
                      <a:pt x="779" y="1261"/>
                    </a:cubicBezTo>
                    <a:lnTo>
                      <a:pt x="778" y="1261"/>
                    </a:lnTo>
                    <a:close/>
                    <a:moveTo>
                      <a:pt x="661" y="1235"/>
                    </a:moveTo>
                    <a:lnTo>
                      <a:pt x="705" y="1235"/>
                    </a:lnTo>
                    <a:cubicBezTo>
                      <a:pt x="695" y="1216"/>
                      <a:pt x="687" y="1197"/>
                      <a:pt x="681" y="1178"/>
                    </a:cubicBezTo>
                    <a:lnTo>
                      <a:pt x="640" y="1178"/>
                    </a:lnTo>
                    <a:cubicBezTo>
                      <a:pt x="646" y="1197"/>
                      <a:pt x="653" y="1216"/>
                      <a:pt x="661" y="1235"/>
                    </a:cubicBezTo>
                    <a:close/>
                    <a:moveTo>
                      <a:pt x="878" y="1268"/>
                    </a:moveTo>
                    <a:lnTo>
                      <a:pt x="878" y="1268"/>
                    </a:lnTo>
                    <a:cubicBezTo>
                      <a:pt x="878" y="1268"/>
                      <a:pt x="878" y="1268"/>
                      <a:pt x="878" y="1268"/>
                    </a:cubicBezTo>
                    <a:close/>
                    <a:moveTo>
                      <a:pt x="351" y="1169"/>
                    </a:moveTo>
                    <a:lnTo>
                      <a:pt x="473" y="1169"/>
                    </a:lnTo>
                    <a:cubicBezTo>
                      <a:pt x="473" y="1170"/>
                      <a:pt x="473" y="1171"/>
                      <a:pt x="474" y="1172"/>
                    </a:cubicBezTo>
                    <a:lnTo>
                      <a:pt x="473" y="1169"/>
                    </a:lnTo>
                    <a:lnTo>
                      <a:pt x="551" y="1169"/>
                    </a:lnTo>
                    <a:lnTo>
                      <a:pt x="551" y="1169"/>
                    </a:lnTo>
                    <a:lnTo>
                      <a:pt x="585" y="1169"/>
                    </a:lnTo>
                    <a:cubicBezTo>
                      <a:pt x="585" y="1166"/>
                      <a:pt x="584" y="1163"/>
                      <a:pt x="583" y="1160"/>
                    </a:cubicBezTo>
                    <a:cubicBezTo>
                      <a:pt x="578" y="1135"/>
                      <a:pt x="574" y="1110"/>
                      <a:pt x="571" y="1085"/>
                    </a:cubicBezTo>
                    <a:lnTo>
                      <a:pt x="341" y="1085"/>
                    </a:lnTo>
                    <a:cubicBezTo>
                      <a:pt x="343" y="1114"/>
                      <a:pt x="346" y="1142"/>
                      <a:pt x="351" y="1169"/>
                    </a:cubicBezTo>
                    <a:close/>
                    <a:moveTo>
                      <a:pt x="638" y="1169"/>
                    </a:moveTo>
                    <a:lnTo>
                      <a:pt x="678" y="1169"/>
                    </a:lnTo>
                    <a:cubicBezTo>
                      <a:pt x="669" y="1142"/>
                      <a:pt x="663" y="1114"/>
                      <a:pt x="660" y="1085"/>
                    </a:cubicBezTo>
                    <a:lnTo>
                      <a:pt x="622" y="1085"/>
                    </a:lnTo>
                    <a:cubicBezTo>
                      <a:pt x="624" y="1107"/>
                      <a:pt x="628" y="1128"/>
                      <a:pt x="633" y="1149"/>
                    </a:cubicBezTo>
                    <a:cubicBezTo>
                      <a:pt x="634" y="1155"/>
                      <a:pt x="636" y="1162"/>
                      <a:pt x="638" y="1169"/>
                    </a:cubicBezTo>
                    <a:close/>
                    <a:moveTo>
                      <a:pt x="732" y="1169"/>
                    </a:moveTo>
                    <a:lnTo>
                      <a:pt x="772" y="1169"/>
                    </a:lnTo>
                    <a:lnTo>
                      <a:pt x="772" y="1169"/>
                    </a:lnTo>
                    <a:lnTo>
                      <a:pt x="813" y="1169"/>
                    </a:lnTo>
                    <a:cubicBezTo>
                      <a:pt x="801" y="1144"/>
                      <a:pt x="793" y="1118"/>
                      <a:pt x="788" y="1090"/>
                    </a:cubicBezTo>
                    <a:lnTo>
                      <a:pt x="813" y="1085"/>
                    </a:lnTo>
                    <a:lnTo>
                      <a:pt x="711" y="1085"/>
                    </a:lnTo>
                    <a:cubicBezTo>
                      <a:pt x="715" y="1114"/>
                      <a:pt x="722" y="1142"/>
                      <a:pt x="732" y="1169"/>
                    </a:cubicBezTo>
                    <a:close/>
                    <a:moveTo>
                      <a:pt x="869" y="1169"/>
                    </a:moveTo>
                    <a:lnTo>
                      <a:pt x="1032" y="1169"/>
                    </a:lnTo>
                    <a:cubicBezTo>
                      <a:pt x="1026" y="1164"/>
                      <a:pt x="1020" y="1160"/>
                      <a:pt x="1015" y="1154"/>
                    </a:cubicBezTo>
                    <a:cubicBezTo>
                      <a:pt x="987" y="1126"/>
                      <a:pt x="968" y="1088"/>
                      <a:pt x="965" y="1045"/>
                    </a:cubicBezTo>
                    <a:lnTo>
                      <a:pt x="939" y="1019"/>
                    </a:lnTo>
                    <a:lnTo>
                      <a:pt x="708" y="1019"/>
                    </a:lnTo>
                    <a:cubicBezTo>
                      <a:pt x="707" y="1039"/>
                      <a:pt x="708" y="1058"/>
                      <a:pt x="710" y="1077"/>
                    </a:cubicBezTo>
                    <a:lnTo>
                      <a:pt x="846" y="1077"/>
                    </a:lnTo>
                    <a:cubicBezTo>
                      <a:pt x="850" y="1067"/>
                      <a:pt x="859" y="1061"/>
                      <a:pt x="870" y="1061"/>
                    </a:cubicBezTo>
                    <a:cubicBezTo>
                      <a:pt x="884" y="1061"/>
                      <a:pt x="895" y="1072"/>
                      <a:pt x="895" y="1086"/>
                    </a:cubicBezTo>
                    <a:cubicBezTo>
                      <a:pt x="895" y="1100"/>
                      <a:pt x="884" y="1111"/>
                      <a:pt x="870" y="1111"/>
                    </a:cubicBezTo>
                    <a:lnTo>
                      <a:pt x="870" y="1111"/>
                    </a:lnTo>
                    <a:cubicBezTo>
                      <a:pt x="856" y="1111"/>
                      <a:pt x="845" y="1100"/>
                      <a:pt x="845" y="1086"/>
                    </a:cubicBezTo>
                    <a:lnTo>
                      <a:pt x="845" y="1085"/>
                    </a:lnTo>
                    <a:lnTo>
                      <a:pt x="839" y="1085"/>
                    </a:lnTo>
                    <a:cubicBezTo>
                      <a:pt x="845" y="1115"/>
                      <a:pt x="855" y="1143"/>
                      <a:pt x="869" y="1169"/>
                    </a:cubicBezTo>
                    <a:close/>
                    <a:moveTo>
                      <a:pt x="773" y="1175"/>
                    </a:moveTo>
                    <a:cubicBezTo>
                      <a:pt x="773" y="1174"/>
                      <a:pt x="773" y="1172"/>
                      <a:pt x="772" y="1171"/>
                    </a:cubicBezTo>
                    <a:cubicBezTo>
                      <a:pt x="773" y="1172"/>
                      <a:pt x="773" y="1174"/>
                      <a:pt x="773" y="1175"/>
                    </a:cubicBezTo>
                    <a:close/>
                    <a:moveTo>
                      <a:pt x="989" y="1415"/>
                    </a:moveTo>
                    <a:lnTo>
                      <a:pt x="940" y="1415"/>
                    </a:lnTo>
                    <a:cubicBezTo>
                      <a:pt x="979" y="1435"/>
                      <a:pt x="1020" y="1449"/>
                      <a:pt x="1063" y="1456"/>
                    </a:cubicBezTo>
                    <a:cubicBezTo>
                      <a:pt x="1079" y="1458"/>
                      <a:pt x="1095" y="1460"/>
                      <a:pt x="1112" y="1461"/>
                    </a:cubicBezTo>
                    <a:lnTo>
                      <a:pt x="1068" y="1415"/>
                    </a:lnTo>
                    <a:lnTo>
                      <a:pt x="989" y="1415"/>
                    </a:lnTo>
                    <a:lnTo>
                      <a:pt x="989" y="1415"/>
                    </a:lnTo>
                    <a:close/>
                    <a:moveTo>
                      <a:pt x="718" y="1415"/>
                    </a:moveTo>
                    <a:lnTo>
                      <a:pt x="623" y="1415"/>
                    </a:lnTo>
                    <a:lnTo>
                      <a:pt x="623" y="1415"/>
                    </a:lnTo>
                    <a:lnTo>
                      <a:pt x="559" y="1415"/>
                    </a:lnTo>
                    <a:lnTo>
                      <a:pt x="545" y="1430"/>
                    </a:lnTo>
                    <a:lnTo>
                      <a:pt x="545" y="1430"/>
                    </a:lnTo>
                    <a:lnTo>
                      <a:pt x="486" y="1493"/>
                    </a:lnTo>
                    <a:cubicBezTo>
                      <a:pt x="503" y="1518"/>
                      <a:pt x="522" y="1541"/>
                      <a:pt x="541" y="1563"/>
                    </a:cubicBezTo>
                    <a:lnTo>
                      <a:pt x="601" y="1485"/>
                    </a:lnTo>
                    <a:lnTo>
                      <a:pt x="795" y="1485"/>
                    </a:lnTo>
                    <a:cubicBezTo>
                      <a:pt x="767" y="1465"/>
                      <a:pt x="741" y="1441"/>
                      <a:pt x="718" y="1415"/>
                    </a:cubicBezTo>
                    <a:close/>
                    <a:moveTo>
                      <a:pt x="863" y="954"/>
                    </a:moveTo>
                    <a:lnTo>
                      <a:pt x="863" y="954"/>
                    </a:lnTo>
                    <a:lnTo>
                      <a:pt x="863" y="954"/>
                    </a:lnTo>
                    <a:lnTo>
                      <a:pt x="853" y="954"/>
                    </a:lnTo>
                    <a:lnTo>
                      <a:pt x="845" y="954"/>
                    </a:lnTo>
                    <a:lnTo>
                      <a:pt x="845" y="953"/>
                    </a:lnTo>
                    <a:lnTo>
                      <a:pt x="845" y="953"/>
                    </a:lnTo>
                    <a:lnTo>
                      <a:pt x="845" y="953"/>
                    </a:lnTo>
                    <a:lnTo>
                      <a:pt x="845" y="953"/>
                    </a:lnTo>
                    <a:lnTo>
                      <a:pt x="845" y="953"/>
                    </a:lnTo>
                    <a:lnTo>
                      <a:pt x="845" y="953"/>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1"/>
                    </a:lnTo>
                    <a:lnTo>
                      <a:pt x="845" y="951"/>
                    </a:lnTo>
                    <a:cubicBezTo>
                      <a:pt x="845" y="949"/>
                      <a:pt x="846" y="947"/>
                      <a:pt x="846" y="945"/>
                    </a:cubicBezTo>
                    <a:lnTo>
                      <a:pt x="846" y="945"/>
                    </a:lnTo>
                    <a:lnTo>
                      <a:pt x="865" y="945"/>
                    </a:lnTo>
                    <a:lnTo>
                      <a:pt x="865" y="945"/>
                    </a:lnTo>
                    <a:lnTo>
                      <a:pt x="865" y="945"/>
                    </a:lnTo>
                    <a:cubicBezTo>
                      <a:pt x="864" y="947"/>
                      <a:pt x="864" y="948"/>
                      <a:pt x="863" y="950"/>
                    </a:cubicBezTo>
                    <a:lnTo>
                      <a:pt x="863" y="950"/>
                    </a:lnTo>
                    <a:lnTo>
                      <a:pt x="863" y="951"/>
                    </a:lnTo>
                    <a:lnTo>
                      <a:pt x="863" y="951"/>
                    </a:lnTo>
                    <a:lnTo>
                      <a:pt x="863" y="951"/>
                    </a:lnTo>
                    <a:lnTo>
                      <a:pt x="863" y="951"/>
                    </a:lnTo>
                    <a:lnTo>
                      <a:pt x="863" y="951"/>
                    </a:lnTo>
                    <a:lnTo>
                      <a:pt x="863" y="951"/>
                    </a:lnTo>
                    <a:lnTo>
                      <a:pt x="863" y="951"/>
                    </a:lnTo>
                    <a:lnTo>
                      <a:pt x="863" y="951"/>
                    </a:lnTo>
                    <a:lnTo>
                      <a:pt x="863" y="952"/>
                    </a:lnTo>
                    <a:lnTo>
                      <a:pt x="863" y="952"/>
                    </a:lnTo>
                    <a:lnTo>
                      <a:pt x="863" y="952"/>
                    </a:lnTo>
                    <a:lnTo>
                      <a:pt x="863" y="952"/>
                    </a:lnTo>
                    <a:lnTo>
                      <a:pt x="863" y="952"/>
                    </a:lnTo>
                    <a:lnTo>
                      <a:pt x="863" y="952"/>
                    </a:lnTo>
                    <a:lnTo>
                      <a:pt x="863" y="952"/>
                    </a:lnTo>
                    <a:lnTo>
                      <a:pt x="863" y="952"/>
                    </a:lnTo>
                    <a:lnTo>
                      <a:pt x="863" y="953"/>
                    </a:lnTo>
                    <a:lnTo>
                      <a:pt x="863" y="953"/>
                    </a:lnTo>
                    <a:lnTo>
                      <a:pt x="863" y="953"/>
                    </a:lnTo>
                    <a:lnTo>
                      <a:pt x="863" y="953"/>
                    </a:lnTo>
                    <a:lnTo>
                      <a:pt x="863" y="953"/>
                    </a:lnTo>
                    <a:lnTo>
                      <a:pt x="863" y="953"/>
                    </a:lnTo>
                    <a:lnTo>
                      <a:pt x="863" y="953"/>
                    </a:lnTo>
                    <a:lnTo>
                      <a:pt x="863" y="953"/>
                    </a:lnTo>
                    <a:lnTo>
                      <a:pt x="863" y="953"/>
                    </a:lnTo>
                    <a:lnTo>
                      <a:pt x="863" y="953"/>
                    </a:lnTo>
                    <a:lnTo>
                      <a:pt x="863" y="954"/>
                    </a:lnTo>
                    <a:lnTo>
                      <a:pt x="863" y="954"/>
                    </a:lnTo>
                    <a:close/>
                    <a:moveTo>
                      <a:pt x="860" y="966"/>
                    </a:moveTo>
                    <a:lnTo>
                      <a:pt x="846" y="963"/>
                    </a:lnTo>
                    <a:cubicBezTo>
                      <a:pt x="845" y="961"/>
                      <a:pt x="845" y="957"/>
                      <a:pt x="845" y="954"/>
                    </a:cubicBezTo>
                    <a:lnTo>
                      <a:pt x="845" y="954"/>
                    </a:lnTo>
                    <a:lnTo>
                      <a:pt x="797" y="954"/>
                    </a:lnTo>
                    <a:lnTo>
                      <a:pt x="797" y="954"/>
                    </a:lnTo>
                    <a:lnTo>
                      <a:pt x="715" y="954"/>
                    </a:lnTo>
                    <a:moveTo>
                      <a:pt x="663" y="954"/>
                    </a:moveTo>
                    <a:lnTo>
                      <a:pt x="480" y="954"/>
                    </a:lnTo>
                    <a:lnTo>
                      <a:pt x="360" y="852"/>
                    </a:lnTo>
                    <a:moveTo>
                      <a:pt x="339" y="742"/>
                    </a:moveTo>
                    <a:lnTo>
                      <a:pt x="338" y="741"/>
                    </a:lnTo>
                    <a:cubicBezTo>
                      <a:pt x="338" y="739"/>
                      <a:pt x="339" y="737"/>
                      <a:pt x="339" y="736"/>
                    </a:cubicBezTo>
                    <a:cubicBezTo>
                      <a:pt x="339" y="737"/>
                      <a:pt x="338" y="739"/>
                      <a:pt x="338" y="741"/>
                    </a:cubicBezTo>
                    <a:lnTo>
                      <a:pt x="338" y="741"/>
                    </a:lnTo>
                    <a:lnTo>
                      <a:pt x="203" y="602"/>
                    </a:lnTo>
                    <a:moveTo>
                      <a:pt x="208" y="593"/>
                    </a:moveTo>
                    <a:lnTo>
                      <a:pt x="340" y="731"/>
                    </a:lnTo>
                    <a:lnTo>
                      <a:pt x="340" y="731"/>
                    </a:lnTo>
                    <a:lnTo>
                      <a:pt x="343" y="733"/>
                    </a:lnTo>
                    <a:moveTo>
                      <a:pt x="362" y="843"/>
                    </a:moveTo>
                    <a:lnTo>
                      <a:pt x="483" y="945"/>
                    </a:lnTo>
                    <a:lnTo>
                      <a:pt x="665" y="945"/>
                    </a:lnTo>
                    <a:moveTo>
                      <a:pt x="717" y="945"/>
                    </a:moveTo>
                    <a:lnTo>
                      <a:pt x="776" y="945"/>
                    </a:lnTo>
                    <a:cubicBezTo>
                      <a:pt x="775" y="946"/>
                      <a:pt x="775" y="948"/>
                      <a:pt x="775" y="949"/>
                    </a:cubicBezTo>
                    <a:lnTo>
                      <a:pt x="792" y="952"/>
                    </a:lnTo>
                    <a:lnTo>
                      <a:pt x="775" y="949"/>
                    </a:lnTo>
                    <a:cubicBezTo>
                      <a:pt x="775" y="948"/>
                      <a:pt x="775" y="946"/>
                      <a:pt x="776" y="945"/>
                    </a:cubicBezTo>
                    <a:lnTo>
                      <a:pt x="846" y="945"/>
                    </a:lnTo>
                    <a:cubicBezTo>
                      <a:pt x="846" y="947"/>
                      <a:pt x="845" y="949"/>
                      <a:pt x="845" y="951"/>
                    </a:cubicBezTo>
                    <a:moveTo>
                      <a:pt x="863" y="954"/>
                    </a:moveTo>
                    <a:lnTo>
                      <a:pt x="862" y="955"/>
                    </a:lnTo>
                    <a:lnTo>
                      <a:pt x="863" y="954"/>
                    </a:lnTo>
                    <a:moveTo>
                      <a:pt x="865" y="945"/>
                    </a:moveTo>
                    <a:lnTo>
                      <a:pt x="865" y="945"/>
                    </a:lnTo>
                    <a:lnTo>
                      <a:pt x="865" y="945"/>
                    </a:lnTo>
                    <a:lnTo>
                      <a:pt x="865" y="945"/>
                    </a:lnTo>
                    <a:lnTo>
                      <a:pt x="865" y="944"/>
                    </a:lnTo>
                    <a:lnTo>
                      <a:pt x="865" y="944"/>
                    </a:lnTo>
                    <a:lnTo>
                      <a:pt x="865" y="944"/>
                    </a:lnTo>
                    <a:lnTo>
                      <a:pt x="865" y="944"/>
                    </a:lnTo>
                    <a:lnTo>
                      <a:pt x="865" y="944"/>
                    </a:lnTo>
                    <a:lnTo>
                      <a:pt x="865" y="943"/>
                    </a:lnTo>
                    <a:lnTo>
                      <a:pt x="865" y="943"/>
                    </a:lnTo>
                    <a:lnTo>
                      <a:pt x="865" y="943"/>
                    </a:lnTo>
                    <a:lnTo>
                      <a:pt x="865" y="943"/>
                    </a:lnTo>
                    <a:lnTo>
                      <a:pt x="865" y="943"/>
                    </a:lnTo>
                    <a:lnTo>
                      <a:pt x="865" y="943"/>
                    </a:lnTo>
                    <a:lnTo>
                      <a:pt x="865" y="943"/>
                    </a:lnTo>
                    <a:lnTo>
                      <a:pt x="865" y="942"/>
                    </a:lnTo>
                    <a:lnTo>
                      <a:pt x="865" y="942"/>
                    </a:lnTo>
                    <a:lnTo>
                      <a:pt x="865" y="942"/>
                    </a:lnTo>
                    <a:lnTo>
                      <a:pt x="865" y="942"/>
                    </a:lnTo>
                    <a:lnTo>
                      <a:pt x="865" y="942"/>
                    </a:lnTo>
                    <a:lnTo>
                      <a:pt x="865" y="942"/>
                    </a:lnTo>
                    <a:lnTo>
                      <a:pt x="865" y="942"/>
                    </a:lnTo>
                    <a:lnTo>
                      <a:pt x="866" y="941"/>
                    </a:lnTo>
                    <a:lnTo>
                      <a:pt x="866" y="941"/>
                    </a:lnTo>
                    <a:lnTo>
                      <a:pt x="866" y="941"/>
                    </a:lnTo>
                    <a:lnTo>
                      <a:pt x="866" y="941"/>
                    </a:lnTo>
                    <a:lnTo>
                      <a:pt x="866" y="941"/>
                    </a:lnTo>
                    <a:lnTo>
                      <a:pt x="866" y="941"/>
                    </a:lnTo>
                    <a:lnTo>
                      <a:pt x="866" y="941"/>
                    </a:lnTo>
                    <a:lnTo>
                      <a:pt x="866" y="941"/>
                    </a:lnTo>
                    <a:lnTo>
                      <a:pt x="866" y="940"/>
                    </a:lnTo>
                    <a:lnTo>
                      <a:pt x="866" y="940"/>
                    </a:lnTo>
                    <a:lnTo>
                      <a:pt x="866" y="940"/>
                    </a:lnTo>
                    <a:lnTo>
                      <a:pt x="866" y="940"/>
                    </a:lnTo>
                    <a:lnTo>
                      <a:pt x="866" y="940"/>
                    </a:lnTo>
                    <a:lnTo>
                      <a:pt x="866" y="940"/>
                    </a:lnTo>
                    <a:lnTo>
                      <a:pt x="866" y="940"/>
                    </a:lnTo>
                    <a:lnTo>
                      <a:pt x="866" y="940"/>
                    </a:lnTo>
                    <a:lnTo>
                      <a:pt x="866" y="939"/>
                    </a:lnTo>
                    <a:lnTo>
                      <a:pt x="866" y="939"/>
                    </a:lnTo>
                    <a:lnTo>
                      <a:pt x="866" y="939"/>
                    </a:lnTo>
                    <a:lnTo>
                      <a:pt x="866" y="939"/>
                    </a:lnTo>
                    <a:lnTo>
                      <a:pt x="866" y="939"/>
                    </a:lnTo>
                    <a:lnTo>
                      <a:pt x="866" y="939"/>
                    </a:lnTo>
                    <a:lnTo>
                      <a:pt x="867" y="938"/>
                    </a:lnTo>
                    <a:lnTo>
                      <a:pt x="867" y="938"/>
                    </a:lnTo>
                    <a:lnTo>
                      <a:pt x="867" y="937"/>
                    </a:lnTo>
                    <a:lnTo>
                      <a:pt x="867" y="937"/>
                    </a:lnTo>
                    <a:lnTo>
                      <a:pt x="867" y="937"/>
                    </a:lnTo>
                    <a:lnTo>
                      <a:pt x="867" y="937"/>
                    </a:lnTo>
                    <a:lnTo>
                      <a:pt x="867" y="937"/>
                    </a:lnTo>
                    <a:lnTo>
                      <a:pt x="867" y="936"/>
                    </a:lnTo>
                    <a:lnTo>
                      <a:pt x="867" y="936"/>
                    </a:lnTo>
                    <a:lnTo>
                      <a:pt x="867" y="936"/>
                    </a:lnTo>
                    <a:lnTo>
                      <a:pt x="867" y="935"/>
                    </a:lnTo>
                    <a:lnTo>
                      <a:pt x="867" y="935"/>
                    </a:lnTo>
                    <a:lnTo>
                      <a:pt x="867" y="935"/>
                    </a:lnTo>
                    <a:lnTo>
                      <a:pt x="867" y="935"/>
                    </a:lnTo>
                    <a:lnTo>
                      <a:pt x="867" y="935"/>
                    </a:lnTo>
                    <a:lnTo>
                      <a:pt x="867" y="935"/>
                    </a:lnTo>
                    <a:lnTo>
                      <a:pt x="867" y="934"/>
                    </a:lnTo>
                    <a:lnTo>
                      <a:pt x="867" y="934"/>
                    </a:lnTo>
                    <a:lnTo>
                      <a:pt x="868" y="934"/>
                    </a:lnTo>
                    <a:lnTo>
                      <a:pt x="868" y="934"/>
                    </a:lnTo>
                    <a:lnTo>
                      <a:pt x="868" y="933"/>
                    </a:lnTo>
                    <a:lnTo>
                      <a:pt x="868" y="933"/>
                    </a:lnTo>
                    <a:lnTo>
                      <a:pt x="868" y="933"/>
                    </a:lnTo>
                    <a:lnTo>
                      <a:pt x="868" y="933"/>
                    </a:lnTo>
                    <a:lnTo>
                      <a:pt x="868" y="933"/>
                    </a:lnTo>
                    <a:lnTo>
                      <a:pt x="868" y="933"/>
                    </a:lnTo>
                    <a:lnTo>
                      <a:pt x="868" y="933"/>
                    </a:lnTo>
                    <a:lnTo>
                      <a:pt x="868" y="933"/>
                    </a:lnTo>
                    <a:lnTo>
                      <a:pt x="868" y="932"/>
                    </a:lnTo>
                    <a:lnTo>
                      <a:pt x="868" y="932"/>
                    </a:lnTo>
                    <a:lnTo>
                      <a:pt x="868" y="932"/>
                    </a:lnTo>
                    <a:lnTo>
                      <a:pt x="868" y="932"/>
                    </a:lnTo>
                    <a:lnTo>
                      <a:pt x="868" y="932"/>
                    </a:lnTo>
                    <a:lnTo>
                      <a:pt x="868" y="932"/>
                    </a:lnTo>
                    <a:lnTo>
                      <a:pt x="868" y="932"/>
                    </a:lnTo>
                    <a:lnTo>
                      <a:pt x="868" y="931"/>
                    </a:lnTo>
                    <a:lnTo>
                      <a:pt x="868" y="931"/>
                    </a:lnTo>
                    <a:lnTo>
                      <a:pt x="868" y="931"/>
                    </a:lnTo>
                    <a:lnTo>
                      <a:pt x="868" y="931"/>
                    </a:lnTo>
                    <a:lnTo>
                      <a:pt x="868" y="931"/>
                    </a:lnTo>
                    <a:lnTo>
                      <a:pt x="868" y="931"/>
                    </a:lnTo>
                    <a:lnTo>
                      <a:pt x="868" y="930"/>
                    </a:lnTo>
                    <a:lnTo>
                      <a:pt x="869" y="930"/>
                    </a:lnTo>
                    <a:lnTo>
                      <a:pt x="869" y="930"/>
                    </a:lnTo>
                    <a:lnTo>
                      <a:pt x="869" y="930"/>
                    </a:lnTo>
                    <a:lnTo>
                      <a:pt x="869" y="930"/>
                    </a:lnTo>
                    <a:lnTo>
                      <a:pt x="869" y="929"/>
                    </a:lnTo>
                    <a:lnTo>
                      <a:pt x="869" y="929"/>
                    </a:lnTo>
                    <a:lnTo>
                      <a:pt x="869" y="929"/>
                    </a:lnTo>
                    <a:lnTo>
                      <a:pt x="869" y="929"/>
                    </a:lnTo>
                    <a:lnTo>
                      <a:pt x="869" y="929"/>
                    </a:lnTo>
                    <a:lnTo>
                      <a:pt x="869" y="929"/>
                    </a:lnTo>
                    <a:cubicBezTo>
                      <a:pt x="859" y="929"/>
                      <a:pt x="850" y="936"/>
                      <a:pt x="846" y="945"/>
                    </a:cubicBezTo>
                    <a:moveTo>
                      <a:pt x="861" y="959"/>
                    </a:moveTo>
                    <a:cubicBezTo>
                      <a:pt x="861" y="961"/>
                      <a:pt x="860" y="964"/>
                      <a:pt x="860" y="966"/>
                    </a:cubicBezTo>
                    <a:moveTo>
                      <a:pt x="856" y="808"/>
                    </a:moveTo>
                    <a:lnTo>
                      <a:pt x="845" y="808"/>
                    </a:lnTo>
                    <a:lnTo>
                      <a:pt x="845" y="808"/>
                    </a:lnTo>
                    <a:lnTo>
                      <a:pt x="845" y="808"/>
                    </a:lnTo>
                    <a:lnTo>
                      <a:pt x="845" y="808"/>
                    </a:lnTo>
                    <a:lnTo>
                      <a:pt x="822" y="808"/>
                    </a:lnTo>
                    <a:cubicBezTo>
                      <a:pt x="824" y="806"/>
                      <a:pt x="825" y="803"/>
                      <a:pt x="827" y="800"/>
                    </a:cubicBezTo>
                    <a:lnTo>
                      <a:pt x="846" y="800"/>
                    </a:lnTo>
                    <a:lnTo>
                      <a:pt x="846" y="800"/>
                    </a:lnTo>
                    <a:lnTo>
                      <a:pt x="846" y="800"/>
                    </a:lnTo>
                    <a:lnTo>
                      <a:pt x="846" y="800"/>
                    </a:lnTo>
                    <a:cubicBezTo>
                      <a:pt x="850" y="790"/>
                      <a:pt x="859" y="784"/>
                      <a:pt x="870" y="784"/>
                    </a:cubicBezTo>
                    <a:cubicBezTo>
                      <a:pt x="872" y="784"/>
                      <a:pt x="874" y="784"/>
                      <a:pt x="876" y="784"/>
                    </a:cubicBezTo>
                    <a:cubicBezTo>
                      <a:pt x="885" y="774"/>
                      <a:pt x="895" y="765"/>
                      <a:pt x="906" y="756"/>
                    </a:cubicBezTo>
                    <a:lnTo>
                      <a:pt x="852" y="756"/>
                    </a:lnTo>
                    <a:lnTo>
                      <a:pt x="852" y="756"/>
                    </a:lnTo>
                    <a:lnTo>
                      <a:pt x="852" y="756"/>
                    </a:lnTo>
                    <a:lnTo>
                      <a:pt x="814" y="756"/>
                    </a:lnTo>
                    <a:cubicBezTo>
                      <a:pt x="801" y="770"/>
                      <a:pt x="790" y="785"/>
                      <a:pt x="779" y="800"/>
                    </a:cubicBezTo>
                    <a:lnTo>
                      <a:pt x="827" y="800"/>
                    </a:lnTo>
                    <a:cubicBezTo>
                      <a:pt x="825" y="803"/>
                      <a:pt x="824" y="806"/>
                      <a:pt x="822" y="808"/>
                    </a:cubicBezTo>
                    <a:lnTo>
                      <a:pt x="822" y="808"/>
                    </a:lnTo>
                    <a:lnTo>
                      <a:pt x="773" y="808"/>
                    </a:lnTo>
                    <a:cubicBezTo>
                      <a:pt x="759" y="831"/>
                      <a:pt x="746" y="855"/>
                      <a:pt x="737" y="879"/>
                    </a:cubicBezTo>
                    <a:lnTo>
                      <a:pt x="794" y="879"/>
                    </a:lnTo>
                    <a:lnTo>
                      <a:pt x="793" y="880"/>
                    </a:lnTo>
                    <a:lnTo>
                      <a:pt x="794" y="879"/>
                    </a:lnTo>
                    <a:lnTo>
                      <a:pt x="813" y="879"/>
                    </a:lnTo>
                    <a:cubicBezTo>
                      <a:pt x="823" y="858"/>
                      <a:pt x="834" y="838"/>
                      <a:pt x="847" y="820"/>
                    </a:cubicBezTo>
                    <a:cubicBezTo>
                      <a:pt x="846" y="817"/>
                      <a:pt x="845" y="813"/>
                      <a:pt x="845" y="809"/>
                    </a:cubicBezTo>
                    <a:cubicBezTo>
                      <a:pt x="845" y="809"/>
                      <a:pt x="845" y="809"/>
                      <a:pt x="845" y="808"/>
                    </a:cubicBezTo>
                    <a:lnTo>
                      <a:pt x="856" y="808"/>
                    </a:lnTo>
                    <a:close/>
                    <a:moveTo>
                      <a:pt x="749" y="756"/>
                    </a:moveTo>
                    <a:lnTo>
                      <a:pt x="700" y="756"/>
                    </a:lnTo>
                    <a:cubicBezTo>
                      <a:pt x="691" y="770"/>
                      <a:pt x="683" y="785"/>
                      <a:pt x="675" y="800"/>
                    </a:cubicBezTo>
                    <a:lnTo>
                      <a:pt x="719" y="800"/>
                    </a:lnTo>
                    <a:cubicBezTo>
                      <a:pt x="728" y="785"/>
                      <a:pt x="738" y="770"/>
                      <a:pt x="749" y="756"/>
                    </a:cubicBezTo>
                    <a:close/>
                    <a:moveTo>
                      <a:pt x="647" y="746"/>
                    </a:moveTo>
                    <a:lnTo>
                      <a:pt x="483" y="577"/>
                    </a:lnTo>
                    <a:cubicBezTo>
                      <a:pt x="466" y="601"/>
                      <a:pt x="450" y="625"/>
                      <a:pt x="436" y="651"/>
                    </a:cubicBezTo>
                    <a:lnTo>
                      <a:pt x="485" y="708"/>
                    </a:lnTo>
                    <a:lnTo>
                      <a:pt x="547" y="708"/>
                    </a:lnTo>
                    <a:lnTo>
                      <a:pt x="621" y="796"/>
                    </a:lnTo>
                    <a:cubicBezTo>
                      <a:pt x="629" y="779"/>
                      <a:pt x="638" y="762"/>
                      <a:pt x="647" y="746"/>
                    </a:cubicBezTo>
                    <a:close/>
                    <a:moveTo>
                      <a:pt x="488" y="569"/>
                    </a:moveTo>
                    <a:lnTo>
                      <a:pt x="652" y="738"/>
                    </a:lnTo>
                    <a:cubicBezTo>
                      <a:pt x="666" y="714"/>
                      <a:pt x="683" y="691"/>
                      <a:pt x="701" y="670"/>
                    </a:cubicBezTo>
                    <a:lnTo>
                      <a:pt x="540" y="503"/>
                    </a:lnTo>
                    <a:cubicBezTo>
                      <a:pt x="522" y="524"/>
                      <a:pt x="504" y="546"/>
                      <a:pt x="488" y="569"/>
                    </a:cubicBezTo>
                    <a:close/>
                    <a:moveTo>
                      <a:pt x="706" y="747"/>
                    </a:moveTo>
                    <a:lnTo>
                      <a:pt x="755" y="747"/>
                    </a:lnTo>
                    <a:cubicBezTo>
                      <a:pt x="774" y="723"/>
                      <a:pt x="795" y="701"/>
                      <a:pt x="820" y="681"/>
                    </a:cubicBezTo>
                    <a:lnTo>
                      <a:pt x="852" y="720"/>
                    </a:lnTo>
                    <a:cubicBezTo>
                      <a:pt x="842" y="728"/>
                      <a:pt x="832" y="738"/>
                      <a:pt x="823" y="747"/>
                    </a:cubicBezTo>
                    <a:lnTo>
                      <a:pt x="857" y="747"/>
                    </a:lnTo>
                    <a:lnTo>
                      <a:pt x="857" y="747"/>
                    </a:lnTo>
                    <a:lnTo>
                      <a:pt x="916" y="747"/>
                    </a:lnTo>
                    <a:cubicBezTo>
                      <a:pt x="919" y="745"/>
                      <a:pt x="921" y="743"/>
                      <a:pt x="924" y="741"/>
                    </a:cubicBezTo>
                    <a:cubicBezTo>
                      <a:pt x="980" y="699"/>
                      <a:pt x="1048" y="673"/>
                      <a:pt x="1122" y="670"/>
                    </a:cubicBezTo>
                    <a:cubicBezTo>
                      <a:pt x="1123" y="669"/>
                      <a:pt x="1123" y="669"/>
                      <a:pt x="1123" y="668"/>
                    </a:cubicBezTo>
                    <a:lnTo>
                      <a:pt x="1126" y="670"/>
                    </a:lnTo>
                    <a:lnTo>
                      <a:pt x="1126" y="670"/>
                    </a:lnTo>
                    <a:lnTo>
                      <a:pt x="1123" y="668"/>
                    </a:lnTo>
                    <a:cubicBezTo>
                      <a:pt x="1124" y="667"/>
                      <a:pt x="1124" y="666"/>
                      <a:pt x="1125" y="664"/>
                    </a:cubicBezTo>
                    <a:cubicBezTo>
                      <a:pt x="1124" y="666"/>
                      <a:pt x="1124" y="667"/>
                      <a:pt x="1123" y="668"/>
                    </a:cubicBezTo>
                    <a:lnTo>
                      <a:pt x="1123" y="668"/>
                    </a:lnTo>
                    <a:lnTo>
                      <a:pt x="1083" y="637"/>
                    </a:lnTo>
                    <a:lnTo>
                      <a:pt x="1020" y="637"/>
                    </a:lnTo>
                    <a:cubicBezTo>
                      <a:pt x="1018" y="638"/>
                      <a:pt x="1017" y="638"/>
                      <a:pt x="1015" y="639"/>
                    </a:cubicBezTo>
                    <a:lnTo>
                      <a:pt x="1014" y="637"/>
                    </a:lnTo>
                    <a:lnTo>
                      <a:pt x="805" y="637"/>
                    </a:lnTo>
                    <a:cubicBezTo>
                      <a:pt x="793" y="647"/>
                      <a:pt x="782" y="657"/>
                      <a:pt x="771" y="668"/>
                    </a:cubicBezTo>
                    <a:lnTo>
                      <a:pt x="846" y="668"/>
                    </a:lnTo>
                    <a:cubicBezTo>
                      <a:pt x="850" y="659"/>
                      <a:pt x="859" y="652"/>
                      <a:pt x="870" y="652"/>
                    </a:cubicBezTo>
                    <a:cubicBezTo>
                      <a:pt x="884" y="652"/>
                      <a:pt x="895" y="663"/>
                      <a:pt x="895" y="677"/>
                    </a:cubicBezTo>
                    <a:cubicBezTo>
                      <a:pt x="895" y="691"/>
                      <a:pt x="884" y="702"/>
                      <a:pt x="870" y="702"/>
                    </a:cubicBezTo>
                    <a:lnTo>
                      <a:pt x="870" y="702"/>
                    </a:lnTo>
                    <a:cubicBezTo>
                      <a:pt x="856" y="702"/>
                      <a:pt x="845" y="691"/>
                      <a:pt x="845" y="677"/>
                    </a:cubicBezTo>
                    <a:lnTo>
                      <a:pt x="845" y="677"/>
                    </a:lnTo>
                    <a:lnTo>
                      <a:pt x="845" y="677"/>
                    </a:lnTo>
                    <a:lnTo>
                      <a:pt x="845" y="677"/>
                    </a:lnTo>
                    <a:lnTo>
                      <a:pt x="763" y="677"/>
                    </a:lnTo>
                    <a:cubicBezTo>
                      <a:pt x="742" y="698"/>
                      <a:pt x="723" y="722"/>
                      <a:pt x="706" y="747"/>
                    </a:cubicBezTo>
                    <a:close/>
                    <a:moveTo>
                      <a:pt x="883" y="888"/>
                    </a:moveTo>
                    <a:lnTo>
                      <a:pt x="865" y="888"/>
                    </a:lnTo>
                    <a:cubicBezTo>
                      <a:pt x="857" y="904"/>
                      <a:pt x="850" y="922"/>
                      <a:pt x="845" y="940"/>
                    </a:cubicBezTo>
                    <a:lnTo>
                      <a:pt x="796" y="926"/>
                    </a:lnTo>
                    <a:cubicBezTo>
                      <a:pt x="800" y="913"/>
                      <a:pt x="804" y="900"/>
                      <a:pt x="810" y="888"/>
                    </a:cubicBezTo>
                    <a:lnTo>
                      <a:pt x="791" y="888"/>
                    </a:lnTo>
                    <a:lnTo>
                      <a:pt x="791" y="888"/>
                    </a:lnTo>
                    <a:lnTo>
                      <a:pt x="733" y="888"/>
                    </a:lnTo>
                    <a:cubicBezTo>
                      <a:pt x="726" y="906"/>
                      <a:pt x="721" y="925"/>
                      <a:pt x="717" y="945"/>
                    </a:cubicBezTo>
                    <a:cubicBezTo>
                      <a:pt x="716" y="948"/>
                      <a:pt x="715" y="951"/>
                      <a:pt x="715" y="954"/>
                    </a:cubicBezTo>
                    <a:cubicBezTo>
                      <a:pt x="713" y="961"/>
                      <a:pt x="712" y="968"/>
                      <a:pt x="711" y="976"/>
                    </a:cubicBezTo>
                    <a:cubicBezTo>
                      <a:pt x="710" y="987"/>
                      <a:pt x="708" y="999"/>
                      <a:pt x="708" y="1011"/>
                    </a:cubicBezTo>
                    <a:lnTo>
                      <a:pt x="942" y="1011"/>
                    </a:lnTo>
                    <a:lnTo>
                      <a:pt x="965" y="1033"/>
                    </a:lnTo>
                    <a:lnTo>
                      <a:pt x="965" y="1033"/>
                    </a:lnTo>
                    <a:cubicBezTo>
                      <a:pt x="965" y="985"/>
                      <a:pt x="984" y="942"/>
                      <a:pt x="1015" y="911"/>
                    </a:cubicBezTo>
                    <a:cubicBezTo>
                      <a:pt x="1024" y="902"/>
                      <a:pt x="1034" y="894"/>
                      <a:pt x="1044" y="888"/>
                    </a:cubicBezTo>
                    <a:lnTo>
                      <a:pt x="883" y="888"/>
                    </a:lnTo>
                    <a:cubicBezTo>
                      <a:pt x="884" y="885"/>
                      <a:pt x="885" y="882"/>
                      <a:pt x="886" y="879"/>
                    </a:cubicBezTo>
                    <a:cubicBezTo>
                      <a:pt x="885" y="882"/>
                      <a:pt x="884" y="885"/>
                      <a:pt x="883" y="888"/>
                    </a:cubicBezTo>
                    <a:close/>
                    <a:moveTo>
                      <a:pt x="680" y="888"/>
                    </a:moveTo>
                    <a:lnTo>
                      <a:pt x="457" y="888"/>
                    </a:lnTo>
                    <a:lnTo>
                      <a:pt x="379" y="816"/>
                    </a:lnTo>
                    <a:lnTo>
                      <a:pt x="379" y="785"/>
                    </a:lnTo>
                    <a:cubicBezTo>
                      <a:pt x="372" y="804"/>
                      <a:pt x="367" y="823"/>
                      <a:pt x="362" y="843"/>
                    </a:cubicBezTo>
                    <a:cubicBezTo>
                      <a:pt x="361" y="846"/>
                      <a:pt x="361" y="849"/>
                      <a:pt x="360" y="852"/>
                    </a:cubicBezTo>
                    <a:cubicBezTo>
                      <a:pt x="351" y="889"/>
                      <a:pt x="345" y="927"/>
                      <a:pt x="342" y="966"/>
                    </a:cubicBezTo>
                    <a:lnTo>
                      <a:pt x="393" y="1011"/>
                    </a:lnTo>
                    <a:lnTo>
                      <a:pt x="569" y="1011"/>
                    </a:lnTo>
                    <a:cubicBezTo>
                      <a:pt x="570" y="1004"/>
                      <a:pt x="570" y="998"/>
                      <a:pt x="571" y="992"/>
                    </a:cubicBezTo>
                    <a:lnTo>
                      <a:pt x="621" y="995"/>
                    </a:lnTo>
                    <a:cubicBezTo>
                      <a:pt x="621" y="1000"/>
                      <a:pt x="620" y="1006"/>
                      <a:pt x="620" y="1011"/>
                    </a:cubicBezTo>
                    <a:lnTo>
                      <a:pt x="657" y="1011"/>
                    </a:lnTo>
                    <a:cubicBezTo>
                      <a:pt x="658" y="997"/>
                      <a:pt x="659" y="983"/>
                      <a:pt x="661" y="969"/>
                    </a:cubicBezTo>
                    <a:cubicBezTo>
                      <a:pt x="662" y="964"/>
                      <a:pt x="662" y="959"/>
                      <a:pt x="663" y="954"/>
                    </a:cubicBezTo>
                    <a:cubicBezTo>
                      <a:pt x="664" y="951"/>
                      <a:pt x="664" y="948"/>
                      <a:pt x="665" y="945"/>
                    </a:cubicBezTo>
                    <a:cubicBezTo>
                      <a:pt x="669" y="925"/>
                      <a:pt x="673" y="906"/>
                      <a:pt x="680" y="888"/>
                    </a:cubicBezTo>
                    <a:close/>
                    <a:moveTo>
                      <a:pt x="387" y="760"/>
                    </a:moveTo>
                    <a:lnTo>
                      <a:pt x="387" y="812"/>
                    </a:lnTo>
                    <a:lnTo>
                      <a:pt x="461" y="879"/>
                    </a:lnTo>
                    <a:lnTo>
                      <a:pt x="683" y="879"/>
                    </a:lnTo>
                    <a:cubicBezTo>
                      <a:pt x="691" y="855"/>
                      <a:pt x="702" y="831"/>
                      <a:pt x="714" y="808"/>
                    </a:cubicBezTo>
                    <a:lnTo>
                      <a:pt x="671" y="808"/>
                    </a:lnTo>
                    <a:cubicBezTo>
                      <a:pt x="667" y="816"/>
                      <a:pt x="663" y="824"/>
                      <a:pt x="660" y="833"/>
                    </a:cubicBezTo>
                    <a:lnTo>
                      <a:pt x="613" y="813"/>
                    </a:lnTo>
                    <a:cubicBezTo>
                      <a:pt x="614" y="810"/>
                      <a:pt x="616" y="807"/>
                      <a:pt x="617" y="805"/>
                    </a:cubicBezTo>
                    <a:lnTo>
                      <a:pt x="543" y="716"/>
                    </a:lnTo>
                    <a:lnTo>
                      <a:pt x="481" y="716"/>
                    </a:lnTo>
                    <a:lnTo>
                      <a:pt x="432" y="659"/>
                    </a:lnTo>
                    <a:cubicBezTo>
                      <a:pt x="415" y="692"/>
                      <a:pt x="400" y="725"/>
                      <a:pt x="387" y="760"/>
                    </a:cubicBezTo>
                    <a:close/>
                    <a:moveTo>
                      <a:pt x="1553" y="587"/>
                    </a:moveTo>
                    <a:cubicBezTo>
                      <a:pt x="1539" y="587"/>
                      <a:pt x="1528" y="575"/>
                      <a:pt x="1528" y="561"/>
                    </a:cubicBezTo>
                    <a:cubicBezTo>
                      <a:pt x="1528" y="547"/>
                      <a:pt x="1539" y="536"/>
                      <a:pt x="1553" y="536"/>
                    </a:cubicBezTo>
                    <a:cubicBezTo>
                      <a:pt x="1564" y="536"/>
                      <a:pt x="1573" y="543"/>
                      <a:pt x="1576" y="552"/>
                    </a:cubicBezTo>
                    <a:lnTo>
                      <a:pt x="1622" y="552"/>
                    </a:lnTo>
                    <a:lnTo>
                      <a:pt x="1630" y="543"/>
                    </a:lnTo>
                    <a:lnTo>
                      <a:pt x="1630" y="543"/>
                    </a:lnTo>
                    <a:lnTo>
                      <a:pt x="1699" y="467"/>
                    </a:lnTo>
                    <a:cubicBezTo>
                      <a:pt x="1683" y="451"/>
                      <a:pt x="1666" y="436"/>
                      <a:pt x="1648" y="421"/>
                    </a:cubicBezTo>
                    <a:lnTo>
                      <a:pt x="1584" y="482"/>
                    </a:lnTo>
                    <a:lnTo>
                      <a:pt x="1475" y="482"/>
                    </a:lnTo>
                    <a:lnTo>
                      <a:pt x="1470" y="486"/>
                    </a:lnTo>
                    <a:cubicBezTo>
                      <a:pt x="1467" y="486"/>
                      <a:pt x="1463" y="485"/>
                      <a:pt x="1460" y="484"/>
                    </a:cubicBezTo>
                    <a:lnTo>
                      <a:pt x="1472" y="473"/>
                    </a:lnTo>
                    <a:lnTo>
                      <a:pt x="1581" y="473"/>
                    </a:lnTo>
                    <a:lnTo>
                      <a:pt x="1641" y="415"/>
                    </a:lnTo>
                    <a:cubicBezTo>
                      <a:pt x="1577" y="363"/>
                      <a:pt x="1504" y="320"/>
                      <a:pt x="1425" y="289"/>
                    </a:cubicBezTo>
                    <a:cubicBezTo>
                      <a:pt x="1421" y="294"/>
                      <a:pt x="1415" y="296"/>
                      <a:pt x="1408" y="296"/>
                    </a:cubicBezTo>
                    <a:lnTo>
                      <a:pt x="1408" y="296"/>
                    </a:lnTo>
                    <a:cubicBezTo>
                      <a:pt x="1395" y="296"/>
                      <a:pt x="1384" y="287"/>
                      <a:pt x="1383" y="274"/>
                    </a:cubicBezTo>
                    <a:cubicBezTo>
                      <a:pt x="1305" y="249"/>
                      <a:pt x="1223" y="235"/>
                      <a:pt x="1137" y="235"/>
                    </a:cubicBezTo>
                    <a:cubicBezTo>
                      <a:pt x="1097" y="235"/>
                      <a:pt x="1059" y="238"/>
                      <a:pt x="1021" y="244"/>
                    </a:cubicBezTo>
                    <a:cubicBezTo>
                      <a:pt x="1021" y="244"/>
                      <a:pt x="1022" y="244"/>
                      <a:pt x="1023" y="244"/>
                    </a:cubicBezTo>
                    <a:lnTo>
                      <a:pt x="1023" y="245"/>
                    </a:lnTo>
                    <a:lnTo>
                      <a:pt x="1023" y="244"/>
                    </a:lnTo>
                    <a:cubicBezTo>
                      <a:pt x="1033" y="248"/>
                      <a:pt x="1040" y="257"/>
                      <a:pt x="1040" y="268"/>
                    </a:cubicBezTo>
                    <a:cubicBezTo>
                      <a:pt x="1040" y="282"/>
                      <a:pt x="1029" y="294"/>
                      <a:pt x="1015" y="294"/>
                    </a:cubicBezTo>
                    <a:lnTo>
                      <a:pt x="1015" y="294"/>
                    </a:lnTo>
                    <a:cubicBezTo>
                      <a:pt x="1001" y="294"/>
                      <a:pt x="990" y="282"/>
                      <a:pt x="990" y="268"/>
                    </a:cubicBezTo>
                    <a:cubicBezTo>
                      <a:pt x="990" y="265"/>
                      <a:pt x="991" y="261"/>
                      <a:pt x="992" y="258"/>
                    </a:cubicBezTo>
                    <a:lnTo>
                      <a:pt x="997" y="256"/>
                    </a:lnTo>
                    <a:lnTo>
                      <a:pt x="992" y="258"/>
                    </a:lnTo>
                    <a:cubicBezTo>
                      <a:pt x="994" y="253"/>
                      <a:pt x="998" y="249"/>
                      <a:pt x="1002" y="247"/>
                    </a:cubicBezTo>
                    <a:cubicBezTo>
                      <a:pt x="909" y="263"/>
                      <a:pt x="822" y="294"/>
                      <a:pt x="743" y="339"/>
                    </a:cubicBezTo>
                    <a:lnTo>
                      <a:pt x="743" y="376"/>
                    </a:lnTo>
                    <a:lnTo>
                      <a:pt x="769" y="401"/>
                    </a:lnTo>
                    <a:lnTo>
                      <a:pt x="769" y="401"/>
                    </a:lnTo>
                    <a:lnTo>
                      <a:pt x="769" y="401"/>
                    </a:lnTo>
                    <a:lnTo>
                      <a:pt x="826" y="455"/>
                    </a:lnTo>
                    <a:lnTo>
                      <a:pt x="826" y="455"/>
                    </a:lnTo>
                    <a:lnTo>
                      <a:pt x="842" y="470"/>
                    </a:lnTo>
                    <a:lnTo>
                      <a:pt x="951" y="470"/>
                    </a:lnTo>
                    <a:lnTo>
                      <a:pt x="972" y="490"/>
                    </a:lnTo>
                    <a:cubicBezTo>
                      <a:pt x="1024" y="474"/>
                      <a:pt x="1079" y="465"/>
                      <a:pt x="1137" y="465"/>
                    </a:cubicBezTo>
                    <a:cubicBezTo>
                      <a:pt x="1195" y="465"/>
                      <a:pt x="1250" y="474"/>
                      <a:pt x="1303" y="490"/>
                    </a:cubicBezTo>
                    <a:cubicBezTo>
                      <a:pt x="1332" y="499"/>
                      <a:pt x="1359" y="510"/>
                      <a:pt x="1386" y="523"/>
                    </a:cubicBezTo>
                    <a:cubicBezTo>
                      <a:pt x="1390" y="515"/>
                      <a:pt x="1398" y="510"/>
                      <a:pt x="1408" y="510"/>
                    </a:cubicBezTo>
                    <a:cubicBezTo>
                      <a:pt x="1415" y="510"/>
                      <a:pt x="1421" y="512"/>
                      <a:pt x="1426" y="517"/>
                    </a:cubicBezTo>
                    <a:lnTo>
                      <a:pt x="1460" y="484"/>
                    </a:lnTo>
                    <a:cubicBezTo>
                      <a:pt x="1463" y="485"/>
                      <a:pt x="1467" y="486"/>
                      <a:pt x="1470" y="486"/>
                    </a:cubicBezTo>
                    <a:lnTo>
                      <a:pt x="1431" y="524"/>
                    </a:lnTo>
                    <a:lnTo>
                      <a:pt x="1431" y="524"/>
                    </a:lnTo>
                    <a:cubicBezTo>
                      <a:pt x="1432" y="528"/>
                      <a:pt x="1433" y="531"/>
                      <a:pt x="1433" y="535"/>
                    </a:cubicBezTo>
                    <a:cubicBezTo>
                      <a:pt x="1433" y="539"/>
                      <a:pt x="1432" y="543"/>
                      <a:pt x="1430" y="547"/>
                    </a:cubicBezTo>
                    <a:cubicBezTo>
                      <a:pt x="1439" y="552"/>
                      <a:pt x="1447" y="558"/>
                      <a:pt x="1455" y="563"/>
                    </a:cubicBezTo>
                    <a:lnTo>
                      <a:pt x="1427" y="605"/>
                    </a:lnTo>
                    <a:cubicBezTo>
                      <a:pt x="1385" y="576"/>
                      <a:pt x="1338" y="554"/>
                      <a:pt x="1288" y="538"/>
                    </a:cubicBezTo>
                    <a:cubicBezTo>
                      <a:pt x="1240" y="524"/>
                      <a:pt x="1189" y="516"/>
                      <a:pt x="1137" y="516"/>
                    </a:cubicBezTo>
                    <a:cubicBezTo>
                      <a:pt x="1103" y="516"/>
                      <a:pt x="1071" y="519"/>
                      <a:pt x="1039" y="525"/>
                    </a:cubicBezTo>
                    <a:cubicBezTo>
                      <a:pt x="1040" y="528"/>
                      <a:pt x="1040" y="530"/>
                      <a:pt x="1040" y="532"/>
                    </a:cubicBezTo>
                    <a:cubicBezTo>
                      <a:pt x="1040" y="546"/>
                      <a:pt x="1029" y="557"/>
                      <a:pt x="1015" y="557"/>
                    </a:cubicBezTo>
                    <a:lnTo>
                      <a:pt x="1015" y="557"/>
                    </a:lnTo>
                    <a:cubicBezTo>
                      <a:pt x="1003" y="557"/>
                      <a:pt x="993" y="549"/>
                      <a:pt x="990" y="537"/>
                    </a:cubicBezTo>
                    <a:cubicBezTo>
                      <a:pt x="940" y="552"/>
                      <a:pt x="894" y="574"/>
                      <a:pt x="851" y="603"/>
                    </a:cubicBezTo>
                    <a:cubicBezTo>
                      <a:pt x="839" y="611"/>
                      <a:pt x="827" y="619"/>
                      <a:pt x="816" y="628"/>
                    </a:cubicBezTo>
                    <a:lnTo>
                      <a:pt x="1011" y="628"/>
                    </a:lnTo>
                    <a:lnTo>
                      <a:pt x="998" y="591"/>
                    </a:lnTo>
                    <a:cubicBezTo>
                      <a:pt x="1022" y="583"/>
                      <a:pt x="1047" y="576"/>
                      <a:pt x="1073" y="572"/>
                    </a:cubicBezTo>
                    <a:cubicBezTo>
                      <a:pt x="1098" y="567"/>
                      <a:pt x="1124" y="565"/>
                      <a:pt x="1150" y="565"/>
                    </a:cubicBezTo>
                    <a:cubicBezTo>
                      <a:pt x="1236" y="565"/>
                      <a:pt x="1317" y="589"/>
                      <a:pt x="1386" y="631"/>
                    </a:cubicBezTo>
                    <a:lnTo>
                      <a:pt x="1610" y="631"/>
                    </a:lnTo>
                    <a:lnTo>
                      <a:pt x="1610" y="631"/>
                    </a:lnTo>
                    <a:lnTo>
                      <a:pt x="1640" y="631"/>
                    </a:lnTo>
                    <a:lnTo>
                      <a:pt x="1692" y="581"/>
                    </a:lnTo>
                    <a:lnTo>
                      <a:pt x="1692" y="581"/>
                    </a:lnTo>
                    <a:lnTo>
                      <a:pt x="1750" y="524"/>
                    </a:lnTo>
                    <a:cubicBezTo>
                      <a:pt x="1736" y="506"/>
                      <a:pt x="1721" y="490"/>
                      <a:pt x="1705" y="473"/>
                    </a:cubicBezTo>
                    <a:lnTo>
                      <a:pt x="1638" y="547"/>
                    </a:lnTo>
                    <a:lnTo>
                      <a:pt x="1638" y="547"/>
                    </a:lnTo>
                    <a:lnTo>
                      <a:pt x="1626" y="561"/>
                    </a:lnTo>
                    <a:lnTo>
                      <a:pt x="1626" y="561"/>
                    </a:lnTo>
                    <a:lnTo>
                      <a:pt x="1578" y="561"/>
                    </a:lnTo>
                    <a:lnTo>
                      <a:pt x="1578" y="560"/>
                    </a:lnTo>
                    <a:lnTo>
                      <a:pt x="1578" y="561"/>
                    </a:lnTo>
                    <a:cubicBezTo>
                      <a:pt x="1578" y="561"/>
                      <a:pt x="1578" y="561"/>
                      <a:pt x="1578" y="561"/>
                    </a:cubicBezTo>
                    <a:cubicBezTo>
                      <a:pt x="1578" y="575"/>
                      <a:pt x="1567" y="587"/>
                      <a:pt x="1553" y="587"/>
                    </a:cubicBezTo>
                    <a:close/>
                    <a:moveTo>
                      <a:pt x="1578" y="555"/>
                    </a:moveTo>
                    <a:cubicBezTo>
                      <a:pt x="1578" y="557"/>
                      <a:pt x="1578" y="559"/>
                      <a:pt x="1578" y="560"/>
                    </a:cubicBezTo>
                    <a:cubicBezTo>
                      <a:pt x="1578" y="559"/>
                      <a:pt x="1578" y="557"/>
                      <a:pt x="1578" y="555"/>
                    </a:cubicBezTo>
                    <a:close/>
                    <a:moveTo>
                      <a:pt x="1426" y="518"/>
                    </a:moveTo>
                    <a:cubicBezTo>
                      <a:pt x="1428" y="519"/>
                      <a:pt x="1429" y="521"/>
                      <a:pt x="1430" y="523"/>
                    </a:cubicBezTo>
                    <a:cubicBezTo>
                      <a:pt x="1429" y="521"/>
                      <a:pt x="1428" y="519"/>
                      <a:pt x="1426" y="518"/>
                    </a:cubicBezTo>
                    <a:close/>
                    <a:moveTo>
                      <a:pt x="563" y="1237"/>
                    </a:moveTo>
                    <a:lnTo>
                      <a:pt x="564" y="1240"/>
                    </a:lnTo>
                    <a:cubicBezTo>
                      <a:pt x="563" y="1239"/>
                      <a:pt x="563" y="1238"/>
                      <a:pt x="563" y="1237"/>
                    </a:cubicBezTo>
                    <a:close/>
                    <a:moveTo>
                      <a:pt x="490" y="1269"/>
                    </a:moveTo>
                    <a:cubicBezTo>
                      <a:pt x="490" y="1267"/>
                      <a:pt x="489" y="1265"/>
                      <a:pt x="489" y="1263"/>
                    </a:cubicBezTo>
                    <a:cubicBezTo>
                      <a:pt x="489" y="1265"/>
                      <a:pt x="490" y="1267"/>
                      <a:pt x="490" y="1269"/>
                    </a:cubicBezTo>
                    <a:close/>
                    <a:moveTo>
                      <a:pt x="1020" y="270"/>
                    </a:moveTo>
                    <a:lnTo>
                      <a:pt x="1011" y="270"/>
                    </a:lnTo>
                    <a:lnTo>
                      <a:pt x="1011" y="249"/>
                    </a:lnTo>
                    <a:lnTo>
                      <a:pt x="1011" y="249"/>
                    </a:lnTo>
                    <a:lnTo>
                      <a:pt x="1011" y="270"/>
                    </a:lnTo>
                    <a:lnTo>
                      <a:pt x="1020" y="270"/>
                    </a:lnTo>
                    <a:close/>
                    <a:moveTo>
                      <a:pt x="1019" y="246"/>
                    </a:moveTo>
                    <a:lnTo>
                      <a:pt x="1020" y="246"/>
                    </a:lnTo>
                    <a:lnTo>
                      <a:pt x="1020" y="246"/>
                    </a:lnTo>
                    <a:lnTo>
                      <a:pt x="1019" y="246"/>
                    </a:lnTo>
                    <a:close/>
                    <a:moveTo>
                      <a:pt x="1020" y="244"/>
                    </a:moveTo>
                    <a:lnTo>
                      <a:pt x="1020" y="246"/>
                    </a:lnTo>
                    <a:lnTo>
                      <a:pt x="1020" y="246"/>
                    </a:lnTo>
                    <a:lnTo>
                      <a:pt x="1020" y="244"/>
                    </a:lnTo>
                    <a:close/>
                    <a:moveTo>
                      <a:pt x="819" y="460"/>
                    </a:moveTo>
                    <a:lnTo>
                      <a:pt x="763" y="407"/>
                    </a:lnTo>
                    <a:lnTo>
                      <a:pt x="765" y="405"/>
                    </a:lnTo>
                    <a:cubicBezTo>
                      <a:pt x="764" y="405"/>
                      <a:pt x="764" y="406"/>
                      <a:pt x="763" y="407"/>
                    </a:cubicBezTo>
                    <a:lnTo>
                      <a:pt x="763" y="407"/>
                    </a:lnTo>
                    <a:lnTo>
                      <a:pt x="735" y="380"/>
                    </a:lnTo>
                    <a:lnTo>
                      <a:pt x="735" y="344"/>
                    </a:lnTo>
                    <a:cubicBezTo>
                      <a:pt x="715" y="356"/>
                      <a:pt x="696" y="368"/>
                      <a:pt x="677" y="381"/>
                    </a:cubicBezTo>
                    <a:lnTo>
                      <a:pt x="677" y="413"/>
                    </a:lnTo>
                    <a:lnTo>
                      <a:pt x="714" y="454"/>
                    </a:lnTo>
                    <a:lnTo>
                      <a:pt x="714" y="454"/>
                    </a:lnTo>
                    <a:lnTo>
                      <a:pt x="767" y="511"/>
                    </a:lnTo>
                    <a:cubicBezTo>
                      <a:pt x="765" y="513"/>
                      <a:pt x="764" y="514"/>
                      <a:pt x="763" y="516"/>
                    </a:cubicBezTo>
                    <a:lnTo>
                      <a:pt x="763" y="516"/>
                    </a:lnTo>
                    <a:cubicBezTo>
                      <a:pt x="764" y="514"/>
                      <a:pt x="765" y="513"/>
                      <a:pt x="767" y="511"/>
                    </a:cubicBezTo>
                    <a:lnTo>
                      <a:pt x="801" y="549"/>
                    </a:lnTo>
                    <a:lnTo>
                      <a:pt x="840" y="549"/>
                    </a:lnTo>
                    <a:cubicBezTo>
                      <a:pt x="843" y="548"/>
                      <a:pt x="846" y="546"/>
                      <a:pt x="849" y="544"/>
                    </a:cubicBezTo>
                    <a:cubicBezTo>
                      <a:pt x="853" y="538"/>
                      <a:pt x="860" y="534"/>
                      <a:pt x="868" y="533"/>
                    </a:cubicBezTo>
                    <a:cubicBezTo>
                      <a:pt x="898" y="517"/>
                      <a:pt x="930" y="504"/>
                      <a:pt x="962" y="493"/>
                    </a:cubicBezTo>
                    <a:lnTo>
                      <a:pt x="948" y="479"/>
                    </a:lnTo>
                    <a:lnTo>
                      <a:pt x="838" y="479"/>
                    </a:lnTo>
                    <a:lnTo>
                      <a:pt x="819" y="460"/>
                    </a:lnTo>
                    <a:lnTo>
                      <a:pt x="819" y="460"/>
                    </a:lnTo>
                    <a:close/>
                    <a:moveTo>
                      <a:pt x="759" y="512"/>
                    </a:moveTo>
                    <a:lnTo>
                      <a:pt x="737" y="492"/>
                    </a:lnTo>
                    <a:lnTo>
                      <a:pt x="708" y="460"/>
                    </a:lnTo>
                    <a:lnTo>
                      <a:pt x="708" y="460"/>
                    </a:lnTo>
                    <a:lnTo>
                      <a:pt x="708" y="460"/>
                    </a:lnTo>
                    <a:lnTo>
                      <a:pt x="669" y="416"/>
                    </a:lnTo>
                    <a:lnTo>
                      <a:pt x="669" y="387"/>
                    </a:lnTo>
                    <a:cubicBezTo>
                      <a:pt x="643" y="406"/>
                      <a:pt x="619" y="425"/>
                      <a:pt x="596" y="447"/>
                    </a:cubicBezTo>
                    <a:lnTo>
                      <a:pt x="761" y="608"/>
                    </a:lnTo>
                    <a:cubicBezTo>
                      <a:pt x="781" y="591"/>
                      <a:pt x="802" y="575"/>
                      <a:pt x="823" y="560"/>
                    </a:cubicBezTo>
                    <a:lnTo>
                      <a:pt x="827" y="558"/>
                    </a:lnTo>
                    <a:lnTo>
                      <a:pt x="797" y="558"/>
                    </a:lnTo>
                    <a:lnTo>
                      <a:pt x="737" y="492"/>
                    </a:lnTo>
                    <a:lnTo>
                      <a:pt x="759" y="512"/>
                    </a:lnTo>
                    <a:close/>
                    <a:moveTo>
                      <a:pt x="710" y="459"/>
                    </a:moveTo>
                    <a:cubicBezTo>
                      <a:pt x="711" y="457"/>
                      <a:pt x="712" y="456"/>
                      <a:pt x="713" y="455"/>
                    </a:cubicBezTo>
                    <a:cubicBezTo>
                      <a:pt x="712" y="456"/>
                      <a:pt x="711" y="457"/>
                      <a:pt x="710" y="459"/>
                    </a:cubicBezTo>
                    <a:close/>
                    <a:moveTo>
                      <a:pt x="1403" y="227"/>
                    </a:moveTo>
                    <a:lnTo>
                      <a:pt x="1403" y="88"/>
                    </a:lnTo>
                    <a:moveTo>
                      <a:pt x="1411" y="90"/>
                    </a:moveTo>
                    <a:lnTo>
                      <a:pt x="1411" y="230"/>
                    </a:lnTo>
                    <a:moveTo>
                      <a:pt x="845" y="1650"/>
                    </a:moveTo>
                    <a:cubicBezTo>
                      <a:pt x="845" y="1648"/>
                      <a:pt x="846" y="1646"/>
                      <a:pt x="846" y="1644"/>
                    </a:cubicBezTo>
                    <a:lnTo>
                      <a:pt x="877" y="1644"/>
                    </a:lnTo>
                    <a:lnTo>
                      <a:pt x="877" y="1652"/>
                    </a:lnTo>
                    <a:lnTo>
                      <a:pt x="877" y="1652"/>
                    </a:lnTo>
                    <a:lnTo>
                      <a:pt x="877" y="1644"/>
                    </a:lnTo>
                    <a:lnTo>
                      <a:pt x="846" y="1644"/>
                    </a:lnTo>
                    <a:cubicBezTo>
                      <a:pt x="850" y="1634"/>
                      <a:pt x="859" y="1627"/>
                      <a:pt x="870" y="1627"/>
                    </a:cubicBezTo>
                    <a:cubicBezTo>
                      <a:pt x="884" y="1627"/>
                      <a:pt x="895" y="1639"/>
                      <a:pt x="895" y="1653"/>
                    </a:cubicBezTo>
                    <a:cubicBezTo>
                      <a:pt x="895" y="1667"/>
                      <a:pt x="884" y="1678"/>
                      <a:pt x="870" y="1678"/>
                    </a:cubicBezTo>
                    <a:lnTo>
                      <a:pt x="870" y="1678"/>
                    </a:lnTo>
                    <a:cubicBezTo>
                      <a:pt x="856" y="1678"/>
                      <a:pt x="845" y="1667"/>
                      <a:pt x="845" y="1653"/>
                    </a:cubicBezTo>
                    <a:lnTo>
                      <a:pt x="845" y="1652"/>
                    </a:lnTo>
                    <a:lnTo>
                      <a:pt x="845" y="1652"/>
                    </a:lnTo>
                    <a:lnTo>
                      <a:pt x="794" y="1652"/>
                    </a:lnTo>
                    <a:cubicBezTo>
                      <a:pt x="791" y="1649"/>
                      <a:pt x="788" y="1647"/>
                      <a:pt x="785" y="1644"/>
                    </a:cubicBezTo>
                    <a:lnTo>
                      <a:pt x="846" y="1644"/>
                    </a:lnTo>
                    <a:cubicBezTo>
                      <a:pt x="845" y="1646"/>
                      <a:pt x="845" y="1648"/>
                      <a:pt x="845" y="1650"/>
                    </a:cubicBezTo>
                    <a:close/>
                    <a:moveTo>
                      <a:pt x="846" y="1077"/>
                    </a:moveTo>
                    <a:lnTo>
                      <a:pt x="877" y="1077"/>
                    </a:lnTo>
                    <a:lnTo>
                      <a:pt x="877" y="1085"/>
                    </a:lnTo>
                    <a:lnTo>
                      <a:pt x="877" y="1085"/>
                    </a:lnTo>
                    <a:lnTo>
                      <a:pt x="877" y="1077"/>
                    </a:lnTo>
                    <a:lnTo>
                      <a:pt x="846" y="1077"/>
                    </a:lnTo>
                    <a:close/>
                    <a:moveTo>
                      <a:pt x="341" y="1077"/>
                    </a:moveTo>
                    <a:lnTo>
                      <a:pt x="571" y="1077"/>
                    </a:lnTo>
                    <a:cubicBezTo>
                      <a:pt x="569" y="1058"/>
                      <a:pt x="569" y="1038"/>
                      <a:pt x="569" y="1019"/>
                    </a:cubicBezTo>
                    <a:lnTo>
                      <a:pt x="390" y="1019"/>
                    </a:lnTo>
                    <a:lnTo>
                      <a:pt x="341" y="977"/>
                    </a:lnTo>
                    <a:cubicBezTo>
                      <a:pt x="340" y="995"/>
                      <a:pt x="339" y="1014"/>
                      <a:pt x="339" y="1033"/>
                    </a:cubicBezTo>
                    <a:cubicBezTo>
                      <a:pt x="339" y="1047"/>
                      <a:pt x="340" y="1062"/>
                      <a:pt x="341" y="1077"/>
                    </a:cubicBezTo>
                    <a:close/>
                    <a:moveTo>
                      <a:pt x="622" y="1077"/>
                    </a:moveTo>
                    <a:lnTo>
                      <a:pt x="659" y="1077"/>
                    </a:lnTo>
                    <a:cubicBezTo>
                      <a:pt x="657" y="1058"/>
                      <a:pt x="656" y="1039"/>
                      <a:pt x="657" y="1019"/>
                    </a:cubicBezTo>
                    <a:lnTo>
                      <a:pt x="620" y="1019"/>
                    </a:lnTo>
                    <a:cubicBezTo>
                      <a:pt x="619" y="1038"/>
                      <a:pt x="620" y="1058"/>
                      <a:pt x="622" y="1077"/>
                    </a:cubicBezTo>
                    <a:close/>
                    <a:moveTo>
                      <a:pt x="1134" y="1230"/>
                    </a:moveTo>
                    <a:lnTo>
                      <a:pt x="1126" y="1222"/>
                    </a:lnTo>
                    <a:lnTo>
                      <a:pt x="1134" y="1230"/>
                    </a:lnTo>
                    <a:close/>
                    <a:moveTo>
                      <a:pt x="1124" y="1220"/>
                    </a:moveTo>
                    <a:lnTo>
                      <a:pt x="1124" y="1220"/>
                    </a:lnTo>
                    <a:cubicBezTo>
                      <a:pt x="1125" y="1217"/>
                      <a:pt x="1127" y="1215"/>
                      <a:pt x="1129" y="1212"/>
                    </a:cubicBezTo>
                    <a:lnTo>
                      <a:pt x="1129" y="1212"/>
                    </a:lnTo>
                    <a:cubicBezTo>
                      <a:pt x="1134" y="1208"/>
                      <a:pt x="1140" y="1206"/>
                      <a:pt x="1147" y="1206"/>
                    </a:cubicBezTo>
                    <a:cubicBezTo>
                      <a:pt x="1161" y="1206"/>
                      <a:pt x="1172" y="1217"/>
                      <a:pt x="1172" y="1231"/>
                    </a:cubicBezTo>
                    <a:cubicBezTo>
                      <a:pt x="1172" y="1245"/>
                      <a:pt x="1161" y="1256"/>
                      <a:pt x="1147" y="1256"/>
                    </a:cubicBezTo>
                    <a:lnTo>
                      <a:pt x="1147" y="1256"/>
                    </a:lnTo>
                    <a:cubicBezTo>
                      <a:pt x="1133" y="1256"/>
                      <a:pt x="1121" y="1245"/>
                      <a:pt x="1121" y="1231"/>
                    </a:cubicBezTo>
                    <a:cubicBezTo>
                      <a:pt x="1121" y="1227"/>
                      <a:pt x="1122" y="1223"/>
                      <a:pt x="1124" y="1220"/>
                    </a:cubicBezTo>
                    <a:close/>
                    <a:moveTo>
                      <a:pt x="1141" y="1225"/>
                    </a:moveTo>
                    <a:lnTo>
                      <a:pt x="1136" y="1228"/>
                    </a:lnTo>
                    <a:lnTo>
                      <a:pt x="1141" y="1225"/>
                    </a:lnTo>
                    <a:close/>
                    <a:moveTo>
                      <a:pt x="869" y="929"/>
                    </a:moveTo>
                    <a:lnTo>
                      <a:pt x="869" y="929"/>
                    </a:lnTo>
                    <a:cubicBezTo>
                      <a:pt x="869" y="929"/>
                      <a:pt x="870" y="929"/>
                      <a:pt x="870" y="929"/>
                    </a:cubicBezTo>
                    <a:cubicBezTo>
                      <a:pt x="884" y="929"/>
                      <a:pt x="895" y="940"/>
                      <a:pt x="895" y="954"/>
                    </a:cubicBezTo>
                    <a:cubicBezTo>
                      <a:pt x="895" y="968"/>
                      <a:pt x="884" y="979"/>
                      <a:pt x="870" y="979"/>
                    </a:cubicBezTo>
                    <a:lnTo>
                      <a:pt x="870" y="979"/>
                    </a:lnTo>
                    <a:cubicBezTo>
                      <a:pt x="859" y="979"/>
                      <a:pt x="850" y="973"/>
                      <a:pt x="846" y="964"/>
                    </a:cubicBezTo>
                    <a:lnTo>
                      <a:pt x="860" y="966"/>
                    </a:lnTo>
                    <a:cubicBezTo>
                      <a:pt x="860" y="964"/>
                      <a:pt x="861" y="961"/>
                      <a:pt x="861" y="959"/>
                    </a:cubicBezTo>
                    <a:moveTo>
                      <a:pt x="877" y="945"/>
                    </a:moveTo>
                    <a:lnTo>
                      <a:pt x="877" y="954"/>
                    </a:lnTo>
                    <a:lnTo>
                      <a:pt x="877" y="954"/>
                    </a:lnTo>
                    <a:lnTo>
                      <a:pt x="877" y="945"/>
                    </a:lnTo>
                    <a:close/>
                    <a:moveTo>
                      <a:pt x="546" y="497"/>
                    </a:moveTo>
                    <a:lnTo>
                      <a:pt x="706" y="664"/>
                    </a:lnTo>
                    <a:cubicBezTo>
                      <a:pt x="721" y="646"/>
                      <a:pt x="738" y="629"/>
                      <a:pt x="755" y="614"/>
                    </a:cubicBezTo>
                    <a:lnTo>
                      <a:pt x="590" y="453"/>
                    </a:lnTo>
                    <a:cubicBezTo>
                      <a:pt x="584" y="458"/>
                      <a:pt x="578" y="463"/>
                      <a:pt x="573" y="469"/>
                    </a:cubicBezTo>
                    <a:cubicBezTo>
                      <a:pt x="564" y="478"/>
                      <a:pt x="555" y="487"/>
                      <a:pt x="546" y="497"/>
                    </a:cubicBezTo>
                    <a:close/>
                    <a:moveTo>
                      <a:pt x="846" y="668"/>
                    </a:moveTo>
                    <a:lnTo>
                      <a:pt x="877" y="668"/>
                    </a:lnTo>
                    <a:lnTo>
                      <a:pt x="877" y="677"/>
                    </a:lnTo>
                    <a:lnTo>
                      <a:pt x="877" y="677"/>
                    </a:lnTo>
                    <a:lnTo>
                      <a:pt x="877" y="668"/>
                    </a:lnTo>
                    <a:lnTo>
                      <a:pt x="846" y="668"/>
                    </a:lnTo>
                    <a:close/>
                    <a:moveTo>
                      <a:pt x="1018" y="1651"/>
                    </a:moveTo>
                    <a:lnTo>
                      <a:pt x="1011" y="1645"/>
                    </a:lnTo>
                    <a:lnTo>
                      <a:pt x="1018" y="1651"/>
                    </a:lnTo>
                    <a:close/>
                    <a:moveTo>
                      <a:pt x="1023" y="1644"/>
                    </a:moveTo>
                    <a:lnTo>
                      <a:pt x="1019" y="1650"/>
                    </a:lnTo>
                    <a:lnTo>
                      <a:pt x="1023" y="1644"/>
                    </a:lnTo>
                    <a:close/>
                    <a:moveTo>
                      <a:pt x="996" y="1762"/>
                    </a:moveTo>
                    <a:lnTo>
                      <a:pt x="993" y="1759"/>
                    </a:lnTo>
                    <a:cubicBezTo>
                      <a:pt x="995" y="1756"/>
                      <a:pt x="996" y="1754"/>
                      <a:pt x="999" y="1752"/>
                    </a:cubicBezTo>
                    <a:lnTo>
                      <a:pt x="999" y="1752"/>
                    </a:lnTo>
                    <a:cubicBezTo>
                      <a:pt x="1003" y="1748"/>
                      <a:pt x="1009" y="1746"/>
                      <a:pt x="1015" y="1746"/>
                    </a:cubicBezTo>
                    <a:cubicBezTo>
                      <a:pt x="1029" y="1746"/>
                      <a:pt x="1040" y="1757"/>
                      <a:pt x="1040" y="1771"/>
                    </a:cubicBezTo>
                    <a:cubicBezTo>
                      <a:pt x="1040" y="1785"/>
                      <a:pt x="1029" y="1797"/>
                      <a:pt x="1015" y="1797"/>
                    </a:cubicBezTo>
                    <a:lnTo>
                      <a:pt x="1015" y="1797"/>
                    </a:lnTo>
                    <a:cubicBezTo>
                      <a:pt x="1001" y="1797"/>
                      <a:pt x="990" y="1785"/>
                      <a:pt x="990" y="1771"/>
                    </a:cubicBezTo>
                    <a:cubicBezTo>
                      <a:pt x="990" y="1767"/>
                      <a:pt x="991" y="1762"/>
                      <a:pt x="993" y="1759"/>
                    </a:cubicBezTo>
                    <a:lnTo>
                      <a:pt x="996" y="1762"/>
                    </a:lnTo>
                    <a:close/>
                    <a:moveTo>
                      <a:pt x="1009" y="1761"/>
                    </a:moveTo>
                    <a:lnTo>
                      <a:pt x="1013" y="1765"/>
                    </a:lnTo>
                    <a:lnTo>
                      <a:pt x="1013" y="1765"/>
                    </a:lnTo>
                    <a:lnTo>
                      <a:pt x="1013" y="1765"/>
                    </a:lnTo>
                    <a:lnTo>
                      <a:pt x="1009" y="1761"/>
                    </a:lnTo>
                    <a:close/>
                    <a:moveTo>
                      <a:pt x="1005" y="806"/>
                    </a:moveTo>
                    <a:lnTo>
                      <a:pt x="999" y="812"/>
                    </a:lnTo>
                    <a:lnTo>
                      <a:pt x="1005" y="806"/>
                    </a:lnTo>
                    <a:close/>
                    <a:moveTo>
                      <a:pt x="1014" y="531"/>
                    </a:moveTo>
                    <a:lnTo>
                      <a:pt x="1014" y="531"/>
                    </a:lnTo>
                    <a:lnTo>
                      <a:pt x="1014" y="531"/>
                    </a:lnTo>
                    <a:lnTo>
                      <a:pt x="1014" y="531"/>
                    </a:lnTo>
                    <a:close/>
                    <a:moveTo>
                      <a:pt x="352" y="1491"/>
                    </a:moveTo>
                    <a:cubicBezTo>
                      <a:pt x="352" y="1490"/>
                      <a:pt x="351" y="1488"/>
                      <a:pt x="351" y="1486"/>
                    </a:cubicBezTo>
                    <a:lnTo>
                      <a:pt x="352" y="1491"/>
                    </a:lnTo>
                    <a:close/>
                    <a:moveTo>
                      <a:pt x="1384" y="1544"/>
                    </a:moveTo>
                    <a:cubicBezTo>
                      <a:pt x="1434" y="1519"/>
                      <a:pt x="1482" y="1487"/>
                      <a:pt x="1524" y="1448"/>
                    </a:cubicBezTo>
                    <a:cubicBezTo>
                      <a:pt x="1564" y="1411"/>
                      <a:pt x="1599" y="1367"/>
                      <a:pt x="1628" y="1316"/>
                    </a:cubicBezTo>
                    <a:cubicBezTo>
                      <a:pt x="1686" y="1216"/>
                      <a:pt x="1709" y="1105"/>
                      <a:pt x="1702" y="997"/>
                    </a:cubicBezTo>
                    <a:cubicBezTo>
                      <a:pt x="1695" y="886"/>
                      <a:pt x="1656" y="779"/>
                      <a:pt x="1589" y="689"/>
                    </a:cubicBezTo>
                    <a:lnTo>
                      <a:pt x="1548" y="720"/>
                    </a:lnTo>
                    <a:cubicBezTo>
                      <a:pt x="1610" y="801"/>
                      <a:pt x="1645" y="899"/>
                      <a:pt x="1652" y="1001"/>
                    </a:cubicBezTo>
                    <a:cubicBezTo>
                      <a:pt x="1658" y="1099"/>
                      <a:pt x="1637" y="1200"/>
                      <a:pt x="1584" y="1291"/>
                    </a:cubicBezTo>
                    <a:cubicBezTo>
                      <a:pt x="1558" y="1337"/>
                      <a:pt x="1526" y="1377"/>
                      <a:pt x="1489" y="1411"/>
                    </a:cubicBezTo>
                    <a:cubicBezTo>
                      <a:pt x="1451" y="1447"/>
                      <a:pt x="1408" y="1476"/>
                      <a:pt x="1362" y="1498"/>
                    </a:cubicBezTo>
                    <a:lnTo>
                      <a:pt x="1384" y="15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grpSp>
    </p:spTree>
    <p:extLst>
      <p:ext uri="{BB962C8B-B14F-4D97-AF65-F5344CB8AC3E}">
        <p14:creationId xmlns:p14="http://schemas.microsoft.com/office/powerpoint/2010/main" val="2429924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Executive Summary </a:t>
            </a:r>
          </a:p>
        </p:txBody>
      </p:sp>
      <p:sp>
        <p:nvSpPr>
          <p:cNvPr id="29" name="Rectangle 28">
            <a:extLst>
              <a:ext uri="{FF2B5EF4-FFF2-40B4-BE49-F238E27FC236}">
                <a16:creationId xmlns:a16="http://schemas.microsoft.com/office/drawing/2014/main" id="{804F16C2-A4ED-E0BB-4A39-33540234359E}"/>
              </a:ext>
            </a:extLst>
          </p:cNvPr>
          <p:cNvSpPr/>
          <p:nvPr/>
        </p:nvSpPr>
        <p:spPr>
          <a:xfrm>
            <a:off x="675262" y="935804"/>
            <a:ext cx="7508970" cy="5378598"/>
          </a:xfrm>
          <a:prstGeom prst="rect">
            <a:avLst/>
          </a:prstGeom>
          <a:noFill/>
          <a:ln w="6350">
            <a:solidFill>
              <a:srgbClr val="36BCE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Footer Placeholder 11">
            <a:extLst>
              <a:ext uri="{FF2B5EF4-FFF2-40B4-BE49-F238E27FC236}">
                <a16:creationId xmlns:a16="http://schemas.microsoft.com/office/drawing/2014/main" id="{AF85EC98-26A6-DE7C-8F5B-306F5E487F5D}"/>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
        <p:nvSpPr>
          <p:cNvPr id="4" name="TextBox 3">
            <a:extLst>
              <a:ext uri="{FF2B5EF4-FFF2-40B4-BE49-F238E27FC236}">
                <a16:creationId xmlns:a16="http://schemas.microsoft.com/office/drawing/2014/main" id="{CDA4DD15-636F-611D-7B32-B3289727BCB7}"/>
              </a:ext>
            </a:extLst>
          </p:cNvPr>
          <p:cNvSpPr txBox="1"/>
          <p:nvPr/>
        </p:nvSpPr>
        <p:spPr>
          <a:xfrm>
            <a:off x="603254" y="1143209"/>
            <a:ext cx="7508970" cy="5109091"/>
          </a:xfrm>
          <a:prstGeom prst="rect">
            <a:avLst/>
          </a:prstGeom>
          <a:noFill/>
        </p:spPr>
        <p:txBody>
          <a:bodyPr wrap="square">
            <a:spAutoFit/>
          </a:bodyPr>
          <a:lstStyle/>
          <a:p>
            <a:pPr lvl="1" algn="ctr"/>
            <a:r>
              <a:rPr lang="en-GB" sz="2800" b="1" dirty="0">
                <a:solidFill>
                  <a:srgbClr val="000000"/>
                </a:solidFill>
                <a:ea typeface="Calibri" panose="020F0502020204030204" pitchFamily="34" charset="0"/>
              </a:rPr>
              <a:t>The Steel Market in Europe</a:t>
            </a:r>
          </a:p>
          <a:p>
            <a:pPr lvl="1"/>
            <a:endParaRPr lang="en-GB" sz="1600" dirty="0">
              <a:solidFill>
                <a:srgbClr val="000000"/>
              </a:solidFill>
              <a:ea typeface="Calibri" panose="020F0502020204030204" pitchFamily="34" charset="0"/>
            </a:endParaRPr>
          </a:p>
          <a:p>
            <a:pPr marL="914400" lvl="1" indent="-457200">
              <a:buFont typeface="Arial" panose="020B0604020202020204" pitchFamily="34" charset="0"/>
              <a:buChar char="•"/>
            </a:pPr>
            <a:r>
              <a:rPr lang="en-GB" sz="1600" dirty="0">
                <a:solidFill>
                  <a:srgbClr val="000000"/>
                </a:solidFill>
                <a:ea typeface="Calibri" panose="020F0502020204030204" pitchFamily="34" charset="0"/>
              </a:rPr>
              <a:t>The Steel Markets across Europe has seen the worst times since the Global Financial Crises in 2008*</a:t>
            </a:r>
          </a:p>
          <a:p>
            <a:pPr lvl="1"/>
            <a:endParaRPr lang="en-GB" sz="1600" dirty="0">
              <a:solidFill>
                <a:srgbClr val="000000"/>
              </a:solidFill>
              <a:ea typeface="Calibri" panose="020F0502020204030204" pitchFamily="34" charset="0"/>
            </a:endParaRPr>
          </a:p>
          <a:p>
            <a:pPr marL="914400" lvl="1" indent="-457200">
              <a:buFont typeface="Arial" panose="020B0604020202020204" pitchFamily="34" charset="0"/>
              <a:buChar char="•"/>
            </a:pPr>
            <a:r>
              <a:rPr lang="en-GB" sz="1600" dirty="0">
                <a:solidFill>
                  <a:srgbClr val="000000"/>
                </a:solidFill>
                <a:ea typeface="Calibri" panose="020F0502020204030204" pitchFamily="34" charset="0"/>
              </a:rPr>
              <a:t>This reduced, both demand and the prices for our products, forcing us to reduce production volumes and even to stop the plant to reduce losses</a:t>
            </a:r>
          </a:p>
          <a:p>
            <a:pPr lvl="1"/>
            <a:endParaRPr lang="en-GB" sz="1600" dirty="0">
              <a:solidFill>
                <a:srgbClr val="000000"/>
              </a:solidFill>
              <a:ea typeface="Calibri" panose="020F0502020204030204" pitchFamily="34" charset="0"/>
            </a:endParaRPr>
          </a:p>
          <a:p>
            <a:pPr marL="914400" lvl="1" indent="-457200">
              <a:buFont typeface="Arial" panose="020B0604020202020204" pitchFamily="34" charset="0"/>
              <a:buChar char="•"/>
            </a:pPr>
            <a:r>
              <a:rPr lang="en-GB" sz="1600" dirty="0">
                <a:solidFill>
                  <a:srgbClr val="000000"/>
                </a:solidFill>
                <a:ea typeface="Calibri" panose="020F0502020204030204" pitchFamily="34" charset="0"/>
              </a:rPr>
              <a:t>Energy prices has increased due to the War, to levels rarely seen before</a:t>
            </a:r>
            <a:r>
              <a:rPr lang="en-GB" sz="1600" baseline="30000" dirty="0">
                <a:solidFill>
                  <a:srgbClr val="000000"/>
                </a:solidFill>
                <a:ea typeface="Calibri" panose="020F0502020204030204" pitchFamily="34" charset="0"/>
              </a:rPr>
              <a:t>#</a:t>
            </a:r>
          </a:p>
          <a:p>
            <a:pPr lvl="1"/>
            <a:endParaRPr lang="en-GB" sz="1600" dirty="0">
              <a:solidFill>
                <a:srgbClr val="000000"/>
              </a:solidFill>
              <a:ea typeface="Calibri" panose="020F0502020204030204" pitchFamily="34" charset="0"/>
            </a:endParaRPr>
          </a:p>
          <a:p>
            <a:pPr marL="914400" lvl="1" indent="-457200">
              <a:buFont typeface="Arial" panose="020B0604020202020204" pitchFamily="34" charset="0"/>
              <a:buChar char="•"/>
            </a:pPr>
            <a:r>
              <a:rPr lang="en-GB" sz="1600" dirty="0">
                <a:solidFill>
                  <a:srgbClr val="000000"/>
                </a:solidFill>
                <a:ea typeface="Calibri" panose="020F0502020204030204" pitchFamily="34" charset="0"/>
              </a:rPr>
              <a:t>The agreement with Tameh, as contracted in 2019 when the plant was running at full capacity, became even more uncompetitive due to the  reduced production rates. </a:t>
            </a:r>
          </a:p>
          <a:p>
            <a:pPr lvl="1"/>
            <a:r>
              <a:rPr lang="en-GB" sz="1600" dirty="0">
                <a:solidFill>
                  <a:srgbClr val="000000"/>
                </a:solidFill>
                <a:ea typeface="Calibri" panose="020F0502020204030204" pitchFamily="34" charset="0"/>
              </a:rPr>
              <a:t>    </a:t>
            </a:r>
          </a:p>
          <a:p>
            <a:pPr lvl="1" algn="ctr"/>
            <a:endParaRPr lang="en-GB" dirty="0">
              <a:solidFill>
                <a:srgbClr val="000000"/>
              </a:solidFill>
              <a:ea typeface="Calibri" panose="020F0502020204030204" pitchFamily="34" charset="0"/>
            </a:endParaRPr>
          </a:p>
          <a:p>
            <a:pPr lvl="1" algn="ctr"/>
            <a:endParaRPr lang="en-GB" sz="1800" dirty="0">
              <a:solidFill>
                <a:srgbClr val="000000"/>
              </a:solidFill>
              <a:ea typeface="Calibri" panose="020F0502020204030204" pitchFamily="34" charset="0"/>
            </a:endParaRPr>
          </a:p>
          <a:p>
            <a:pPr lvl="1" algn="ctr"/>
            <a:endParaRPr lang="en-GB" sz="1400" dirty="0">
              <a:solidFill>
                <a:srgbClr val="000000"/>
              </a:solidFill>
              <a:ea typeface="Calibri" panose="020F0502020204030204" pitchFamily="34" charset="0"/>
            </a:endParaRPr>
          </a:p>
          <a:p>
            <a:pPr lvl="1"/>
            <a:r>
              <a:rPr lang="en-GB" sz="1200" dirty="0">
                <a:solidFill>
                  <a:srgbClr val="000000"/>
                </a:solidFill>
                <a:ea typeface="Calibri" panose="020F0502020204030204" pitchFamily="34" charset="0"/>
              </a:rPr>
              <a:t>* - 2023 has seen a reduction of more than 26mt of steel production from Europe compared to 2021</a:t>
            </a:r>
          </a:p>
          <a:p>
            <a:pPr lvl="1"/>
            <a:r>
              <a:rPr lang="en-GB" sz="1200" dirty="0">
                <a:solidFill>
                  <a:srgbClr val="000000"/>
                </a:solidFill>
                <a:ea typeface="Calibri" panose="020F0502020204030204" pitchFamily="34" charset="0"/>
              </a:rPr>
              <a:t># - Electricity and Natural gas escalated by 200% between just between Jan 2022 and Apr 2023 </a:t>
            </a:r>
          </a:p>
          <a:p>
            <a:pPr lvl="1" algn="ctr"/>
            <a:endParaRPr lang="en-GB" sz="1800" dirty="0">
              <a:solidFill>
                <a:srgbClr val="000000"/>
              </a:solidFill>
              <a:ea typeface="Calibri" panose="020F0502020204030204" pitchFamily="34" charset="0"/>
            </a:endParaRPr>
          </a:p>
        </p:txBody>
      </p:sp>
      <p:pic>
        <p:nvPicPr>
          <p:cNvPr id="3" name="Picture 2" descr="A screenshot of a computer&#10;&#10;Description automatically generated">
            <a:extLst>
              <a:ext uri="{FF2B5EF4-FFF2-40B4-BE49-F238E27FC236}">
                <a16:creationId xmlns:a16="http://schemas.microsoft.com/office/drawing/2014/main" id="{9EB4BF7F-0E70-263B-FE23-FEC84A305250}"/>
              </a:ext>
            </a:extLst>
          </p:cNvPr>
          <p:cNvPicPr>
            <a:picLocks noChangeAspect="1"/>
          </p:cNvPicPr>
          <p:nvPr/>
        </p:nvPicPr>
        <p:blipFill rotWithShape="1">
          <a:blip r:embed="rId3">
            <a:extLst>
              <a:ext uri="{28A0092B-C50C-407E-A947-70E740481C1C}">
                <a14:useLocalDpi xmlns:a14="http://schemas.microsoft.com/office/drawing/2010/main" val="0"/>
              </a:ext>
            </a:extLst>
          </a:blip>
          <a:srcRect l="33826" t="30326" r="34160" b="10707"/>
          <a:stretch/>
        </p:blipFill>
        <p:spPr bwMode="auto">
          <a:xfrm>
            <a:off x="8223018" y="908720"/>
            <a:ext cx="3926309" cy="4044504"/>
          </a:xfrm>
          <a:prstGeom prst="rect">
            <a:avLst/>
          </a:prstGeom>
          <a:noFill/>
          <a:ln>
            <a:noFill/>
          </a:ln>
          <a:extLst>
            <a:ext uri="{53640926-AAD7-44D8-BBD7-CCE9431645EC}">
              <a14:shadowObscured xmlns:a14="http://schemas.microsoft.com/office/drawing/2010/main"/>
            </a:ext>
          </a:extLst>
        </p:spPr>
      </p:pic>
      <p:grpSp>
        <p:nvGrpSpPr>
          <p:cNvPr id="6" name="Group 5">
            <a:extLst>
              <a:ext uri="{FF2B5EF4-FFF2-40B4-BE49-F238E27FC236}">
                <a16:creationId xmlns:a16="http://schemas.microsoft.com/office/drawing/2014/main" id="{BA2718A3-B8A5-85DF-F32D-E6656245BC71}"/>
              </a:ext>
            </a:extLst>
          </p:cNvPr>
          <p:cNvGrpSpPr/>
          <p:nvPr/>
        </p:nvGrpSpPr>
        <p:grpSpPr>
          <a:xfrm>
            <a:off x="8184232" y="4424042"/>
            <a:ext cx="3965095" cy="1887196"/>
            <a:chOff x="8180928" y="735660"/>
            <a:chExt cx="4011072" cy="5548320"/>
          </a:xfrm>
        </p:grpSpPr>
        <p:pic>
          <p:nvPicPr>
            <p:cNvPr id="14" name="Picture 13" descr="A group of people sitting around a table&#10;&#10;Description automatically generated">
              <a:extLst>
                <a:ext uri="{FF2B5EF4-FFF2-40B4-BE49-F238E27FC236}">
                  <a16:creationId xmlns:a16="http://schemas.microsoft.com/office/drawing/2014/main" id="{A5D454E9-6E50-FF0F-99CF-7B67589CE6A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80928" y="739683"/>
              <a:ext cx="4011072" cy="5539977"/>
            </a:xfrm>
            <a:prstGeom prst="rect">
              <a:avLst/>
            </a:prstGeom>
          </p:spPr>
        </p:pic>
        <p:sp>
          <p:nvSpPr>
            <p:cNvPr id="15" name="직사각형 11">
              <a:extLst>
                <a:ext uri="{FF2B5EF4-FFF2-40B4-BE49-F238E27FC236}">
                  <a16:creationId xmlns:a16="http://schemas.microsoft.com/office/drawing/2014/main" id="{2B3A0751-FA4E-B3AE-4052-120DD3F4619E}"/>
                </a:ext>
              </a:extLst>
            </p:cNvPr>
            <p:cNvSpPr/>
            <p:nvPr/>
          </p:nvSpPr>
          <p:spPr>
            <a:xfrm>
              <a:off x="8183159" y="735660"/>
              <a:ext cx="4005537" cy="5544000"/>
            </a:xfrm>
            <a:prstGeom prst="rect">
              <a:avLst/>
            </a:prstGeom>
            <a:solidFill>
              <a:srgbClr val="36BCEE">
                <a:alpha val="62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16" name="직사각형 12">
              <a:extLst>
                <a:ext uri="{FF2B5EF4-FFF2-40B4-BE49-F238E27FC236}">
                  <a16:creationId xmlns:a16="http://schemas.microsoft.com/office/drawing/2014/main" id="{4C205EDC-3507-9424-AA23-EB0A4A9A4FB3}"/>
                </a:ext>
              </a:extLst>
            </p:cNvPr>
            <p:cNvSpPr/>
            <p:nvPr/>
          </p:nvSpPr>
          <p:spPr>
            <a:xfrm>
              <a:off x="12037861" y="739980"/>
              <a:ext cx="150835" cy="5544000"/>
            </a:xfrm>
            <a:prstGeom prst="rect">
              <a:avLst/>
            </a:prstGeom>
            <a:solidFill>
              <a:srgbClr val="36BC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grpSp>
    </p:spTree>
    <p:extLst>
      <p:ext uri="{BB962C8B-B14F-4D97-AF65-F5344CB8AC3E}">
        <p14:creationId xmlns:p14="http://schemas.microsoft.com/office/powerpoint/2010/main" val="3638686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Executive Summary </a:t>
            </a:r>
          </a:p>
        </p:txBody>
      </p:sp>
      <p:sp>
        <p:nvSpPr>
          <p:cNvPr id="27" name="TextBox 26">
            <a:extLst>
              <a:ext uri="{FF2B5EF4-FFF2-40B4-BE49-F238E27FC236}">
                <a16:creationId xmlns:a16="http://schemas.microsoft.com/office/drawing/2014/main" id="{9FAA1913-8B37-5F0A-DCF3-389788873397}"/>
              </a:ext>
            </a:extLst>
          </p:cNvPr>
          <p:cNvSpPr txBox="1"/>
          <p:nvPr/>
        </p:nvSpPr>
        <p:spPr>
          <a:xfrm>
            <a:off x="720982" y="1002615"/>
            <a:ext cx="7229960" cy="4339650"/>
          </a:xfrm>
          <a:prstGeom prst="rect">
            <a:avLst/>
          </a:prstGeom>
          <a:noFill/>
        </p:spPr>
        <p:txBody>
          <a:bodyPr wrap="square">
            <a:spAutoFit/>
          </a:bodyPr>
          <a:lstStyle/>
          <a:p>
            <a:pPr algn="ctr"/>
            <a:r>
              <a:rPr lang="en-GB" sz="2800" b="1" kern="100" dirty="0">
                <a:solidFill>
                  <a:srgbClr val="000000"/>
                </a:solidFill>
                <a:effectLst/>
                <a:ea typeface="Calibri" panose="020F0502020204030204" pitchFamily="34" charset="0"/>
                <a:cs typeface="Times New Roman" panose="02020603050405020304" pitchFamily="18" charset="0"/>
              </a:rPr>
              <a:t>Our Ask from you </a:t>
            </a:r>
          </a:p>
          <a:p>
            <a:pPr marL="285750" indent="-285750" algn="just">
              <a:buFont typeface="Arial" panose="020B0604020202020204" pitchFamily="34" charset="0"/>
              <a:buChar char="•"/>
            </a:pPr>
            <a:endParaRPr lang="en-GB" sz="1400" kern="100" dirty="0">
              <a:solidFill>
                <a:srgbClr val="000000"/>
              </a:solidFill>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endParaRPr lang="en-GB" sz="1600" kern="100" dirty="0">
              <a:solidFill>
                <a:srgbClr val="000000"/>
              </a:solidFill>
              <a:effectLst/>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sz="1600" dirty="0">
                <a:solidFill>
                  <a:srgbClr val="000000"/>
                </a:solidFill>
                <a:effectLst/>
                <a:ea typeface="Calibri" panose="020F0502020204030204" pitchFamily="34" charset="0"/>
              </a:rPr>
              <a:t>We are asking our Creditors to support the following</a:t>
            </a:r>
            <a:endParaRPr lang="en-AE" sz="1600" dirty="0">
              <a:solidFill>
                <a:srgbClr val="000000"/>
              </a:solidFill>
              <a:effectLst/>
              <a:ea typeface="Calibri" panose="020F0502020204030204" pitchFamily="34" charset="0"/>
            </a:endParaRPr>
          </a:p>
          <a:p>
            <a:pPr algn="just"/>
            <a:r>
              <a:rPr lang="en-GB" sz="1600" dirty="0">
                <a:solidFill>
                  <a:srgbClr val="000000"/>
                </a:solidFill>
                <a:effectLst/>
                <a:ea typeface="Calibri" panose="020F0502020204030204" pitchFamily="34" charset="0"/>
              </a:rPr>
              <a:t> </a:t>
            </a:r>
            <a:endParaRPr lang="en-AE" sz="1600" dirty="0">
              <a:solidFill>
                <a:srgbClr val="000000"/>
              </a:solidFill>
              <a:effectLst/>
              <a:ea typeface="Calibri" panose="020F0502020204030204" pitchFamily="34" charset="0"/>
            </a:endParaRPr>
          </a:p>
          <a:p>
            <a:pPr marL="800100" lvl="1" indent="-342900" algn="just">
              <a:buFont typeface="Arial" panose="020B0604020202020204" pitchFamily="34" charset="0"/>
              <a:buChar char="•"/>
            </a:pPr>
            <a:r>
              <a:rPr lang="en-GB" sz="1600" dirty="0">
                <a:solidFill>
                  <a:srgbClr val="000000"/>
                </a:solidFill>
                <a:effectLst/>
                <a:ea typeface="Calibri" panose="020F0502020204030204" pitchFamily="34" charset="0"/>
              </a:rPr>
              <a:t>The exclusion of Tameh </a:t>
            </a:r>
            <a:r>
              <a:rPr lang="en-GB" sz="1600" dirty="0">
                <a:solidFill>
                  <a:srgbClr val="000000"/>
                </a:solidFill>
                <a:ea typeface="Calibri" panose="020F0502020204030204" pitchFamily="34" charset="0"/>
              </a:rPr>
              <a:t>from the Plan. – Those that have not voted yet</a:t>
            </a:r>
          </a:p>
          <a:p>
            <a:pPr marL="742950" lvl="1" indent="-285750" algn="just">
              <a:buFont typeface="Arial" panose="020B0604020202020204" pitchFamily="34" charset="0"/>
              <a:buChar char="•"/>
            </a:pPr>
            <a:endParaRPr lang="en-GB" sz="1600" dirty="0">
              <a:solidFill>
                <a:srgbClr val="000000"/>
              </a:solidFill>
              <a:ea typeface="Calibri" panose="020F0502020204030204" pitchFamily="34" charset="0"/>
            </a:endParaRPr>
          </a:p>
          <a:p>
            <a:pPr marL="742950" lvl="1" indent="-285750" algn="just">
              <a:buFont typeface="Arial" panose="020B0604020202020204" pitchFamily="34" charset="0"/>
              <a:buChar char="•"/>
            </a:pPr>
            <a:r>
              <a:rPr lang="en-GB" sz="1600" dirty="0">
                <a:solidFill>
                  <a:srgbClr val="000000"/>
                </a:solidFill>
                <a:effectLst/>
                <a:ea typeface="Calibri" panose="020F0502020204030204" pitchFamily="34" charset="0"/>
              </a:rPr>
              <a:t>Agree to the proposed Restructuring Plan, giving LO and its stakeholders another change – the only change. </a:t>
            </a:r>
          </a:p>
          <a:p>
            <a:pPr lvl="1" algn="just"/>
            <a:endParaRPr lang="en-GB" sz="1600" dirty="0">
              <a:solidFill>
                <a:srgbClr val="000000"/>
              </a:solidFill>
              <a:ea typeface="Calibri" panose="020F0502020204030204" pitchFamily="34" charset="0"/>
            </a:endParaRPr>
          </a:p>
          <a:p>
            <a:pPr marL="285750" indent="-285750">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Our Shareholder has shown his clear support for the plan in the last few weeks. </a:t>
            </a:r>
          </a:p>
          <a:p>
            <a:pPr marL="285750" indent="-285750">
              <a:buFont typeface="Arial" panose="020B0604020202020204" pitchFamily="34" charset="0"/>
              <a:buChar char="•"/>
            </a:pPr>
            <a:endParaRPr lang="en-GB" sz="1600" kern="100" dirty="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600" kern="100" dirty="0">
                <a:ea typeface="Calibri" panose="020F0502020204030204" pitchFamily="34" charset="0"/>
                <a:cs typeface="Times New Roman" panose="02020603050405020304" pitchFamily="18" charset="0"/>
              </a:rPr>
              <a:t>The Board of Directions, here today,  firmly believe it is in the best interests of LIBERTY Ostrava, our creditors, and our stakeholders that you support this plan. </a:t>
            </a:r>
          </a:p>
          <a:p>
            <a:endParaRPr lang="en-GB" sz="1400" kern="100" dirty="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endParaRPr lang="en-GB" sz="1400" kern="100" dirty="0">
              <a:ea typeface="Calibri" panose="020F0502020204030204" pitchFamily="34" charset="0"/>
              <a:cs typeface="Times New Roman" panose="02020603050405020304" pitchFamily="18" charset="0"/>
            </a:endParaRPr>
          </a:p>
          <a:p>
            <a:endParaRPr lang="en-GB" sz="1400" kern="100" dirty="0">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804F16C2-A4ED-E0BB-4A39-33540234359E}"/>
              </a:ext>
            </a:extLst>
          </p:cNvPr>
          <p:cNvSpPr/>
          <p:nvPr/>
        </p:nvSpPr>
        <p:spPr>
          <a:xfrm>
            <a:off x="675262" y="935804"/>
            <a:ext cx="7508970" cy="5378598"/>
          </a:xfrm>
          <a:prstGeom prst="rect">
            <a:avLst/>
          </a:prstGeom>
          <a:noFill/>
          <a:ln w="6350">
            <a:solidFill>
              <a:srgbClr val="36BCE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Footer Placeholder 11">
            <a:extLst>
              <a:ext uri="{FF2B5EF4-FFF2-40B4-BE49-F238E27FC236}">
                <a16:creationId xmlns:a16="http://schemas.microsoft.com/office/drawing/2014/main" id="{AF85EC98-26A6-DE7C-8F5B-306F5E487F5D}"/>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grpSp>
        <p:nvGrpSpPr>
          <p:cNvPr id="7" name="Group 6">
            <a:extLst>
              <a:ext uri="{FF2B5EF4-FFF2-40B4-BE49-F238E27FC236}">
                <a16:creationId xmlns:a16="http://schemas.microsoft.com/office/drawing/2014/main" id="{4AD9C6DF-C289-4692-7909-136CA3DFADD4}"/>
              </a:ext>
            </a:extLst>
          </p:cNvPr>
          <p:cNvGrpSpPr/>
          <p:nvPr/>
        </p:nvGrpSpPr>
        <p:grpSpPr>
          <a:xfrm>
            <a:off x="8184232" y="932976"/>
            <a:ext cx="4011072" cy="5387082"/>
            <a:chOff x="8184232" y="932976"/>
            <a:chExt cx="4011072" cy="5387082"/>
          </a:xfrm>
        </p:grpSpPr>
        <p:pic>
          <p:nvPicPr>
            <p:cNvPr id="8" name="Picture 7" descr="A group of people sitting around a table&#10;&#10;Description automatically generated">
              <a:extLst>
                <a:ext uri="{FF2B5EF4-FFF2-40B4-BE49-F238E27FC236}">
                  <a16:creationId xmlns:a16="http://schemas.microsoft.com/office/drawing/2014/main" id="{2AA03CD2-024A-830C-5B82-8593F0336F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4232" y="932976"/>
              <a:ext cx="4011072" cy="5384254"/>
            </a:xfrm>
            <a:prstGeom prst="rect">
              <a:avLst/>
            </a:prstGeom>
          </p:spPr>
        </p:pic>
        <p:sp>
          <p:nvSpPr>
            <p:cNvPr id="9" name="직사각형 11">
              <a:extLst>
                <a:ext uri="{FF2B5EF4-FFF2-40B4-BE49-F238E27FC236}">
                  <a16:creationId xmlns:a16="http://schemas.microsoft.com/office/drawing/2014/main" id="{711C8E9D-2C38-54AB-89E2-6D344E7FAB60}"/>
                </a:ext>
              </a:extLst>
            </p:cNvPr>
            <p:cNvSpPr/>
            <p:nvPr/>
          </p:nvSpPr>
          <p:spPr>
            <a:xfrm>
              <a:off x="8186463" y="935804"/>
              <a:ext cx="4005537" cy="5384254"/>
            </a:xfrm>
            <a:prstGeom prst="rect">
              <a:avLst/>
            </a:prstGeom>
            <a:solidFill>
              <a:srgbClr val="36BCEE">
                <a:alpha val="62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10" name="직사각형 12">
              <a:extLst>
                <a:ext uri="{FF2B5EF4-FFF2-40B4-BE49-F238E27FC236}">
                  <a16:creationId xmlns:a16="http://schemas.microsoft.com/office/drawing/2014/main" id="{78066A20-A60A-A576-1152-F7DC74C06241}"/>
                </a:ext>
              </a:extLst>
            </p:cNvPr>
            <p:cNvSpPr/>
            <p:nvPr/>
          </p:nvSpPr>
          <p:spPr>
            <a:xfrm>
              <a:off x="12041165" y="933273"/>
              <a:ext cx="150835" cy="5383659"/>
            </a:xfrm>
            <a:prstGeom prst="rect">
              <a:avLst/>
            </a:prstGeom>
            <a:solidFill>
              <a:srgbClr val="36BC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grpSp>
          <p:nvGrpSpPr>
            <p:cNvPr id="11" name="Group 10">
              <a:extLst>
                <a:ext uri="{FF2B5EF4-FFF2-40B4-BE49-F238E27FC236}">
                  <a16:creationId xmlns:a16="http://schemas.microsoft.com/office/drawing/2014/main" id="{BE0210E5-EC4D-0167-8E9E-48CA6C57AB3F}"/>
                </a:ext>
              </a:extLst>
            </p:cNvPr>
            <p:cNvGrpSpPr/>
            <p:nvPr/>
          </p:nvGrpSpPr>
          <p:grpSpPr>
            <a:xfrm>
              <a:off x="8688288" y="2890391"/>
              <a:ext cx="3119587" cy="1330697"/>
              <a:chOff x="8256240" y="2890391"/>
              <a:chExt cx="3119587" cy="1330697"/>
            </a:xfrm>
          </p:grpSpPr>
          <p:sp>
            <p:nvSpPr>
              <p:cNvPr id="12" name="TextBox 11">
                <a:extLst>
                  <a:ext uri="{FF2B5EF4-FFF2-40B4-BE49-F238E27FC236}">
                    <a16:creationId xmlns:a16="http://schemas.microsoft.com/office/drawing/2014/main" id="{8CE50A7B-28E5-76BB-DEF2-2B2606CCC750}"/>
                  </a:ext>
                </a:extLst>
              </p:cNvPr>
              <p:cNvSpPr txBox="1"/>
              <p:nvPr/>
            </p:nvSpPr>
            <p:spPr>
              <a:xfrm>
                <a:off x="8256240" y="3636313"/>
                <a:ext cx="3119587" cy="584775"/>
              </a:xfrm>
              <a:prstGeom prst="rect">
                <a:avLst/>
              </a:prstGeom>
              <a:noFill/>
            </p:spPr>
            <p:txBody>
              <a:bodyPr wrap="square">
                <a:spAutoFit/>
              </a:bodyPr>
              <a:lstStyle/>
              <a:p>
                <a:pPr algn="ctr"/>
                <a:r>
                  <a:rPr lang="en-GB" sz="3200" b="1" dirty="0">
                    <a:solidFill>
                      <a:schemeClr val="bg1"/>
                    </a:solidFill>
                    <a:effectLst>
                      <a:outerShdw blurRad="38100" dist="38100" dir="2700000" algn="tl">
                        <a:srgbClr val="000000">
                          <a:alpha val="43137"/>
                        </a:srgbClr>
                      </a:outerShdw>
                    </a:effectLst>
                    <a:latin typeface="Century Gothic" panose="020B0502020202020204" pitchFamily="34" charset="0"/>
                  </a:rPr>
                  <a:t>The Plan</a:t>
                </a:r>
              </a:p>
            </p:txBody>
          </p:sp>
          <p:sp>
            <p:nvSpPr>
              <p:cNvPr id="13" name="Freeform 20">
                <a:extLst>
                  <a:ext uri="{FF2B5EF4-FFF2-40B4-BE49-F238E27FC236}">
                    <a16:creationId xmlns:a16="http://schemas.microsoft.com/office/drawing/2014/main" id="{8BB6AA97-9782-0567-81B9-894F0BD99B56}"/>
                  </a:ext>
                </a:extLst>
              </p:cNvPr>
              <p:cNvSpPr>
                <a:spLocks noEditPoints="1"/>
              </p:cNvSpPr>
              <p:nvPr/>
            </p:nvSpPr>
            <p:spPr bwMode="auto">
              <a:xfrm>
                <a:off x="9593204" y="2890391"/>
                <a:ext cx="589986" cy="718289"/>
              </a:xfrm>
              <a:custGeom>
                <a:avLst/>
                <a:gdLst>
                  <a:gd name="T0" fmla="*/ 524 w 2544"/>
                  <a:gd name="T1" fmla="*/ 1894 h 3098"/>
                  <a:gd name="T2" fmla="*/ 1846 w 2544"/>
                  <a:gd name="T3" fmla="*/ 423 h 3098"/>
                  <a:gd name="T4" fmla="*/ 1745 w 2544"/>
                  <a:gd name="T5" fmla="*/ 357 h 3098"/>
                  <a:gd name="T6" fmla="*/ 1405 w 2544"/>
                  <a:gd name="T7" fmla="*/ 228 h 3098"/>
                  <a:gd name="T8" fmla="*/ 585 w 2544"/>
                  <a:gd name="T9" fmla="*/ 261 h 3098"/>
                  <a:gd name="T10" fmla="*/ 421 w 2544"/>
                  <a:gd name="T11" fmla="*/ 501 h 3098"/>
                  <a:gd name="T12" fmla="*/ 380 w 2544"/>
                  <a:gd name="T13" fmla="*/ 599 h 3098"/>
                  <a:gd name="T14" fmla="*/ 203 w 2544"/>
                  <a:gd name="T15" fmla="*/ 948 h 3098"/>
                  <a:gd name="T16" fmla="*/ 308 w 2544"/>
                  <a:gd name="T17" fmla="*/ 1237 h 3098"/>
                  <a:gd name="T18" fmla="*/ 334 w 2544"/>
                  <a:gd name="T19" fmla="*/ 1415 h 3098"/>
                  <a:gd name="T20" fmla="*/ 389 w 2544"/>
                  <a:gd name="T21" fmla="*/ 1611 h 3098"/>
                  <a:gd name="T22" fmla="*/ 229 w 2544"/>
                  <a:gd name="T23" fmla="*/ 1707 h 3098"/>
                  <a:gd name="T24" fmla="*/ 272 w 2544"/>
                  <a:gd name="T25" fmla="*/ 1778 h 3098"/>
                  <a:gd name="T26" fmla="*/ 737 w 2544"/>
                  <a:gd name="T27" fmla="*/ 1781 h 3098"/>
                  <a:gd name="T28" fmla="*/ 93 w 2544"/>
                  <a:gd name="T29" fmla="*/ 1349 h 3098"/>
                  <a:gd name="T30" fmla="*/ 1147 w 2544"/>
                  <a:gd name="T31" fmla="*/ 979 h 3098"/>
                  <a:gd name="T32" fmla="*/ 835 w 2544"/>
                  <a:gd name="T33" fmla="*/ 1349 h 3098"/>
                  <a:gd name="T34" fmla="*/ 481 w 2544"/>
                  <a:gd name="T35" fmla="*/ 1485 h 3098"/>
                  <a:gd name="T36" fmla="*/ 571 w 2544"/>
                  <a:gd name="T37" fmla="*/ 1270 h 3098"/>
                  <a:gd name="T38" fmla="*/ 1307 w 2544"/>
                  <a:gd name="T39" fmla="*/ 1476 h 3098"/>
                  <a:gd name="T40" fmla="*/ 1011 w 2544"/>
                  <a:gd name="T41" fmla="*/ 1635 h 3098"/>
                  <a:gd name="T42" fmla="*/ 695 w 2544"/>
                  <a:gd name="T43" fmla="*/ 1652 h 3098"/>
                  <a:gd name="T44" fmla="*/ 786 w 2544"/>
                  <a:gd name="T45" fmla="*/ 1749 h 3098"/>
                  <a:gd name="T46" fmla="*/ 848 w 2544"/>
                  <a:gd name="T47" fmla="*/ 1758 h 3098"/>
                  <a:gd name="T48" fmla="*/ 1625 w 2544"/>
                  <a:gd name="T49" fmla="*/ 640 h 3098"/>
                  <a:gd name="T50" fmla="*/ 1295 w 2544"/>
                  <a:gd name="T51" fmla="*/ 663 h 3098"/>
                  <a:gd name="T52" fmla="*/ 990 w 2544"/>
                  <a:gd name="T53" fmla="*/ 803 h 3098"/>
                  <a:gd name="T54" fmla="*/ 1352 w 2544"/>
                  <a:gd name="T55" fmla="*/ 1240 h 3098"/>
                  <a:gd name="T56" fmla="*/ 722 w 2544"/>
                  <a:gd name="T57" fmla="*/ 1340 h 3098"/>
                  <a:gd name="T58" fmla="*/ 489 w 2544"/>
                  <a:gd name="T59" fmla="*/ 1261 h 3098"/>
                  <a:gd name="T60" fmla="*/ 352 w 2544"/>
                  <a:gd name="T61" fmla="*/ 1178 h 3098"/>
                  <a:gd name="T62" fmla="*/ 767 w 2544"/>
                  <a:gd name="T63" fmla="*/ 1244 h 3098"/>
                  <a:gd name="T64" fmla="*/ 638 w 2544"/>
                  <a:gd name="T65" fmla="*/ 1169 h 3098"/>
                  <a:gd name="T66" fmla="*/ 870 w 2544"/>
                  <a:gd name="T67" fmla="*/ 1061 h 3098"/>
                  <a:gd name="T68" fmla="*/ 545 w 2544"/>
                  <a:gd name="T69" fmla="*/ 1430 h 3098"/>
                  <a:gd name="T70" fmla="*/ 845 w 2544"/>
                  <a:gd name="T71" fmla="*/ 952 h 3098"/>
                  <a:gd name="T72" fmla="*/ 863 w 2544"/>
                  <a:gd name="T73" fmla="*/ 951 h 3098"/>
                  <a:gd name="T74" fmla="*/ 863 w 2544"/>
                  <a:gd name="T75" fmla="*/ 954 h 3098"/>
                  <a:gd name="T76" fmla="*/ 483 w 2544"/>
                  <a:gd name="T77" fmla="*/ 945 h 3098"/>
                  <a:gd name="T78" fmla="*/ 865 w 2544"/>
                  <a:gd name="T79" fmla="*/ 943 h 3098"/>
                  <a:gd name="T80" fmla="*/ 866 w 2544"/>
                  <a:gd name="T81" fmla="*/ 940 h 3098"/>
                  <a:gd name="T82" fmla="*/ 867 w 2544"/>
                  <a:gd name="T83" fmla="*/ 936 h 3098"/>
                  <a:gd name="T84" fmla="*/ 868 w 2544"/>
                  <a:gd name="T85" fmla="*/ 932 h 3098"/>
                  <a:gd name="T86" fmla="*/ 846 w 2544"/>
                  <a:gd name="T87" fmla="*/ 945 h 3098"/>
                  <a:gd name="T88" fmla="*/ 827 w 2544"/>
                  <a:gd name="T89" fmla="*/ 800 h 3098"/>
                  <a:gd name="T90" fmla="*/ 547 w 2544"/>
                  <a:gd name="T91" fmla="*/ 708 h 3098"/>
                  <a:gd name="T92" fmla="*/ 1125 w 2544"/>
                  <a:gd name="T93" fmla="*/ 664 h 3098"/>
                  <a:gd name="T94" fmla="*/ 845 w 2544"/>
                  <a:gd name="T95" fmla="*/ 940 h 3098"/>
                  <a:gd name="T96" fmla="*/ 362 w 2544"/>
                  <a:gd name="T97" fmla="*/ 843 h 3098"/>
                  <a:gd name="T98" fmla="*/ 543 w 2544"/>
                  <a:gd name="T99" fmla="*/ 716 h 3098"/>
                  <a:gd name="T100" fmla="*/ 1408 w 2544"/>
                  <a:gd name="T101" fmla="*/ 296 h 3098"/>
                  <a:gd name="T102" fmla="*/ 842 w 2544"/>
                  <a:gd name="T103" fmla="*/ 470 h 3098"/>
                  <a:gd name="T104" fmla="*/ 990 w 2544"/>
                  <a:gd name="T105" fmla="*/ 537 h 3098"/>
                  <a:gd name="T106" fmla="*/ 1578 w 2544"/>
                  <a:gd name="T107" fmla="*/ 561 h 3098"/>
                  <a:gd name="T108" fmla="*/ 1020 w 2544"/>
                  <a:gd name="T109" fmla="*/ 246 h 3098"/>
                  <a:gd name="T110" fmla="*/ 840 w 2544"/>
                  <a:gd name="T111" fmla="*/ 549 h 3098"/>
                  <a:gd name="T112" fmla="*/ 710 w 2544"/>
                  <a:gd name="T113" fmla="*/ 459 h 3098"/>
                  <a:gd name="T114" fmla="*/ 785 w 2544"/>
                  <a:gd name="T115" fmla="*/ 1644 h 3098"/>
                  <a:gd name="T116" fmla="*/ 1126 w 2544"/>
                  <a:gd name="T117" fmla="*/ 1222 h 3098"/>
                  <a:gd name="T118" fmla="*/ 860 w 2544"/>
                  <a:gd name="T119" fmla="*/ 966 h 3098"/>
                  <a:gd name="T120" fmla="*/ 1019 w 2544"/>
                  <a:gd name="T121" fmla="*/ 1650 h 3098"/>
                  <a:gd name="T122" fmla="*/ 1014 w 2544"/>
                  <a:gd name="T123" fmla="*/ 531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4" h="3098">
                    <a:moveTo>
                      <a:pt x="2148" y="1044"/>
                    </a:moveTo>
                    <a:cubicBezTo>
                      <a:pt x="2190" y="965"/>
                      <a:pt x="2202" y="899"/>
                      <a:pt x="2201" y="845"/>
                    </a:cubicBezTo>
                    <a:cubicBezTo>
                      <a:pt x="2200" y="737"/>
                      <a:pt x="2139" y="593"/>
                      <a:pt x="2087" y="501"/>
                    </a:cubicBezTo>
                    <a:cubicBezTo>
                      <a:pt x="1854" y="93"/>
                      <a:pt x="1224" y="0"/>
                      <a:pt x="809" y="113"/>
                    </a:cubicBezTo>
                    <a:cubicBezTo>
                      <a:pt x="0" y="334"/>
                      <a:pt x="53" y="1213"/>
                      <a:pt x="117" y="1497"/>
                    </a:cubicBezTo>
                    <a:cubicBezTo>
                      <a:pt x="189" y="1862"/>
                      <a:pt x="420" y="2189"/>
                      <a:pt x="529" y="2269"/>
                    </a:cubicBezTo>
                    <a:cubicBezTo>
                      <a:pt x="484" y="2471"/>
                      <a:pt x="439" y="2672"/>
                      <a:pt x="393" y="2873"/>
                    </a:cubicBezTo>
                    <a:cubicBezTo>
                      <a:pt x="622" y="2956"/>
                      <a:pt x="925" y="3098"/>
                      <a:pt x="1497" y="2995"/>
                    </a:cubicBezTo>
                    <a:cubicBezTo>
                      <a:pt x="1542" y="2844"/>
                      <a:pt x="1586" y="2678"/>
                      <a:pt x="1789" y="2438"/>
                    </a:cubicBezTo>
                    <a:cubicBezTo>
                      <a:pt x="1964" y="2424"/>
                      <a:pt x="2139" y="2409"/>
                      <a:pt x="2313" y="2395"/>
                    </a:cubicBezTo>
                    <a:cubicBezTo>
                      <a:pt x="2519" y="2328"/>
                      <a:pt x="2416" y="2100"/>
                      <a:pt x="2421" y="2068"/>
                    </a:cubicBezTo>
                    <a:cubicBezTo>
                      <a:pt x="2544" y="1913"/>
                      <a:pt x="2413" y="1867"/>
                      <a:pt x="2410" y="1860"/>
                    </a:cubicBezTo>
                    <a:cubicBezTo>
                      <a:pt x="2459" y="1790"/>
                      <a:pt x="2517" y="1746"/>
                      <a:pt x="2377" y="1606"/>
                    </a:cubicBezTo>
                    <a:cubicBezTo>
                      <a:pt x="2406" y="1572"/>
                      <a:pt x="2457" y="1530"/>
                      <a:pt x="2481" y="1480"/>
                    </a:cubicBezTo>
                    <a:cubicBezTo>
                      <a:pt x="2502" y="1438"/>
                      <a:pt x="2502" y="1419"/>
                      <a:pt x="2471" y="1385"/>
                    </a:cubicBezTo>
                    <a:cubicBezTo>
                      <a:pt x="2409" y="1319"/>
                      <a:pt x="2246" y="1199"/>
                      <a:pt x="2168" y="1118"/>
                    </a:cubicBezTo>
                    <a:cubicBezTo>
                      <a:pt x="2136" y="1084"/>
                      <a:pt x="2129" y="1080"/>
                      <a:pt x="2148" y="1044"/>
                    </a:cubicBezTo>
                    <a:close/>
                    <a:moveTo>
                      <a:pt x="298" y="1970"/>
                    </a:moveTo>
                    <a:lnTo>
                      <a:pt x="365" y="1905"/>
                    </a:lnTo>
                    <a:lnTo>
                      <a:pt x="365" y="1905"/>
                    </a:lnTo>
                    <a:lnTo>
                      <a:pt x="376" y="1894"/>
                    </a:lnTo>
                    <a:lnTo>
                      <a:pt x="524" y="1894"/>
                    </a:lnTo>
                    <a:cubicBezTo>
                      <a:pt x="526" y="1897"/>
                      <a:pt x="527" y="1900"/>
                      <a:pt x="529" y="1903"/>
                    </a:cubicBezTo>
                    <a:lnTo>
                      <a:pt x="379" y="1903"/>
                    </a:lnTo>
                    <a:lnTo>
                      <a:pt x="370" y="1912"/>
                    </a:lnTo>
                    <a:lnTo>
                      <a:pt x="370" y="1912"/>
                    </a:lnTo>
                    <a:lnTo>
                      <a:pt x="368" y="1909"/>
                    </a:lnTo>
                    <a:lnTo>
                      <a:pt x="370" y="1912"/>
                    </a:lnTo>
                    <a:lnTo>
                      <a:pt x="302" y="1978"/>
                    </a:lnTo>
                    <a:cubicBezTo>
                      <a:pt x="301" y="1975"/>
                      <a:pt x="299" y="1973"/>
                      <a:pt x="298" y="1970"/>
                    </a:cubicBezTo>
                    <a:close/>
                    <a:moveTo>
                      <a:pt x="1939" y="322"/>
                    </a:moveTo>
                    <a:cubicBezTo>
                      <a:pt x="1936" y="319"/>
                      <a:pt x="1933" y="317"/>
                      <a:pt x="1930" y="314"/>
                    </a:cubicBezTo>
                    <a:lnTo>
                      <a:pt x="1930" y="391"/>
                    </a:lnTo>
                    <a:lnTo>
                      <a:pt x="1930" y="391"/>
                    </a:lnTo>
                    <a:lnTo>
                      <a:pt x="1930" y="444"/>
                    </a:lnTo>
                    <a:lnTo>
                      <a:pt x="1904" y="471"/>
                    </a:lnTo>
                    <a:lnTo>
                      <a:pt x="1906" y="473"/>
                    </a:lnTo>
                    <a:lnTo>
                      <a:pt x="1904" y="471"/>
                    </a:lnTo>
                    <a:lnTo>
                      <a:pt x="1832" y="547"/>
                    </a:lnTo>
                    <a:cubicBezTo>
                      <a:pt x="1819" y="529"/>
                      <a:pt x="1806" y="512"/>
                      <a:pt x="1793" y="495"/>
                    </a:cubicBezTo>
                    <a:lnTo>
                      <a:pt x="1846" y="443"/>
                    </a:lnTo>
                    <a:lnTo>
                      <a:pt x="1846" y="423"/>
                    </a:lnTo>
                    <a:lnTo>
                      <a:pt x="1843" y="420"/>
                    </a:lnTo>
                    <a:lnTo>
                      <a:pt x="1846" y="423"/>
                    </a:lnTo>
                    <a:lnTo>
                      <a:pt x="1846" y="423"/>
                    </a:lnTo>
                    <a:lnTo>
                      <a:pt x="1846" y="328"/>
                    </a:lnTo>
                    <a:cubicBezTo>
                      <a:pt x="1843" y="326"/>
                      <a:pt x="1841" y="324"/>
                      <a:pt x="1838" y="322"/>
                    </a:cubicBezTo>
                    <a:lnTo>
                      <a:pt x="1838" y="416"/>
                    </a:lnTo>
                    <a:lnTo>
                      <a:pt x="1839" y="417"/>
                    </a:lnTo>
                    <a:lnTo>
                      <a:pt x="1838" y="416"/>
                    </a:lnTo>
                    <a:lnTo>
                      <a:pt x="1838" y="439"/>
                    </a:lnTo>
                    <a:lnTo>
                      <a:pt x="1787" y="488"/>
                    </a:lnTo>
                    <a:cubicBezTo>
                      <a:pt x="1772" y="470"/>
                      <a:pt x="1756" y="453"/>
                      <a:pt x="1739" y="436"/>
                    </a:cubicBezTo>
                    <a:lnTo>
                      <a:pt x="1754" y="419"/>
                    </a:lnTo>
                    <a:lnTo>
                      <a:pt x="1754" y="362"/>
                    </a:lnTo>
                    <a:lnTo>
                      <a:pt x="1754" y="362"/>
                    </a:lnTo>
                    <a:lnTo>
                      <a:pt x="1754" y="274"/>
                    </a:lnTo>
                    <a:lnTo>
                      <a:pt x="1754" y="274"/>
                    </a:lnTo>
                    <a:lnTo>
                      <a:pt x="1754" y="274"/>
                    </a:lnTo>
                    <a:lnTo>
                      <a:pt x="1754" y="274"/>
                    </a:lnTo>
                    <a:lnTo>
                      <a:pt x="1754" y="199"/>
                    </a:lnTo>
                    <a:cubicBezTo>
                      <a:pt x="1751" y="198"/>
                      <a:pt x="1748" y="196"/>
                      <a:pt x="1745" y="195"/>
                    </a:cubicBezTo>
                    <a:lnTo>
                      <a:pt x="1745" y="270"/>
                    </a:lnTo>
                    <a:lnTo>
                      <a:pt x="1747" y="271"/>
                    </a:lnTo>
                    <a:lnTo>
                      <a:pt x="1745" y="270"/>
                    </a:lnTo>
                    <a:lnTo>
                      <a:pt x="1745" y="357"/>
                    </a:lnTo>
                    <a:lnTo>
                      <a:pt x="1745" y="357"/>
                    </a:lnTo>
                    <a:lnTo>
                      <a:pt x="1745" y="416"/>
                    </a:lnTo>
                    <a:lnTo>
                      <a:pt x="1733" y="430"/>
                    </a:lnTo>
                    <a:cubicBezTo>
                      <a:pt x="1717" y="414"/>
                      <a:pt x="1701" y="400"/>
                      <a:pt x="1685" y="386"/>
                    </a:cubicBezTo>
                    <a:lnTo>
                      <a:pt x="1688" y="382"/>
                    </a:lnTo>
                    <a:lnTo>
                      <a:pt x="1688" y="328"/>
                    </a:lnTo>
                    <a:lnTo>
                      <a:pt x="1688" y="328"/>
                    </a:lnTo>
                    <a:lnTo>
                      <a:pt x="1688" y="244"/>
                    </a:lnTo>
                    <a:lnTo>
                      <a:pt x="1688" y="244"/>
                    </a:lnTo>
                    <a:lnTo>
                      <a:pt x="1688" y="244"/>
                    </a:lnTo>
                    <a:lnTo>
                      <a:pt x="1688" y="169"/>
                    </a:lnTo>
                    <a:cubicBezTo>
                      <a:pt x="1685" y="168"/>
                      <a:pt x="1682" y="166"/>
                      <a:pt x="1679" y="165"/>
                    </a:cubicBezTo>
                    <a:lnTo>
                      <a:pt x="1679" y="241"/>
                    </a:lnTo>
                    <a:cubicBezTo>
                      <a:pt x="1682" y="242"/>
                      <a:pt x="1684" y="243"/>
                      <a:pt x="1686" y="243"/>
                    </a:cubicBezTo>
                    <a:cubicBezTo>
                      <a:pt x="1684" y="243"/>
                      <a:pt x="1682" y="242"/>
                      <a:pt x="1679" y="241"/>
                    </a:cubicBezTo>
                    <a:lnTo>
                      <a:pt x="1679" y="325"/>
                    </a:lnTo>
                    <a:lnTo>
                      <a:pt x="1679" y="325"/>
                    </a:lnTo>
                    <a:lnTo>
                      <a:pt x="1679" y="379"/>
                    </a:lnTo>
                    <a:lnTo>
                      <a:pt x="1678" y="380"/>
                    </a:lnTo>
                    <a:cubicBezTo>
                      <a:pt x="1600" y="315"/>
                      <a:pt x="1510" y="264"/>
                      <a:pt x="1411" y="230"/>
                    </a:cubicBezTo>
                    <a:lnTo>
                      <a:pt x="1411" y="230"/>
                    </a:lnTo>
                    <a:cubicBezTo>
                      <a:pt x="1409" y="229"/>
                      <a:pt x="1407" y="229"/>
                      <a:pt x="1405" y="228"/>
                    </a:cubicBezTo>
                    <a:lnTo>
                      <a:pt x="1403" y="227"/>
                    </a:lnTo>
                    <a:cubicBezTo>
                      <a:pt x="1319" y="200"/>
                      <a:pt x="1230" y="185"/>
                      <a:pt x="1137" y="185"/>
                    </a:cubicBezTo>
                    <a:cubicBezTo>
                      <a:pt x="1097" y="185"/>
                      <a:pt x="1058" y="187"/>
                      <a:pt x="1020" y="193"/>
                    </a:cubicBezTo>
                    <a:lnTo>
                      <a:pt x="1020" y="75"/>
                    </a:lnTo>
                    <a:cubicBezTo>
                      <a:pt x="1017" y="76"/>
                      <a:pt x="1014" y="76"/>
                      <a:pt x="1011" y="76"/>
                    </a:cubicBezTo>
                    <a:lnTo>
                      <a:pt x="1011" y="194"/>
                    </a:lnTo>
                    <a:cubicBezTo>
                      <a:pt x="916" y="208"/>
                      <a:pt x="826" y="238"/>
                      <a:pt x="743" y="281"/>
                    </a:cubicBezTo>
                    <a:lnTo>
                      <a:pt x="743" y="133"/>
                    </a:lnTo>
                    <a:cubicBezTo>
                      <a:pt x="740" y="134"/>
                      <a:pt x="737" y="135"/>
                      <a:pt x="735" y="136"/>
                    </a:cubicBezTo>
                    <a:lnTo>
                      <a:pt x="735" y="286"/>
                    </a:lnTo>
                    <a:cubicBezTo>
                      <a:pt x="715" y="296"/>
                      <a:pt x="696" y="308"/>
                      <a:pt x="677" y="320"/>
                    </a:cubicBezTo>
                    <a:lnTo>
                      <a:pt x="677" y="177"/>
                    </a:lnTo>
                    <a:lnTo>
                      <a:pt x="676" y="178"/>
                    </a:lnTo>
                    <a:lnTo>
                      <a:pt x="677" y="177"/>
                    </a:lnTo>
                    <a:lnTo>
                      <a:pt x="677" y="158"/>
                    </a:lnTo>
                    <a:cubicBezTo>
                      <a:pt x="675" y="159"/>
                      <a:pt x="672" y="160"/>
                      <a:pt x="669" y="161"/>
                    </a:cubicBezTo>
                    <a:lnTo>
                      <a:pt x="669" y="184"/>
                    </a:lnTo>
                    <a:lnTo>
                      <a:pt x="669" y="184"/>
                    </a:lnTo>
                    <a:lnTo>
                      <a:pt x="669" y="325"/>
                    </a:lnTo>
                    <a:cubicBezTo>
                      <a:pt x="640" y="345"/>
                      <a:pt x="612" y="366"/>
                      <a:pt x="585" y="388"/>
                    </a:cubicBezTo>
                    <a:lnTo>
                      <a:pt x="585" y="261"/>
                    </a:lnTo>
                    <a:lnTo>
                      <a:pt x="585" y="261"/>
                    </a:lnTo>
                    <a:lnTo>
                      <a:pt x="585" y="201"/>
                    </a:lnTo>
                    <a:cubicBezTo>
                      <a:pt x="582" y="203"/>
                      <a:pt x="579" y="204"/>
                      <a:pt x="576" y="206"/>
                    </a:cubicBezTo>
                    <a:lnTo>
                      <a:pt x="576" y="270"/>
                    </a:lnTo>
                    <a:lnTo>
                      <a:pt x="576" y="270"/>
                    </a:lnTo>
                    <a:cubicBezTo>
                      <a:pt x="579" y="268"/>
                      <a:pt x="582" y="265"/>
                      <a:pt x="584" y="262"/>
                    </a:cubicBezTo>
                    <a:lnTo>
                      <a:pt x="576" y="270"/>
                    </a:lnTo>
                    <a:lnTo>
                      <a:pt x="576" y="396"/>
                    </a:lnTo>
                    <a:cubicBezTo>
                      <a:pt x="563" y="408"/>
                      <a:pt x="550" y="420"/>
                      <a:pt x="537" y="433"/>
                    </a:cubicBezTo>
                    <a:cubicBezTo>
                      <a:pt x="528" y="442"/>
                      <a:pt x="519" y="451"/>
                      <a:pt x="511" y="460"/>
                    </a:cubicBezTo>
                    <a:lnTo>
                      <a:pt x="493" y="441"/>
                    </a:lnTo>
                    <a:lnTo>
                      <a:pt x="493" y="376"/>
                    </a:lnTo>
                    <a:lnTo>
                      <a:pt x="493" y="376"/>
                    </a:lnTo>
                    <a:lnTo>
                      <a:pt x="493" y="258"/>
                    </a:lnTo>
                    <a:cubicBezTo>
                      <a:pt x="490" y="260"/>
                      <a:pt x="487" y="262"/>
                      <a:pt x="484" y="264"/>
                    </a:cubicBezTo>
                    <a:lnTo>
                      <a:pt x="484" y="389"/>
                    </a:lnTo>
                    <a:lnTo>
                      <a:pt x="484" y="389"/>
                    </a:lnTo>
                    <a:cubicBezTo>
                      <a:pt x="487" y="385"/>
                      <a:pt x="489" y="381"/>
                      <a:pt x="491" y="378"/>
                    </a:cubicBezTo>
                    <a:lnTo>
                      <a:pt x="484" y="389"/>
                    </a:lnTo>
                    <a:lnTo>
                      <a:pt x="484" y="445"/>
                    </a:lnTo>
                    <a:lnTo>
                      <a:pt x="505" y="467"/>
                    </a:lnTo>
                    <a:cubicBezTo>
                      <a:pt x="486" y="488"/>
                      <a:pt x="468" y="510"/>
                      <a:pt x="452" y="532"/>
                    </a:cubicBezTo>
                    <a:lnTo>
                      <a:pt x="421" y="501"/>
                    </a:lnTo>
                    <a:lnTo>
                      <a:pt x="421" y="501"/>
                    </a:lnTo>
                    <a:lnTo>
                      <a:pt x="387" y="466"/>
                    </a:lnTo>
                    <a:lnTo>
                      <a:pt x="387" y="345"/>
                    </a:lnTo>
                    <a:cubicBezTo>
                      <a:pt x="384" y="348"/>
                      <a:pt x="382" y="351"/>
                      <a:pt x="379" y="353"/>
                    </a:cubicBezTo>
                    <a:lnTo>
                      <a:pt x="379" y="470"/>
                    </a:lnTo>
                    <a:lnTo>
                      <a:pt x="417" y="509"/>
                    </a:lnTo>
                    <a:lnTo>
                      <a:pt x="417" y="509"/>
                    </a:lnTo>
                    <a:lnTo>
                      <a:pt x="419" y="505"/>
                    </a:lnTo>
                    <a:cubicBezTo>
                      <a:pt x="418" y="506"/>
                      <a:pt x="418" y="508"/>
                      <a:pt x="417" y="509"/>
                    </a:cubicBezTo>
                    <a:lnTo>
                      <a:pt x="447" y="540"/>
                    </a:lnTo>
                    <a:cubicBezTo>
                      <a:pt x="430" y="562"/>
                      <a:pt x="415" y="586"/>
                      <a:pt x="401" y="610"/>
                    </a:cubicBezTo>
                    <a:lnTo>
                      <a:pt x="383" y="590"/>
                    </a:lnTo>
                    <a:lnTo>
                      <a:pt x="383" y="591"/>
                    </a:lnTo>
                    <a:lnTo>
                      <a:pt x="383" y="590"/>
                    </a:lnTo>
                    <a:lnTo>
                      <a:pt x="308" y="503"/>
                    </a:lnTo>
                    <a:lnTo>
                      <a:pt x="308" y="433"/>
                    </a:lnTo>
                    <a:cubicBezTo>
                      <a:pt x="305" y="436"/>
                      <a:pt x="302" y="440"/>
                      <a:pt x="300" y="444"/>
                    </a:cubicBezTo>
                    <a:lnTo>
                      <a:pt x="300" y="506"/>
                    </a:lnTo>
                    <a:lnTo>
                      <a:pt x="380" y="599"/>
                    </a:lnTo>
                    <a:lnTo>
                      <a:pt x="380" y="599"/>
                    </a:lnTo>
                    <a:lnTo>
                      <a:pt x="381" y="596"/>
                    </a:lnTo>
                    <a:lnTo>
                      <a:pt x="380" y="599"/>
                    </a:lnTo>
                    <a:lnTo>
                      <a:pt x="396" y="618"/>
                    </a:lnTo>
                    <a:cubicBezTo>
                      <a:pt x="382" y="643"/>
                      <a:pt x="370" y="669"/>
                      <a:pt x="358" y="696"/>
                    </a:cubicBezTo>
                    <a:lnTo>
                      <a:pt x="351" y="689"/>
                    </a:lnTo>
                    <a:cubicBezTo>
                      <a:pt x="350" y="692"/>
                      <a:pt x="350" y="694"/>
                      <a:pt x="349" y="697"/>
                    </a:cubicBezTo>
                    <a:cubicBezTo>
                      <a:pt x="350" y="694"/>
                      <a:pt x="350" y="692"/>
                      <a:pt x="351" y="689"/>
                    </a:cubicBezTo>
                    <a:lnTo>
                      <a:pt x="224" y="561"/>
                    </a:lnTo>
                    <a:cubicBezTo>
                      <a:pt x="223" y="564"/>
                      <a:pt x="221" y="566"/>
                      <a:pt x="220" y="569"/>
                    </a:cubicBezTo>
                    <a:lnTo>
                      <a:pt x="348" y="699"/>
                    </a:lnTo>
                    <a:lnTo>
                      <a:pt x="348" y="699"/>
                    </a:lnTo>
                    <a:lnTo>
                      <a:pt x="354" y="705"/>
                    </a:lnTo>
                    <a:cubicBezTo>
                      <a:pt x="350" y="714"/>
                      <a:pt x="346" y="724"/>
                      <a:pt x="343" y="733"/>
                    </a:cubicBezTo>
                    <a:cubicBezTo>
                      <a:pt x="342" y="736"/>
                      <a:pt x="341" y="739"/>
                      <a:pt x="339" y="742"/>
                    </a:cubicBezTo>
                    <a:cubicBezTo>
                      <a:pt x="318" y="801"/>
                      <a:pt x="303" y="862"/>
                      <a:pt x="295" y="926"/>
                    </a:cubicBezTo>
                    <a:lnTo>
                      <a:pt x="282" y="914"/>
                    </a:lnTo>
                    <a:lnTo>
                      <a:pt x="282" y="857"/>
                    </a:lnTo>
                    <a:lnTo>
                      <a:pt x="151" y="731"/>
                    </a:lnTo>
                    <a:cubicBezTo>
                      <a:pt x="150" y="734"/>
                      <a:pt x="149" y="737"/>
                      <a:pt x="148" y="740"/>
                    </a:cubicBezTo>
                    <a:lnTo>
                      <a:pt x="273" y="861"/>
                    </a:lnTo>
                    <a:lnTo>
                      <a:pt x="273" y="918"/>
                    </a:lnTo>
                    <a:lnTo>
                      <a:pt x="294" y="936"/>
                    </a:lnTo>
                    <a:cubicBezTo>
                      <a:pt x="291" y="966"/>
                      <a:pt x="289" y="997"/>
                      <a:pt x="289" y="1028"/>
                    </a:cubicBezTo>
                    <a:lnTo>
                      <a:pt x="203" y="948"/>
                    </a:lnTo>
                    <a:lnTo>
                      <a:pt x="203" y="886"/>
                    </a:lnTo>
                    <a:lnTo>
                      <a:pt x="127" y="812"/>
                    </a:lnTo>
                    <a:cubicBezTo>
                      <a:pt x="127" y="815"/>
                      <a:pt x="126" y="819"/>
                      <a:pt x="125" y="822"/>
                    </a:cubicBezTo>
                    <a:lnTo>
                      <a:pt x="194" y="889"/>
                    </a:lnTo>
                    <a:lnTo>
                      <a:pt x="194" y="951"/>
                    </a:lnTo>
                    <a:lnTo>
                      <a:pt x="289" y="1040"/>
                    </a:lnTo>
                    <a:cubicBezTo>
                      <a:pt x="289" y="1084"/>
                      <a:pt x="293" y="1127"/>
                      <a:pt x="299" y="1169"/>
                    </a:cubicBezTo>
                    <a:lnTo>
                      <a:pt x="274" y="1169"/>
                    </a:lnTo>
                    <a:lnTo>
                      <a:pt x="96" y="982"/>
                    </a:lnTo>
                    <a:cubicBezTo>
                      <a:pt x="95" y="986"/>
                      <a:pt x="95" y="990"/>
                      <a:pt x="94" y="994"/>
                    </a:cubicBezTo>
                    <a:lnTo>
                      <a:pt x="270" y="1178"/>
                    </a:lnTo>
                    <a:lnTo>
                      <a:pt x="301" y="1178"/>
                    </a:lnTo>
                    <a:cubicBezTo>
                      <a:pt x="304" y="1197"/>
                      <a:pt x="308" y="1216"/>
                      <a:pt x="313" y="1235"/>
                    </a:cubicBezTo>
                    <a:lnTo>
                      <a:pt x="307" y="1235"/>
                    </a:lnTo>
                    <a:lnTo>
                      <a:pt x="307" y="1235"/>
                    </a:lnTo>
                    <a:lnTo>
                      <a:pt x="274" y="1235"/>
                    </a:lnTo>
                    <a:lnTo>
                      <a:pt x="90" y="1039"/>
                    </a:lnTo>
                    <a:cubicBezTo>
                      <a:pt x="90" y="1043"/>
                      <a:pt x="89" y="1047"/>
                      <a:pt x="89" y="1050"/>
                    </a:cubicBezTo>
                    <a:lnTo>
                      <a:pt x="270" y="1244"/>
                    </a:lnTo>
                    <a:lnTo>
                      <a:pt x="308" y="1244"/>
                    </a:lnTo>
                    <a:lnTo>
                      <a:pt x="308" y="1244"/>
                    </a:lnTo>
                    <a:cubicBezTo>
                      <a:pt x="308" y="1242"/>
                      <a:pt x="308" y="1240"/>
                      <a:pt x="308" y="1237"/>
                    </a:cubicBezTo>
                    <a:lnTo>
                      <a:pt x="308" y="1244"/>
                    </a:lnTo>
                    <a:lnTo>
                      <a:pt x="315" y="1244"/>
                    </a:lnTo>
                    <a:cubicBezTo>
                      <a:pt x="323" y="1277"/>
                      <a:pt x="334" y="1309"/>
                      <a:pt x="346" y="1340"/>
                    </a:cubicBezTo>
                    <a:lnTo>
                      <a:pt x="321" y="1340"/>
                    </a:lnTo>
                    <a:lnTo>
                      <a:pt x="321" y="1340"/>
                    </a:lnTo>
                    <a:lnTo>
                      <a:pt x="92" y="1340"/>
                    </a:lnTo>
                    <a:cubicBezTo>
                      <a:pt x="93" y="1343"/>
                      <a:pt x="94" y="1346"/>
                      <a:pt x="94" y="1349"/>
                    </a:cubicBezTo>
                    <a:lnTo>
                      <a:pt x="322" y="1349"/>
                    </a:lnTo>
                    <a:lnTo>
                      <a:pt x="322" y="1349"/>
                    </a:lnTo>
                    <a:lnTo>
                      <a:pt x="322" y="1349"/>
                    </a:lnTo>
                    <a:lnTo>
                      <a:pt x="349" y="1349"/>
                    </a:lnTo>
                    <a:cubicBezTo>
                      <a:pt x="357" y="1368"/>
                      <a:pt x="366" y="1388"/>
                      <a:pt x="375" y="1406"/>
                    </a:cubicBezTo>
                    <a:lnTo>
                      <a:pt x="332" y="1406"/>
                    </a:lnTo>
                    <a:lnTo>
                      <a:pt x="332" y="1406"/>
                    </a:lnTo>
                    <a:lnTo>
                      <a:pt x="108" y="1406"/>
                    </a:lnTo>
                    <a:lnTo>
                      <a:pt x="108" y="1406"/>
                    </a:lnTo>
                    <a:lnTo>
                      <a:pt x="100" y="1406"/>
                    </a:lnTo>
                    <a:cubicBezTo>
                      <a:pt x="101" y="1409"/>
                      <a:pt x="101" y="1412"/>
                      <a:pt x="102" y="1415"/>
                    </a:cubicBezTo>
                    <a:lnTo>
                      <a:pt x="110" y="1415"/>
                    </a:lnTo>
                    <a:lnTo>
                      <a:pt x="110" y="1412"/>
                    </a:lnTo>
                    <a:cubicBezTo>
                      <a:pt x="110" y="1413"/>
                      <a:pt x="110" y="1414"/>
                      <a:pt x="110" y="1415"/>
                    </a:cubicBezTo>
                    <a:lnTo>
                      <a:pt x="334" y="1415"/>
                    </a:lnTo>
                    <a:lnTo>
                      <a:pt x="334" y="1415"/>
                    </a:lnTo>
                    <a:lnTo>
                      <a:pt x="334" y="1413"/>
                    </a:lnTo>
                    <a:lnTo>
                      <a:pt x="334" y="1415"/>
                    </a:lnTo>
                    <a:lnTo>
                      <a:pt x="379" y="1415"/>
                    </a:lnTo>
                    <a:cubicBezTo>
                      <a:pt x="392" y="1439"/>
                      <a:pt x="405" y="1463"/>
                      <a:pt x="419" y="1485"/>
                    </a:cubicBezTo>
                    <a:lnTo>
                      <a:pt x="351" y="1485"/>
                    </a:lnTo>
                    <a:lnTo>
                      <a:pt x="351" y="1485"/>
                    </a:lnTo>
                    <a:lnTo>
                      <a:pt x="167" y="1485"/>
                    </a:lnTo>
                    <a:lnTo>
                      <a:pt x="143" y="1517"/>
                    </a:lnTo>
                    <a:lnTo>
                      <a:pt x="143" y="1518"/>
                    </a:lnTo>
                    <a:lnTo>
                      <a:pt x="143" y="1517"/>
                    </a:lnTo>
                    <a:lnTo>
                      <a:pt x="126" y="1538"/>
                    </a:lnTo>
                    <a:cubicBezTo>
                      <a:pt x="126" y="1542"/>
                      <a:pt x="127" y="1546"/>
                      <a:pt x="128" y="1549"/>
                    </a:cubicBezTo>
                    <a:lnTo>
                      <a:pt x="146" y="1526"/>
                    </a:lnTo>
                    <a:lnTo>
                      <a:pt x="146" y="1526"/>
                    </a:lnTo>
                    <a:lnTo>
                      <a:pt x="171" y="1494"/>
                    </a:lnTo>
                    <a:lnTo>
                      <a:pt x="353" y="1494"/>
                    </a:lnTo>
                    <a:lnTo>
                      <a:pt x="353" y="1494"/>
                    </a:lnTo>
                    <a:lnTo>
                      <a:pt x="425" y="1494"/>
                    </a:lnTo>
                    <a:cubicBezTo>
                      <a:pt x="450" y="1533"/>
                      <a:pt x="479" y="1570"/>
                      <a:pt x="510" y="1604"/>
                    </a:cubicBezTo>
                    <a:lnTo>
                      <a:pt x="387" y="1604"/>
                    </a:lnTo>
                    <a:cubicBezTo>
                      <a:pt x="387" y="1606"/>
                      <a:pt x="388" y="1608"/>
                      <a:pt x="389" y="1611"/>
                    </a:cubicBezTo>
                    <a:lnTo>
                      <a:pt x="387" y="1604"/>
                    </a:lnTo>
                    <a:lnTo>
                      <a:pt x="195" y="1604"/>
                    </a:lnTo>
                    <a:lnTo>
                      <a:pt x="183" y="1615"/>
                    </a:lnTo>
                    <a:lnTo>
                      <a:pt x="183" y="1615"/>
                    </a:lnTo>
                    <a:lnTo>
                      <a:pt x="154" y="1641"/>
                    </a:lnTo>
                    <a:cubicBezTo>
                      <a:pt x="155" y="1644"/>
                      <a:pt x="156" y="1647"/>
                      <a:pt x="157" y="1650"/>
                    </a:cubicBezTo>
                    <a:lnTo>
                      <a:pt x="187" y="1623"/>
                    </a:lnTo>
                    <a:lnTo>
                      <a:pt x="187" y="1623"/>
                    </a:lnTo>
                    <a:lnTo>
                      <a:pt x="199" y="1613"/>
                    </a:lnTo>
                    <a:lnTo>
                      <a:pt x="390" y="1613"/>
                    </a:lnTo>
                    <a:lnTo>
                      <a:pt x="390" y="1613"/>
                    </a:lnTo>
                    <a:lnTo>
                      <a:pt x="514" y="1613"/>
                    </a:lnTo>
                    <a:lnTo>
                      <a:pt x="514" y="1613"/>
                    </a:lnTo>
                    <a:lnTo>
                      <a:pt x="516" y="1611"/>
                    </a:lnTo>
                    <a:cubicBezTo>
                      <a:pt x="523" y="1618"/>
                      <a:pt x="530" y="1625"/>
                      <a:pt x="537" y="1632"/>
                    </a:cubicBezTo>
                    <a:cubicBezTo>
                      <a:pt x="546" y="1642"/>
                      <a:pt x="556" y="1651"/>
                      <a:pt x="566" y="1660"/>
                    </a:cubicBezTo>
                    <a:lnTo>
                      <a:pt x="556" y="1670"/>
                    </a:lnTo>
                    <a:lnTo>
                      <a:pt x="411" y="1670"/>
                    </a:lnTo>
                    <a:lnTo>
                      <a:pt x="411" y="1670"/>
                    </a:lnTo>
                    <a:lnTo>
                      <a:pt x="266" y="1670"/>
                    </a:lnTo>
                    <a:lnTo>
                      <a:pt x="229" y="1707"/>
                    </a:lnTo>
                    <a:lnTo>
                      <a:pt x="229" y="1707"/>
                    </a:lnTo>
                    <a:lnTo>
                      <a:pt x="191" y="1746"/>
                    </a:lnTo>
                    <a:cubicBezTo>
                      <a:pt x="192" y="1749"/>
                      <a:pt x="193" y="1752"/>
                      <a:pt x="194" y="1755"/>
                    </a:cubicBezTo>
                    <a:lnTo>
                      <a:pt x="234" y="1715"/>
                    </a:lnTo>
                    <a:lnTo>
                      <a:pt x="232" y="1712"/>
                    </a:lnTo>
                    <a:lnTo>
                      <a:pt x="234" y="1715"/>
                    </a:lnTo>
                    <a:lnTo>
                      <a:pt x="234" y="1715"/>
                    </a:lnTo>
                    <a:lnTo>
                      <a:pt x="270" y="1679"/>
                    </a:lnTo>
                    <a:lnTo>
                      <a:pt x="415" y="1679"/>
                    </a:lnTo>
                    <a:lnTo>
                      <a:pt x="415" y="1679"/>
                    </a:lnTo>
                    <a:lnTo>
                      <a:pt x="560" y="1679"/>
                    </a:lnTo>
                    <a:lnTo>
                      <a:pt x="560" y="1679"/>
                    </a:lnTo>
                    <a:lnTo>
                      <a:pt x="572" y="1666"/>
                    </a:lnTo>
                    <a:cubicBezTo>
                      <a:pt x="588" y="1680"/>
                      <a:pt x="605" y="1694"/>
                      <a:pt x="622" y="1707"/>
                    </a:cubicBezTo>
                    <a:lnTo>
                      <a:pt x="590" y="1736"/>
                    </a:lnTo>
                    <a:lnTo>
                      <a:pt x="440" y="1736"/>
                    </a:lnTo>
                    <a:lnTo>
                      <a:pt x="440" y="1736"/>
                    </a:lnTo>
                    <a:lnTo>
                      <a:pt x="301" y="1736"/>
                    </a:lnTo>
                    <a:lnTo>
                      <a:pt x="267" y="1771"/>
                    </a:lnTo>
                    <a:lnTo>
                      <a:pt x="267" y="1771"/>
                    </a:lnTo>
                    <a:lnTo>
                      <a:pt x="221" y="1819"/>
                    </a:lnTo>
                    <a:cubicBezTo>
                      <a:pt x="222" y="1822"/>
                      <a:pt x="224" y="1824"/>
                      <a:pt x="225" y="1827"/>
                    </a:cubicBezTo>
                    <a:lnTo>
                      <a:pt x="272" y="1778"/>
                    </a:lnTo>
                    <a:lnTo>
                      <a:pt x="271" y="1776"/>
                    </a:lnTo>
                    <a:lnTo>
                      <a:pt x="272" y="1778"/>
                    </a:lnTo>
                    <a:lnTo>
                      <a:pt x="272" y="1778"/>
                    </a:lnTo>
                    <a:lnTo>
                      <a:pt x="304" y="1745"/>
                    </a:lnTo>
                    <a:lnTo>
                      <a:pt x="444" y="1745"/>
                    </a:lnTo>
                    <a:lnTo>
                      <a:pt x="441" y="1740"/>
                    </a:lnTo>
                    <a:cubicBezTo>
                      <a:pt x="442" y="1741"/>
                      <a:pt x="443" y="1743"/>
                      <a:pt x="444" y="1745"/>
                    </a:cubicBezTo>
                    <a:lnTo>
                      <a:pt x="593" y="1745"/>
                    </a:lnTo>
                    <a:lnTo>
                      <a:pt x="629" y="1712"/>
                    </a:lnTo>
                    <a:cubicBezTo>
                      <a:pt x="651" y="1728"/>
                      <a:pt x="673" y="1744"/>
                      <a:pt x="696" y="1758"/>
                    </a:cubicBezTo>
                    <a:lnTo>
                      <a:pt x="617" y="1841"/>
                    </a:lnTo>
                    <a:lnTo>
                      <a:pt x="493" y="1841"/>
                    </a:lnTo>
                    <a:cubicBezTo>
                      <a:pt x="495" y="1844"/>
                      <a:pt x="496" y="1847"/>
                      <a:pt x="498" y="1850"/>
                    </a:cubicBezTo>
                    <a:lnTo>
                      <a:pt x="620" y="1850"/>
                    </a:lnTo>
                    <a:lnTo>
                      <a:pt x="704" y="1762"/>
                    </a:lnTo>
                    <a:cubicBezTo>
                      <a:pt x="712" y="1767"/>
                      <a:pt x="720" y="1772"/>
                      <a:pt x="729" y="1777"/>
                    </a:cubicBezTo>
                    <a:lnTo>
                      <a:pt x="632" y="1894"/>
                    </a:lnTo>
                    <a:lnTo>
                      <a:pt x="524" y="1894"/>
                    </a:lnTo>
                    <a:cubicBezTo>
                      <a:pt x="526" y="1897"/>
                      <a:pt x="527" y="1900"/>
                      <a:pt x="529" y="1903"/>
                    </a:cubicBezTo>
                    <a:lnTo>
                      <a:pt x="636" y="1903"/>
                    </a:lnTo>
                    <a:lnTo>
                      <a:pt x="636" y="1903"/>
                    </a:lnTo>
                    <a:lnTo>
                      <a:pt x="737" y="1781"/>
                    </a:lnTo>
                    <a:cubicBezTo>
                      <a:pt x="856" y="1845"/>
                      <a:pt x="992" y="1881"/>
                      <a:pt x="1137" y="1881"/>
                    </a:cubicBezTo>
                    <a:cubicBezTo>
                      <a:pt x="1371" y="1881"/>
                      <a:pt x="1583" y="1786"/>
                      <a:pt x="1736" y="1632"/>
                    </a:cubicBezTo>
                    <a:cubicBezTo>
                      <a:pt x="1890" y="1479"/>
                      <a:pt x="1985" y="1267"/>
                      <a:pt x="1985" y="1033"/>
                    </a:cubicBezTo>
                    <a:cubicBezTo>
                      <a:pt x="1985" y="855"/>
                      <a:pt x="1930" y="690"/>
                      <a:pt x="1837" y="554"/>
                    </a:cubicBezTo>
                    <a:lnTo>
                      <a:pt x="1939" y="448"/>
                    </a:lnTo>
                    <a:lnTo>
                      <a:pt x="1939" y="442"/>
                    </a:lnTo>
                    <a:lnTo>
                      <a:pt x="1908" y="475"/>
                    </a:lnTo>
                    <a:cubicBezTo>
                      <a:pt x="1908" y="474"/>
                      <a:pt x="1908" y="474"/>
                      <a:pt x="1907" y="474"/>
                    </a:cubicBezTo>
                    <a:lnTo>
                      <a:pt x="1908" y="475"/>
                    </a:lnTo>
                    <a:lnTo>
                      <a:pt x="1908" y="475"/>
                    </a:lnTo>
                    <a:lnTo>
                      <a:pt x="1939" y="442"/>
                    </a:lnTo>
                    <a:lnTo>
                      <a:pt x="1939" y="398"/>
                    </a:lnTo>
                    <a:lnTo>
                      <a:pt x="1939" y="398"/>
                    </a:lnTo>
                    <a:lnTo>
                      <a:pt x="1939" y="322"/>
                    </a:lnTo>
                    <a:close/>
                    <a:moveTo>
                      <a:pt x="1846" y="252"/>
                    </a:moveTo>
                    <a:cubicBezTo>
                      <a:pt x="1844" y="250"/>
                      <a:pt x="1841" y="248"/>
                      <a:pt x="1838" y="246"/>
                    </a:cubicBezTo>
                    <a:lnTo>
                      <a:pt x="1838" y="322"/>
                    </a:lnTo>
                    <a:cubicBezTo>
                      <a:pt x="1841" y="324"/>
                      <a:pt x="1844" y="326"/>
                      <a:pt x="1846" y="328"/>
                    </a:cubicBezTo>
                    <a:lnTo>
                      <a:pt x="1846" y="328"/>
                    </a:lnTo>
                    <a:lnTo>
                      <a:pt x="1846" y="252"/>
                    </a:lnTo>
                    <a:close/>
                    <a:moveTo>
                      <a:pt x="92" y="1340"/>
                    </a:moveTo>
                    <a:cubicBezTo>
                      <a:pt x="93" y="1343"/>
                      <a:pt x="93" y="1346"/>
                      <a:pt x="93" y="1349"/>
                    </a:cubicBezTo>
                    <a:lnTo>
                      <a:pt x="94" y="1349"/>
                    </a:lnTo>
                    <a:cubicBezTo>
                      <a:pt x="94" y="1346"/>
                      <a:pt x="93" y="1343"/>
                      <a:pt x="92" y="1340"/>
                    </a:cubicBezTo>
                    <a:close/>
                    <a:moveTo>
                      <a:pt x="270" y="1919"/>
                    </a:moveTo>
                    <a:cubicBezTo>
                      <a:pt x="271" y="1922"/>
                      <a:pt x="273" y="1924"/>
                      <a:pt x="274" y="1927"/>
                    </a:cubicBezTo>
                    <a:lnTo>
                      <a:pt x="336" y="1869"/>
                    </a:lnTo>
                    <a:lnTo>
                      <a:pt x="336" y="1869"/>
                    </a:lnTo>
                    <a:lnTo>
                      <a:pt x="336" y="1869"/>
                    </a:lnTo>
                    <a:lnTo>
                      <a:pt x="356" y="1850"/>
                    </a:lnTo>
                    <a:lnTo>
                      <a:pt x="498" y="1850"/>
                    </a:lnTo>
                    <a:cubicBezTo>
                      <a:pt x="496" y="1847"/>
                      <a:pt x="495" y="1844"/>
                      <a:pt x="493" y="1841"/>
                    </a:cubicBezTo>
                    <a:lnTo>
                      <a:pt x="353" y="1841"/>
                    </a:lnTo>
                    <a:lnTo>
                      <a:pt x="331" y="1862"/>
                    </a:lnTo>
                    <a:lnTo>
                      <a:pt x="332" y="1864"/>
                    </a:lnTo>
                    <a:lnTo>
                      <a:pt x="331" y="1862"/>
                    </a:lnTo>
                    <a:lnTo>
                      <a:pt x="270" y="1919"/>
                    </a:lnTo>
                    <a:close/>
                    <a:moveTo>
                      <a:pt x="1051" y="947"/>
                    </a:moveTo>
                    <a:cubicBezTo>
                      <a:pt x="1067" y="931"/>
                      <a:pt x="1088" y="919"/>
                      <a:pt x="1111" y="914"/>
                    </a:cubicBezTo>
                    <a:lnTo>
                      <a:pt x="1131" y="934"/>
                    </a:lnTo>
                    <a:lnTo>
                      <a:pt x="1131" y="934"/>
                    </a:lnTo>
                    <a:lnTo>
                      <a:pt x="1131" y="934"/>
                    </a:lnTo>
                    <a:cubicBezTo>
                      <a:pt x="1125" y="939"/>
                      <a:pt x="1121" y="946"/>
                      <a:pt x="1121" y="954"/>
                    </a:cubicBezTo>
                    <a:cubicBezTo>
                      <a:pt x="1121" y="968"/>
                      <a:pt x="1133" y="979"/>
                      <a:pt x="1147" y="979"/>
                    </a:cubicBezTo>
                    <a:lnTo>
                      <a:pt x="1147" y="979"/>
                    </a:lnTo>
                    <a:cubicBezTo>
                      <a:pt x="1161" y="979"/>
                      <a:pt x="1172" y="968"/>
                      <a:pt x="1172" y="954"/>
                    </a:cubicBezTo>
                    <a:cubicBezTo>
                      <a:pt x="1172" y="940"/>
                      <a:pt x="1161" y="929"/>
                      <a:pt x="1147" y="929"/>
                    </a:cubicBezTo>
                    <a:cubicBezTo>
                      <a:pt x="1144" y="929"/>
                      <a:pt x="1142" y="929"/>
                      <a:pt x="1139" y="930"/>
                    </a:cubicBezTo>
                    <a:lnTo>
                      <a:pt x="1139" y="930"/>
                    </a:lnTo>
                    <a:cubicBezTo>
                      <a:pt x="1136" y="931"/>
                      <a:pt x="1134" y="932"/>
                      <a:pt x="1132" y="934"/>
                    </a:cubicBezTo>
                    <a:cubicBezTo>
                      <a:pt x="1134" y="932"/>
                      <a:pt x="1136" y="931"/>
                      <a:pt x="1139" y="930"/>
                    </a:cubicBezTo>
                    <a:lnTo>
                      <a:pt x="1121" y="912"/>
                    </a:lnTo>
                    <a:cubicBezTo>
                      <a:pt x="1126" y="912"/>
                      <a:pt x="1131" y="911"/>
                      <a:pt x="1137" y="911"/>
                    </a:cubicBezTo>
                    <a:cubicBezTo>
                      <a:pt x="1170" y="911"/>
                      <a:pt x="1200" y="925"/>
                      <a:pt x="1222" y="947"/>
                    </a:cubicBezTo>
                    <a:cubicBezTo>
                      <a:pt x="1244" y="969"/>
                      <a:pt x="1258" y="999"/>
                      <a:pt x="1258" y="1033"/>
                    </a:cubicBezTo>
                    <a:cubicBezTo>
                      <a:pt x="1258" y="1066"/>
                      <a:pt x="1244" y="1097"/>
                      <a:pt x="1222" y="1118"/>
                    </a:cubicBezTo>
                    <a:cubicBezTo>
                      <a:pt x="1200" y="1140"/>
                      <a:pt x="1170" y="1154"/>
                      <a:pt x="1137" y="1154"/>
                    </a:cubicBezTo>
                    <a:cubicBezTo>
                      <a:pt x="1103" y="1154"/>
                      <a:pt x="1073" y="1140"/>
                      <a:pt x="1051" y="1118"/>
                    </a:cubicBezTo>
                    <a:cubicBezTo>
                      <a:pt x="1045" y="1113"/>
                      <a:pt x="1040" y="1107"/>
                      <a:pt x="1036" y="1100"/>
                    </a:cubicBezTo>
                    <a:cubicBezTo>
                      <a:pt x="1039" y="1096"/>
                      <a:pt x="1040" y="1091"/>
                      <a:pt x="1040" y="1086"/>
                    </a:cubicBezTo>
                    <a:cubicBezTo>
                      <a:pt x="1040" y="1073"/>
                      <a:pt x="1031" y="1063"/>
                      <a:pt x="1019" y="1061"/>
                    </a:cubicBezTo>
                    <a:cubicBezTo>
                      <a:pt x="1017" y="1052"/>
                      <a:pt x="1015" y="1042"/>
                      <a:pt x="1015" y="1033"/>
                    </a:cubicBezTo>
                    <a:cubicBezTo>
                      <a:pt x="1015" y="999"/>
                      <a:pt x="1029" y="969"/>
                      <a:pt x="1051" y="947"/>
                    </a:cubicBezTo>
                    <a:close/>
                    <a:moveTo>
                      <a:pt x="845" y="1349"/>
                    </a:moveTo>
                    <a:lnTo>
                      <a:pt x="845" y="1349"/>
                    </a:lnTo>
                    <a:lnTo>
                      <a:pt x="835" y="1349"/>
                    </a:lnTo>
                    <a:lnTo>
                      <a:pt x="832" y="1345"/>
                    </a:lnTo>
                    <a:cubicBezTo>
                      <a:pt x="833" y="1347"/>
                      <a:pt x="834" y="1348"/>
                      <a:pt x="834" y="1349"/>
                    </a:cubicBezTo>
                    <a:lnTo>
                      <a:pt x="834" y="1349"/>
                    </a:lnTo>
                    <a:lnTo>
                      <a:pt x="728" y="1349"/>
                    </a:lnTo>
                    <a:cubicBezTo>
                      <a:pt x="744" y="1370"/>
                      <a:pt x="762" y="1389"/>
                      <a:pt x="780" y="1406"/>
                    </a:cubicBezTo>
                    <a:lnTo>
                      <a:pt x="836" y="1406"/>
                    </a:lnTo>
                    <a:cubicBezTo>
                      <a:pt x="832" y="1403"/>
                      <a:pt x="829" y="1400"/>
                      <a:pt x="825" y="1397"/>
                    </a:cubicBezTo>
                    <a:lnTo>
                      <a:pt x="852" y="1367"/>
                    </a:lnTo>
                    <a:cubicBezTo>
                      <a:pt x="847" y="1362"/>
                      <a:pt x="845" y="1356"/>
                      <a:pt x="845" y="1350"/>
                    </a:cubicBezTo>
                    <a:cubicBezTo>
                      <a:pt x="845" y="1349"/>
                      <a:pt x="845" y="1349"/>
                      <a:pt x="845" y="1349"/>
                    </a:cubicBezTo>
                    <a:close/>
                    <a:moveTo>
                      <a:pt x="666" y="1349"/>
                    </a:moveTo>
                    <a:lnTo>
                      <a:pt x="595" y="1349"/>
                    </a:lnTo>
                    <a:lnTo>
                      <a:pt x="595" y="1349"/>
                    </a:lnTo>
                    <a:lnTo>
                      <a:pt x="595" y="1349"/>
                    </a:lnTo>
                    <a:lnTo>
                      <a:pt x="513" y="1349"/>
                    </a:lnTo>
                    <a:cubicBezTo>
                      <a:pt x="512" y="1348"/>
                      <a:pt x="512" y="1346"/>
                      <a:pt x="511" y="1344"/>
                    </a:cubicBezTo>
                    <a:cubicBezTo>
                      <a:pt x="512" y="1346"/>
                      <a:pt x="512" y="1347"/>
                      <a:pt x="513" y="1349"/>
                    </a:cubicBezTo>
                    <a:lnTo>
                      <a:pt x="500" y="1349"/>
                    </a:lnTo>
                    <a:lnTo>
                      <a:pt x="444" y="1415"/>
                    </a:lnTo>
                    <a:lnTo>
                      <a:pt x="437" y="1415"/>
                    </a:lnTo>
                    <a:cubicBezTo>
                      <a:pt x="450" y="1439"/>
                      <a:pt x="465" y="1463"/>
                      <a:pt x="480" y="1485"/>
                    </a:cubicBezTo>
                    <a:lnTo>
                      <a:pt x="481" y="1485"/>
                    </a:lnTo>
                    <a:lnTo>
                      <a:pt x="541" y="1422"/>
                    </a:lnTo>
                    <a:lnTo>
                      <a:pt x="541" y="1422"/>
                    </a:lnTo>
                    <a:lnTo>
                      <a:pt x="541" y="1422"/>
                    </a:lnTo>
                    <a:lnTo>
                      <a:pt x="555" y="1406"/>
                    </a:lnTo>
                    <a:lnTo>
                      <a:pt x="619" y="1406"/>
                    </a:lnTo>
                    <a:lnTo>
                      <a:pt x="619" y="1406"/>
                    </a:lnTo>
                    <a:lnTo>
                      <a:pt x="710" y="1406"/>
                    </a:lnTo>
                    <a:cubicBezTo>
                      <a:pt x="694" y="1388"/>
                      <a:pt x="679" y="1369"/>
                      <a:pt x="666" y="1349"/>
                    </a:cubicBezTo>
                    <a:close/>
                    <a:moveTo>
                      <a:pt x="432" y="1406"/>
                    </a:moveTo>
                    <a:lnTo>
                      <a:pt x="440" y="1406"/>
                    </a:lnTo>
                    <a:lnTo>
                      <a:pt x="496" y="1340"/>
                    </a:lnTo>
                    <a:lnTo>
                      <a:pt x="510" y="1340"/>
                    </a:lnTo>
                    <a:lnTo>
                      <a:pt x="510" y="1340"/>
                    </a:lnTo>
                    <a:lnTo>
                      <a:pt x="592" y="1340"/>
                    </a:lnTo>
                    <a:cubicBezTo>
                      <a:pt x="593" y="1343"/>
                      <a:pt x="594" y="1345"/>
                      <a:pt x="595" y="1348"/>
                    </a:cubicBezTo>
                    <a:lnTo>
                      <a:pt x="592" y="1340"/>
                    </a:lnTo>
                    <a:lnTo>
                      <a:pt x="660" y="1340"/>
                    </a:lnTo>
                    <a:cubicBezTo>
                      <a:pt x="655" y="1333"/>
                      <a:pt x="650" y="1325"/>
                      <a:pt x="645" y="1316"/>
                    </a:cubicBezTo>
                    <a:cubicBezTo>
                      <a:pt x="636" y="1301"/>
                      <a:pt x="628" y="1286"/>
                      <a:pt x="621" y="1270"/>
                    </a:cubicBezTo>
                    <a:lnTo>
                      <a:pt x="571" y="1270"/>
                    </a:lnTo>
                    <a:lnTo>
                      <a:pt x="570" y="1268"/>
                    </a:lnTo>
                    <a:lnTo>
                      <a:pt x="571" y="1270"/>
                    </a:lnTo>
                    <a:lnTo>
                      <a:pt x="571" y="1270"/>
                    </a:lnTo>
                    <a:lnTo>
                      <a:pt x="491" y="1270"/>
                    </a:lnTo>
                    <a:lnTo>
                      <a:pt x="491" y="1270"/>
                    </a:lnTo>
                    <a:lnTo>
                      <a:pt x="464" y="1270"/>
                    </a:lnTo>
                    <a:lnTo>
                      <a:pt x="410" y="1349"/>
                    </a:lnTo>
                    <a:lnTo>
                      <a:pt x="405" y="1349"/>
                    </a:lnTo>
                    <a:cubicBezTo>
                      <a:pt x="413" y="1369"/>
                      <a:pt x="422" y="1388"/>
                      <a:pt x="432" y="1406"/>
                    </a:cubicBezTo>
                    <a:close/>
                    <a:moveTo>
                      <a:pt x="722" y="1340"/>
                    </a:moveTo>
                    <a:lnTo>
                      <a:pt x="830" y="1340"/>
                    </a:lnTo>
                    <a:lnTo>
                      <a:pt x="830" y="1340"/>
                    </a:lnTo>
                    <a:lnTo>
                      <a:pt x="846" y="1340"/>
                    </a:lnTo>
                    <a:lnTo>
                      <a:pt x="846" y="1340"/>
                    </a:lnTo>
                    <a:cubicBezTo>
                      <a:pt x="850" y="1331"/>
                      <a:pt x="859" y="1324"/>
                      <a:pt x="870" y="1324"/>
                    </a:cubicBezTo>
                    <a:cubicBezTo>
                      <a:pt x="884" y="1324"/>
                      <a:pt x="895" y="1336"/>
                      <a:pt x="895" y="1350"/>
                    </a:cubicBezTo>
                    <a:cubicBezTo>
                      <a:pt x="895" y="1361"/>
                      <a:pt x="887" y="1371"/>
                      <a:pt x="877" y="1374"/>
                    </a:cubicBezTo>
                    <a:cubicBezTo>
                      <a:pt x="892" y="1386"/>
                      <a:pt x="908" y="1397"/>
                      <a:pt x="924" y="1406"/>
                    </a:cubicBezTo>
                    <a:lnTo>
                      <a:pt x="981" y="1406"/>
                    </a:lnTo>
                    <a:lnTo>
                      <a:pt x="981" y="1406"/>
                    </a:lnTo>
                    <a:lnTo>
                      <a:pt x="1072" y="1406"/>
                    </a:lnTo>
                    <a:lnTo>
                      <a:pt x="1124" y="1461"/>
                    </a:lnTo>
                    <a:cubicBezTo>
                      <a:pt x="1179" y="1462"/>
                      <a:pt x="1235" y="1451"/>
                      <a:pt x="1287" y="1429"/>
                    </a:cubicBezTo>
                    <a:lnTo>
                      <a:pt x="1307" y="1476"/>
                    </a:lnTo>
                    <a:cubicBezTo>
                      <a:pt x="1262" y="1495"/>
                      <a:pt x="1214" y="1506"/>
                      <a:pt x="1167" y="1510"/>
                    </a:cubicBezTo>
                    <a:cubicBezTo>
                      <a:pt x="1162" y="1516"/>
                      <a:pt x="1155" y="1520"/>
                      <a:pt x="1147" y="1520"/>
                    </a:cubicBezTo>
                    <a:lnTo>
                      <a:pt x="1147" y="1520"/>
                    </a:lnTo>
                    <a:cubicBezTo>
                      <a:pt x="1140" y="1520"/>
                      <a:pt x="1133" y="1517"/>
                      <a:pt x="1128" y="1512"/>
                    </a:cubicBezTo>
                    <a:cubicBezTo>
                      <a:pt x="1104" y="1512"/>
                      <a:pt x="1079" y="1510"/>
                      <a:pt x="1055" y="1506"/>
                    </a:cubicBezTo>
                    <a:cubicBezTo>
                      <a:pt x="980" y="1494"/>
                      <a:pt x="908" y="1463"/>
                      <a:pt x="847" y="1415"/>
                    </a:cubicBezTo>
                    <a:lnTo>
                      <a:pt x="789" y="1415"/>
                    </a:lnTo>
                    <a:cubicBezTo>
                      <a:pt x="812" y="1436"/>
                      <a:pt x="837" y="1454"/>
                      <a:pt x="863" y="1470"/>
                    </a:cubicBezTo>
                    <a:cubicBezTo>
                      <a:pt x="865" y="1470"/>
                      <a:pt x="867" y="1469"/>
                      <a:pt x="870" y="1469"/>
                    </a:cubicBezTo>
                    <a:cubicBezTo>
                      <a:pt x="882" y="1469"/>
                      <a:pt x="892" y="1478"/>
                      <a:pt x="895" y="1489"/>
                    </a:cubicBezTo>
                    <a:cubicBezTo>
                      <a:pt x="899" y="1491"/>
                      <a:pt x="903" y="1493"/>
                      <a:pt x="907" y="1495"/>
                    </a:cubicBezTo>
                    <a:cubicBezTo>
                      <a:pt x="998" y="1540"/>
                      <a:pt x="1101" y="1558"/>
                      <a:pt x="1202" y="1546"/>
                    </a:cubicBezTo>
                    <a:lnTo>
                      <a:pt x="1208" y="1596"/>
                    </a:lnTo>
                    <a:cubicBezTo>
                      <a:pt x="1097" y="1610"/>
                      <a:pt x="984" y="1590"/>
                      <a:pt x="884" y="1540"/>
                    </a:cubicBezTo>
                    <a:cubicBezTo>
                      <a:pt x="858" y="1527"/>
                      <a:pt x="832" y="1512"/>
                      <a:pt x="807" y="1494"/>
                    </a:cubicBezTo>
                    <a:lnTo>
                      <a:pt x="606" y="1494"/>
                    </a:lnTo>
                    <a:lnTo>
                      <a:pt x="547" y="1570"/>
                    </a:lnTo>
                    <a:cubicBezTo>
                      <a:pt x="556" y="1579"/>
                      <a:pt x="564" y="1588"/>
                      <a:pt x="573" y="1597"/>
                    </a:cubicBezTo>
                    <a:cubicBezTo>
                      <a:pt x="582" y="1606"/>
                      <a:pt x="592" y="1615"/>
                      <a:pt x="602" y="1624"/>
                    </a:cubicBezTo>
                    <a:lnTo>
                      <a:pt x="634" y="1591"/>
                    </a:lnTo>
                    <a:lnTo>
                      <a:pt x="951" y="1591"/>
                    </a:lnTo>
                    <a:lnTo>
                      <a:pt x="1011" y="1635"/>
                    </a:lnTo>
                    <a:cubicBezTo>
                      <a:pt x="1015" y="1630"/>
                      <a:pt x="1021" y="1627"/>
                      <a:pt x="1028" y="1627"/>
                    </a:cubicBezTo>
                    <a:cubicBezTo>
                      <a:pt x="1042" y="1627"/>
                      <a:pt x="1053" y="1639"/>
                      <a:pt x="1053" y="1653"/>
                    </a:cubicBezTo>
                    <a:cubicBezTo>
                      <a:pt x="1053" y="1667"/>
                      <a:pt x="1042" y="1678"/>
                      <a:pt x="1028" y="1678"/>
                    </a:cubicBezTo>
                    <a:lnTo>
                      <a:pt x="1028" y="1678"/>
                    </a:lnTo>
                    <a:cubicBezTo>
                      <a:pt x="1014" y="1678"/>
                      <a:pt x="1003" y="1667"/>
                      <a:pt x="1003" y="1653"/>
                    </a:cubicBezTo>
                    <a:cubicBezTo>
                      <a:pt x="1003" y="1649"/>
                      <a:pt x="1004" y="1645"/>
                      <a:pt x="1005" y="1642"/>
                    </a:cubicBezTo>
                    <a:lnTo>
                      <a:pt x="1005" y="1642"/>
                    </a:lnTo>
                    <a:cubicBezTo>
                      <a:pt x="1006" y="1641"/>
                      <a:pt x="1006" y="1640"/>
                      <a:pt x="1007" y="1639"/>
                    </a:cubicBezTo>
                    <a:cubicBezTo>
                      <a:pt x="1006" y="1640"/>
                      <a:pt x="1006" y="1641"/>
                      <a:pt x="1005" y="1642"/>
                    </a:cubicBezTo>
                    <a:lnTo>
                      <a:pt x="948" y="1600"/>
                    </a:lnTo>
                    <a:lnTo>
                      <a:pt x="638" y="1600"/>
                    </a:lnTo>
                    <a:lnTo>
                      <a:pt x="608" y="1630"/>
                    </a:lnTo>
                    <a:cubicBezTo>
                      <a:pt x="625" y="1645"/>
                      <a:pt x="642" y="1659"/>
                      <a:pt x="660" y="1672"/>
                    </a:cubicBezTo>
                    <a:lnTo>
                      <a:pt x="692" y="1644"/>
                    </a:lnTo>
                    <a:lnTo>
                      <a:pt x="774" y="1644"/>
                    </a:lnTo>
                    <a:lnTo>
                      <a:pt x="774" y="1644"/>
                    </a:lnTo>
                    <a:lnTo>
                      <a:pt x="785" y="1644"/>
                    </a:lnTo>
                    <a:cubicBezTo>
                      <a:pt x="788" y="1647"/>
                      <a:pt x="791" y="1649"/>
                      <a:pt x="794" y="1652"/>
                    </a:cubicBezTo>
                    <a:lnTo>
                      <a:pt x="794" y="1652"/>
                    </a:lnTo>
                    <a:lnTo>
                      <a:pt x="765" y="1652"/>
                    </a:lnTo>
                    <a:lnTo>
                      <a:pt x="765" y="1652"/>
                    </a:lnTo>
                    <a:lnTo>
                      <a:pt x="695" y="1652"/>
                    </a:lnTo>
                    <a:lnTo>
                      <a:pt x="667" y="1677"/>
                    </a:lnTo>
                    <a:cubicBezTo>
                      <a:pt x="688" y="1693"/>
                      <a:pt x="710" y="1707"/>
                      <a:pt x="732" y="1720"/>
                    </a:cubicBezTo>
                    <a:lnTo>
                      <a:pt x="742" y="1710"/>
                    </a:lnTo>
                    <a:lnTo>
                      <a:pt x="742" y="1710"/>
                    </a:lnTo>
                    <a:lnTo>
                      <a:pt x="755" y="1696"/>
                    </a:lnTo>
                    <a:lnTo>
                      <a:pt x="843" y="1696"/>
                    </a:lnTo>
                    <a:lnTo>
                      <a:pt x="843" y="1696"/>
                    </a:lnTo>
                    <a:lnTo>
                      <a:pt x="936" y="1696"/>
                    </a:lnTo>
                    <a:lnTo>
                      <a:pt x="999" y="1752"/>
                    </a:lnTo>
                    <a:cubicBezTo>
                      <a:pt x="996" y="1754"/>
                      <a:pt x="995" y="1756"/>
                      <a:pt x="993" y="1759"/>
                    </a:cubicBezTo>
                    <a:lnTo>
                      <a:pt x="993" y="1759"/>
                    </a:lnTo>
                    <a:lnTo>
                      <a:pt x="933" y="1705"/>
                    </a:lnTo>
                    <a:lnTo>
                      <a:pt x="854" y="1705"/>
                    </a:lnTo>
                    <a:cubicBezTo>
                      <a:pt x="852" y="1704"/>
                      <a:pt x="850" y="1702"/>
                      <a:pt x="848" y="1700"/>
                    </a:cubicBezTo>
                    <a:cubicBezTo>
                      <a:pt x="850" y="1702"/>
                      <a:pt x="852" y="1704"/>
                      <a:pt x="854" y="1705"/>
                    </a:cubicBezTo>
                    <a:lnTo>
                      <a:pt x="759" y="1705"/>
                    </a:lnTo>
                    <a:lnTo>
                      <a:pt x="748" y="1716"/>
                    </a:lnTo>
                    <a:lnTo>
                      <a:pt x="748" y="1716"/>
                    </a:lnTo>
                    <a:lnTo>
                      <a:pt x="747" y="1715"/>
                    </a:lnTo>
                    <a:lnTo>
                      <a:pt x="748" y="1716"/>
                    </a:lnTo>
                    <a:lnTo>
                      <a:pt x="740" y="1724"/>
                    </a:lnTo>
                    <a:cubicBezTo>
                      <a:pt x="755" y="1733"/>
                      <a:pt x="770" y="1741"/>
                      <a:pt x="786" y="1749"/>
                    </a:cubicBezTo>
                    <a:lnTo>
                      <a:pt x="845" y="1749"/>
                    </a:lnTo>
                    <a:cubicBezTo>
                      <a:pt x="845" y="1748"/>
                      <a:pt x="845" y="1746"/>
                      <a:pt x="845" y="1745"/>
                    </a:cubicBezTo>
                    <a:cubicBezTo>
                      <a:pt x="845" y="1731"/>
                      <a:pt x="856" y="1720"/>
                      <a:pt x="870" y="1720"/>
                    </a:cubicBezTo>
                    <a:cubicBezTo>
                      <a:pt x="871" y="1720"/>
                      <a:pt x="873" y="1720"/>
                      <a:pt x="874" y="1720"/>
                    </a:cubicBezTo>
                    <a:cubicBezTo>
                      <a:pt x="876" y="1721"/>
                      <a:pt x="877" y="1723"/>
                      <a:pt x="879" y="1724"/>
                    </a:cubicBezTo>
                    <a:cubicBezTo>
                      <a:pt x="877" y="1723"/>
                      <a:pt x="876" y="1721"/>
                      <a:pt x="874" y="1720"/>
                    </a:cubicBezTo>
                    <a:cubicBezTo>
                      <a:pt x="882" y="1721"/>
                      <a:pt x="889" y="1726"/>
                      <a:pt x="892" y="1733"/>
                    </a:cubicBezTo>
                    <a:lnTo>
                      <a:pt x="892" y="1733"/>
                    </a:lnTo>
                    <a:lnTo>
                      <a:pt x="890" y="1732"/>
                    </a:lnTo>
                    <a:lnTo>
                      <a:pt x="892" y="1733"/>
                    </a:lnTo>
                    <a:cubicBezTo>
                      <a:pt x="894" y="1737"/>
                      <a:pt x="895" y="1741"/>
                      <a:pt x="895" y="1745"/>
                    </a:cubicBezTo>
                    <a:cubicBezTo>
                      <a:pt x="895" y="1759"/>
                      <a:pt x="884" y="1770"/>
                      <a:pt x="870" y="1770"/>
                    </a:cubicBezTo>
                    <a:lnTo>
                      <a:pt x="870" y="1770"/>
                    </a:lnTo>
                    <a:cubicBezTo>
                      <a:pt x="861" y="1770"/>
                      <a:pt x="852" y="1765"/>
                      <a:pt x="848" y="1758"/>
                    </a:cubicBezTo>
                    <a:lnTo>
                      <a:pt x="877" y="1758"/>
                    </a:lnTo>
                    <a:lnTo>
                      <a:pt x="877" y="1749"/>
                    </a:lnTo>
                    <a:lnTo>
                      <a:pt x="877" y="1749"/>
                    </a:lnTo>
                    <a:lnTo>
                      <a:pt x="877" y="1758"/>
                    </a:lnTo>
                    <a:lnTo>
                      <a:pt x="877" y="1758"/>
                    </a:lnTo>
                    <a:lnTo>
                      <a:pt x="848" y="1758"/>
                    </a:lnTo>
                    <a:lnTo>
                      <a:pt x="848" y="1758"/>
                    </a:lnTo>
                    <a:lnTo>
                      <a:pt x="848" y="1758"/>
                    </a:lnTo>
                    <a:lnTo>
                      <a:pt x="804" y="1758"/>
                    </a:lnTo>
                    <a:cubicBezTo>
                      <a:pt x="906" y="1804"/>
                      <a:pt x="1018" y="1830"/>
                      <a:pt x="1137" y="1830"/>
                    </a:cubicBezTo>
                    <a:cubicBezTo>
                      <a:pt x="1357" y="1830"/>
                      <a:pt x="1556" y="1741"/>
                      <a:pt x="1700" y="1597"/>
                    </a:cubicBezTo>
                    <a:cubicBezTo>
                      <a:pt x="1845" y="1452"/>
                      <a:pt x="1934" y="1253"/>
                      <a:pt x="1934" y="1033"/>
                    </a:cubicBezTo>
                    <a:cubicBezTo>
                      <a:pt x="1934" y="869"/>
                      <a:pt x="1885" y="718"/>
                      <a:pt x="1801" y="591"/>
                    </a:cubicBezTo>
                    <a:lnTo>
                      <a:pt x="1716" y="679"/>
                    </a:lnTo>
                    <a:lnTo>
                      <a:pt x="1578" y="679"/>
                    </a:lnTo>
                    <a:lnTo>
                      <a:pt x="1578" y="680"/>
                    </a:lnTo>
                    <a:cubicBezTo>
                      <a:pt x="1578" y="694"/>
                      <a:pt x="1567" y="705"/>
                      <a:pt x="1553" y="705"/>
                    </a:cubicBezTo>
                    <a:lnTo>
                      <a:pt x="1553" y="705"/>
                    </a:lnTo>
                    <a:cubicBezTo>
                      <a:pt x="1539" y="705"/>
                      <a:pt x="1528" y="694"/>
                      <a:pt x="1528" y="680"/>
                    </a:cubicBezTo>
                    <a:cubicBezTo>
                      <a:pt x="1528" y="666"/>
                      <a:pt x="1539" y="655"/>
                      <a:pt x="1553" y="655"/>
                    </a:cubicBezTo>
                    <a:cubicBezTo>
                      <a:pt x="1564" y="655"/>
                      <a:pt x="1573" y="661"/>
                      <a:pt x="1576" y="671"/>
                    </a:cubicBezTo>
                    <a:lnTo>
                      <a:pt x="1712" y="671"/>
                    </a:lnTo>
                    <a:lnTo>
                      <a:pt x="1796" y="584"/>
                    </a:lnTo>
                    <a:cubicBezTo>
                      <a:pt x="1783" y="566"/>
                      <a:pt x="1770" y="548"/>
                      <a:pt x="1756" y="531"/>
                    </a:cubicBezTo>
                    <a:lnTo>
                      <a:pt x="1699" y="586"/>
                    </a:lnTo>
                    <a:lnTo>
                      <a:pt x="1698" y="585"/>
                    </a:lnTo>
                    <a:lnTo>
                      <a:pt x="1699" y="586"/>
                    </a:lnTo>
                    <a:lnTo>
                      <a:pt x="1644" y="640"/>
                    </a:lnTo>
                    <a:lnTo>
                      <a:pt x="1644" y="640"/>
                    </a:lnTo>
                    <a:lnTo>
                      <a:pt x="1625" y="640"/>
                    </a:lnTo>
                    <a:cubicBezTo>
                      <a:pt x="1622" y="638"/>
                      <a:pt x="1619" y="636"/>
                      <a:pt x="1616" y="634"/>
                    </a:cubicBezTo>
                    <a:cubicBezTo>
                      <a:pt x="1619" y="636"/>
                      <a:pt x="1622" y="638"/>
                      <a:pt x="1625" y="640"/>
                    </a:cubicBezTo>
                    <a:lnTo>
                      <a:pt x="1400" y="640"/>
                    </a:lnTo>
                    <a:cubicBezTo>
                      <a:pt x="1427" y="657"/>
                      <a:pt x="1451" y="677"/>
                      <a:pt x="1473" y="699"/>
                    </a:cubicBezTo>
                    <a:cubicBezTo>
                      <a:pt x="1556" y="782"/>
                      <a:pt x="1607" y="897"/>
                      <a:pt x="1607" y="1023"/>
                    </a:cubicBezTo>
                    <a:cubicBezTo>
                      <a:pt x="1607" y="1067"/>
                      <a:pt x="1601" y="1111"/>
                      <a:pt x="1589" y="1152"/>
                    </a:cubicBezTo>
                    <a:cubicBezTo>
                      <a:pt x="1576" y="1194"/>
                      <a:pt x="1558" y="1234"/>
                      <a:pt x="1535" y="1270"/>
                    </a:cubicBezTo>
                    <a:lnTo>
                      <a:pt x="1492" y="1243"/>
                    </a:lnTo>
                    <a:cubicBezTo>
                      <a:pt x="1513" y="1210"/>
                      <a:pt x="1529" y="1175"/>
                      <a:pt x="1540" y="1138"/>
                    </a:cubicBezTo>
                    <a:cubicBezTo>
                      <a:pt x="1551" y="1101"/>
                      <a:pt x="1556" y="1063"/>
                      <a:pt x="1556" y="1023"/>
                    </a:cubicBezTo>
                    <a:cubicBezTo>
                      <a:pt x="1556" y="911"/>
                      <a:pt x="1511" y="809"/>
                      <a:pt x="1437" y="735"/>
                    </a:cubicBezTo>
                    <a:cubicBezTo>
                      <a:pt x="1404" y="702"/>
                      <a:pt x="1365" y="674"/>
                      <a:pt x="1321" y="654"/>
                    </a:cubicBezTo>
                    <a:lnTo>
                      <a:pt x="1300" y="671"/>
                    </a:lnTo>
                    <a:cubicBezTo>
                      <a:pt x="1299" y="668"/>
                      <a:pt x="1298" y="666"/>
                      <a:pt x="1296" y="664"/>
                    </a:cubicBezTo>
                    <a:cubicBezTo>
                      <a:pt x="1298" y="666"/>
                      <a:pt x="1299" y="668"/>
                      <a:pt x="1300" y="671"/>
                    </a:cubicBezTo>
                    <a:cubicBezTo>
                      <a:pt x="1301" y="674"/>
                      <a:pt x="1301" y="677"/>
                      <a:pt x="1301" y="680"/>
                    </a:cubicBezTo>
                    <a:cubicBezTo>
                      <a:pt x="1301" y="694"/>
                      <a:pt x="1290" y="705"/>
                      <a:pt x="1276" y="705"/>
                    </a:cubicBezTo>
                    <a:lnTo>
                      <a:pt x="1276" y="705"/>
                    </a:lnTo>
                    <a:cubicBezTo>
                      <a:pt x="1262" y="705"/>
                      <a:pt x="1251" y="694"/>
                      <a:pt x="1251" y="680"/>
                    </a:cubicBezTo>
                    <a:cubicBezTo>
                      <a:pt x="1251" y="666"/>
                      <a:pt x="1262" y="655"/>
                      <a:pt x="1276" y="655"/>
                    </a:cubicBezTo>
                    <a:cubicBezTo>
                      <a:pt x="1284" y="655"/>
                      <a:pt x="1290" y="658"/>
                      <a:pt x="1295" y="663"/>
                    </a:cubicBezTo>
                    <a:lnTo>
                      <a:pt x="1295" y="663"/>
                    </a:lnTo>
                    <a:lnTo>
                      <a:pt x="1312" y="650"/>
                    </a:lnTo>
                    <a:cubicBezTo>
                      <a:pt x="1263" y="628"/>
                      <a:pt x="1207" y="616"/>
                      <a:pt x="1150" y="616"/>
                    </a:cubicBezTo>
                    <a:cubicBezTo>
                      <a:pt x="1126" y="616"/>
                      <a:pt x="1103" y="618"/>
                      <a:pt x="1081" y="622"/>
                    </a:cubicBezTo>
                    <a:cubicBezTo>
                      <a:pt x="1070" y="624"/>
                      <a:pt x="1060" y="626"/>
                      <a:pt x="1050" y="628"/>
                    </a:cubicBezTo>
                    <a:lnTo>
                      <a:pt x="1086" y="628"/>
                    </a:lnTo>
                    <a:lnTo>
                      <a:pt x="1128" y="661"/>
                    </a:lnTo>
                    <a:cubicBezTo>
                      <a:pt x="1132" y="655"/>
                      <a:pt x="1139" y="652"/>
                      <a:pt x="1147" y="652"/>
                    </a:cubicBezTo>
                    <a:cubicBezTo>
                      <a:pt x="1159" y="652"/>
                      <a:pt x="1169" y="660"/>
                      <a:pt x="1171" y="672"/>
                    </a:cubicBezTo>
                    <a:cubicBezTo>
                      <a:pt x="1175" y="672"/>
                      <a:pt x="1178" y="672"/>
                      <a:pt x="1182" y="673"/>
                    </a:cubicBezTo>
                    <a:cubicBezTo>
                      <a:pt x="1197" y="675"/>
                      <a:pt x="1212" y="677"/>
                      <a:pt x="1226" y="681"/>
                    </a:cubicBezTo>
                    <a:lnTo>
                      <a:pt x="1214" y="730"/>
                    </a:lnTo>
                    <a:cubicBezTo>
                      <a:pt x="1201" y="727"/>
                      <a:pt x="1188" y="725"/>
                      <a:pt x="1176" y="723"/>
                    </a:cubicBezTo>
                    <a:cubicBezTo>
                      <a:pt x="1164" y="721"/>
                      <a:pt x="1151" y="721"/>
                      <a:pt x="1137" y="721"/>
                    </a:cubicBezTo>
                    <a:cubicBezTo>
                      <a:pt x="1076" y="721"/>
                      <a:pt x="1019" y="739"/>
                      <a:pt x="972" y="769"/>
                    </a:cubicBezTo>
                    <a:lnTo>
                      <a:pt x="994" y="794"/>
                    </a:lnTo>
                    <a:cubicBezTo>
                      <a:pt x="999" y="788"/>
                      <a:pt x="1006" y="784"/>
                      <a:pt x="1015" y="784"/>
                    </a:cubicBezTo>
                    <a:cubicBezTo>
                      <a:pt x="1029" y="784"/>
                      <a:pt x="1040" y="795"/>
                      <a:pt x="1040" y="809"/>
                    </a:cubicBezTo>
                    <a:cubicBezTo>
                      <a:pt x="1040" y="823"/>
                      <a:pt x="1029" y="834"/>
                      <a:pt x="1015" y="834"/>
                    </a:cubicBezTo>
                    <a:lnTo>
                      <a:pt x="1015" y="834"/>
                    </a:lnTo>
                    <a:cubicBezTo>
                      <a:pt x="1001" y="834"/>
                      <a:pt x="990" y="823"/>
                      <a:pt x="990" y="809"/>
                    </a:cubicBezTo>
                    <a:cubicBezTo>
                      <a:pt x="990" y="807"/>
                      <a:pt x="990" y="805"/>
                      <a:pt x="990" y="803"/>
                    </a:cubicBezTo>
                    <a:lnTo>
                      <a:pt x="990" y="803"/>
                    </a:lnTo>
                    <a:cubicBezTo>
                      <a:pt x="991" y="802"/>
                      <a:pt x="991" y="802"/>
                      <a:pt x="991" y="801"/>
                    </a:cubicBezTo>
                    <a:cubicBezTo>
                      <a:pt x="991" y="802"/>
                      <a:pt x="991" y="802"/>
                      <a:pt x="990" y="803"/>
                    </a:cubicBezTo>
                    <a:lnTo>
                      <a:pt x="964" y="774"/>
                    </a:lnTo>
                    <a:cubicBezTo>
                      <a:pt x="961" y="777"/>
                      <a:pt x="958" y="779"/>
                      <a:pt x="954" y="781"/>
                    </a:cubicBezTo>
                    <a:cubicBezTo>
                      <a:pt x="920" y="807"/>
                      <a:pt x="891" y="841"/>
                      <a:pt x="870" y="879"/>
                    </a:cubicBezTo>
                    <a:lnTo>
                      <a:pt x="886" y="879"/>
                    </a:lnTo>
                    <a:lnTo>
                      <a:pt x="886" y="879"/>
                    </a:lnTo>
                    <a:lnTo>
                      <a:pt x="1059" y="879"/>
                    </a:lnTo>
                    <a:cubicBezTo>
                      <a:pt x="1083" y="867"/>
                      <a:pt x="1109" y="861"/>
                      <a:pt x="1137" y="861"/>
                    </a:cubicBezTo>
                    <a:cubicBezTo>
                      <a:pt x="1184" y="861"/>
                      <a:pt x="1227" y="880"/>
                      <a:pt x="1258" y="911"/>
                    </a:cubicBezTo>
                    <a:cubicBezTo>
                      <a:pt x="1289" y="942"/>
                      <a:pt x="1309" y="985"/>
                      <a:pt x="1309" y="1033"/>
                    </a:cubicBezTo>
                    <a:cubicBezTo>
                      <a:pt x="1309" y="1080"/>
                      <a:pt x="1289" y="1123"/>
                      <a:pt x="1258" y="1154"/>
                    </a:cubicBezTo>
                    <a:cubicBezTo>
                      <a:pt x="1227" y="1185"/>
                      <a:pt x="1184" y="1205"/>
                      <a:pt x="1137" y="1205"/>
                    </a:cubicBezTo>
                    <a:cubicBezTo>
                      <a:pt x="1132" y="1205"/>
                      <a:pt x="1127" y="1205"/>
                      <a:pt x="1122" y="1204"/>
                    </a:cubicBezTo>
                    <a:lnTo>
                      <a:pt x="1129" y="1212"/>
                    </a:lnTo>
                    <a:cubicBezTo>
                      <a:pt x="1127" y="1215"/>
                      <a:pt x="1126" y="1217"/>
                      <a:pt x="1124" y="1220"/>
                    </a:cubicBezTo>
                    <a:lnTo>
                      <a:pt x="1108" y="1202"/>
                    </a:lnTo>
                    <a:cubicBezTo>
                      <a:pt x="1085" y="1199"/>
                      <a:pt x="1063" y="1190"/>
                      <a:pt x="1044" y="1178"/>
                    </a:cubicBezTo>
                    <a:lnTo>
                      <a:pt x="874" y="1178"/>
                    </a:lnTo>
                    <a:cubicBezTo>
                      <a:pt x="892" y="1209"/>
                      <a:pt x="915" y="1236"/>
                      <a:pt x="943" y="1259"/>
                    </a:cubicBezTo>
                    <a:cubicBezTo>
                      <a:pt x="995" y="1303"/>
                      <a:pt x="1063" y="1329"/>
                      <a:pt x="1137" y="1329"/>
                    </a:cubicBezTo>
                    <a:cubicBezTo>
                      <a:pt x="1221" y="1329"/>
                      <a:pt x="1297" y="1295"/>
                      <a:pt x="1352" y="1240"/>
                    </a:cubicBezTo>
                    <a:cubicBezTo>
                      <a:pt x="1407" y="1185"/>
                      <a:pt x="1441" y="1109"/>
                      <a:pt x="1441" y="1025"/>
                    </a:cubicBezTo>
                    <a:cubicBezTo>
                      <a:pt x="1441" y="1005"/>
                      <a:pt x="1439" y="986"/>
                      <a:pt x="1436" y="968"/>
                    </a:cubicBezTo>
                    <a:cubicBezTo>
                      <a:pt x="1432" y="949"/>
                      <a:pt x="1427" y="931"/>
                      <a:pt x="1420" y="913"/>
                    </a:cubicBezTo>
                    <a:lnTo>
                      <a:pt x="1467" y="895"/>
                    </a:lnTo>
                    <a:cubicBezTo>
                      <a:pt x="1475" y="915"/>
                      <a:pt x="1482" y="936"/>
                      <a:pt x="1486" y="958"/>
                    </a:cubicBezTo>
                    <a:cubicBezTo>
                      <a:pt x="1490" y="980"/>
                      <a:pt x="1492" y="1002"/>
                      <a:pt x="1492" y="1025"/>
                    </a:cubicBezTo>
                    <a:cubicBezTo>
                      <a:pt x="1492" y="1123"/>
                      <a:pt x="1452" y="1212"/>
                      <a:pt x="1388" y="1276"/>
                    </a:cubicBezTo>
                    <a:cubicBezTo>
                      <a:pt x="1324" y="1340"/>
                      <a:pt x="1235" y="1380"/>
                      <a:pt x="1137" y="1380"/>
                    </a:cubicBezTo>
                    <a:cubicBezTo>
                      <a:pt x="1105" y="1380"/>
                      <a:pt x="1075" y="1376"/>
                      <a:pt x="1046" y="1368"/>
                    </a:cubicBezTo>
                    <a:cubicBezTo>
                      <a:pt x="1041" y="1372"/>
                      <a:pt x="1035" y="1375"/>
                      <a:pt x="1028" y="1375"/>
                    </a:cubicBezTo>
                    <a:lnTo>
                      <a:pt x="1028" y="1375"/>
                    </a:lnTo>
                    <a:cubicBezTo>
                      <a:pt x="1016" y="1375"/>
                      <a:pt x="1005" y="1366"/>
                      <a:pt x="1003" y="1354"/>
                    </a:cubicBezTo>
                    <a:cubicBezTo>
                      <a:pt x="969" y="1340"/>
                      <a:pt x="938" y="1321"/>
                      <a:pt x="910" y="1298"/>
                    </a:cubicBezTo>
                    <a:cubicBezTo>
                      <a:pt x="900" y="1289"/>
                      <a:pt x="890" y="1280"/>
                      <a:pt x="880" y="1270"/>
                    </a:cubicBezTo>
                    <a:lnTo>
                      <a:pt x="799" y="1270"/>
                    </a:lnTo>
                    <a:lnTo>
                      <a:pt x="799" y="1270"/>
                    </a:lnTo>
                    <a:lnTo>
                      <a:pt x="765" y="1270"/>
                    </a:lnTo>
                    <a:lnTo>
                      <a:pt x="737" y="1289"/>
                    </a:lnTo>
                    <a:cubicBezTo>
                      <a:pt x="732" y="1283"/>
                      <a:pt x="728" y="1276"/>
                      <a:pt x="724" y="1270"/>
                    </a:cubicBezTo>
                    <a:lnTo>
                      <a:pt x="677" y="1270"/>
                    </a:lnTo>
                    <a:cubicBezTo>
                      <a:pt x="681" y="1277"/>
                      <a:pt x="685" y="1284"/>
                      <a:pt x="689" y="1291"/>
                    </a:cubicBezTo>
                    <a:cubicBezTo>
                      <a:pt x="699" y="1308"/>
                      <a:pt x="710" y="1325"/>
                      <a:pt x="722" y="1340"/>
                    </a:cubicBezTo>
                    <a:close/>
                    <a:moveTo>
                      <a:pt x="864" y="1340"/>
                    </a:moveTo>
                    <a:lnTo>
                      <a:pt x="864" y="1349"/>
                    </a:lnTo>
                    <a:lnTo>
                      <a:pt x="864" y="1349"/>
                    </a:lnTo>
                    <a:lnTo>
                      <a:pt x="864" y="1340"/>
                    </a:lnTo>
                    <a:close/>
                    <a:moveTo>
                      <a:pt x="845" y="1349"/>
                    </a:moveTo>
                    <a:lnTo>
                      <a:pt x="864" y="1349"/>
                    </a:lnTo>
                    <a:moveTo>
                      <a:pt x="846" y="1235"/>
                    </a:moveTo>
                    <a:lnTo>
                      <a:pt x="846" y="1235"/>
                    </a:lnTo>
                    <a:lnTo>
                      <a:pt x="846" y="1235"/>
                    </a:lnTo>
                    <a:cubicBezTo>
                      <a:pt x="847" y="1234"/>
                      <a:pt x="847" y="1232"/>
                      <a:pt x="848" y="1231"/>
                    </a:cubicBezTo>
                    <a:cubicBezTo>
                      <a:pt x="836" y="1214"/>
                      <a:pt x="826" y="1196"/>
                      <a:pt x="817" y="1178"/>
                    </a:cubicBezTo>
                    <a:lnTo>
                      <a:pt x="774" y="1178"/>
                    </a:lnTo>
                    <a:lnTo>
                      <a:pt x="774" y="1178"/>
                    </a:lnTo>
                    <a:lnTo>
                      <a:pt x="735" y="1178"/>
                    </a:lnTo>
                    <a:cubicBezTo>
                      <a:pt x="742" y="1197"/>
                      <a:pt x="752" y="1216"/>
                      <a:pt x="762" y="1235"/>
                    </a:cubicBezTo>
                    <a:lnTo>
                      <a:pt x="787" y="1235"/>
                    </a:lnTo>
                    <a:lnTo>
                      <a:pt x="787" y="1235"/>
                    </a:lnTo>
                    <a:lnTo>
                      <a:pt x="846" y="1235"/>
                    </a:lnTo>
                    <a:close/>
                    <a:moveTo>
                      <a:pt x="401" y="1340"/>
                    </a:moveTo>
                    <a:lnTo>
                      <a:pt x="405" y="1340"/>
                    </a:lnTo>
                    <a:lnTo>
                      <a:pt x="459" y="1261"/>
                    </a:lnTo>
                    <a:lnTo>
                      <a:pt x="489" y="1261"/>
                    </a:lnTo>
                    <a:lnTo>
                      <a:pt x="489" y="1261"/>
                    </a:lnTo>
                    <a:lnTo>
                      <a:pt x="568" y="1261"/>
                    </a:lnTo>
                    <a:lnTo>
                      <a:pt x="568" y="1262"/>
                    </a:lnTo>
                    <a:lnTo>
                      <a:pt x="568" y="1261"/>
                    </a:lnTo>
                    <a:lnTo>
                      <a:pt x="617" y="1261"/>
                    </a:lnTo>
                    <a:cubicBezTo>
                      <a:pt x="614" y="1255"/>
                      <a:pt x="612" y="1249"/>
                      <a:pt x="610" y="1244"/>
                    </a:cubicBezTo>
                    <a:lnTo>
                      <a:pt x="564" y="1244"/>
                    </a:lnTo>
                    <a:lnTo>
                      <a:pt x="564" y="1244"/>
                    </a:lnTo>
                    <a:lnTo>
                      <a:pt x="485" y="1244"/>
                    </a:lnTo>
                    <a:cubicBezTo>
                      <a:pt x="484" y="1241"/>
                      <a:pt x="484" y="1238"/>
                      <a:pt x="483" y="1235"/>
                    </a:cubicBezTo>
                    <a:lnTo>
                      <a:pt x="562" y="1235"/>
                    </a:lnTo>
                    <a:lnTo>
                      <a:pt x="562" y="1235"/>
                    </a:lnTo>
                    <a:lnTo>
                      <a:pt x="606" y="1235"/>
                    </a:lnTo>
                    <a:cubicBezTo>
                      <a:pt x="599" y="1216"/>
                      <a:pt x="593" y="1197"/>
                      <a:pt x="588" y="1178"/>
                    </a:cubicBezTo>
                    <a:lnTo>
                      <a:pt x="553" y="1178"/>
                    </a:lnTo>
                    <a:cubicBezTo>
                      <a:pt x="552" y="1175"/>
                      <a:pt x="552" y="1172"/>
                      <a:pt x="551" y="1170"/>
                    </a:cubicBezTo>
                    <a:cubicBezTo>
                      <a:pt x="552" y="1172"/>
                      <a:pt x="552" y="1175"/>
                      <a:pt x="553" y="1178"/>
                    </a:cubicBezTo>
                    <a:lnTo>
                      <a:pt x="553" y="1178"/>
                    </a:lnTo>
                    <a:lnTo>
                      <a:pt x="474" y="1178"/>
                    </a:lnTo>
                    <a:lnTo>
                      <a:pt x="474" y="1178"/>
                    </a:lnTo>
                    <a:lnTo>
                      <a:pt x="474" y="1178"/>
                    </a:lnTo>
                    <a:lnTo>
                      <a:pt x="352" y="1178"/>
                    </a:lnTo>
                    <a:cubicBezTo>
                      <a:pt x="356" y="1197"/>
                      <a:pt x="360" y="1216"/>
                      <a:pt x="365" y="1235"/>
                    </a:cubicBezTo>
                    <a:lnTo>
                      <a:pt x="483" y="1235"/>
                    </a:lnTo>
                    <a:cubicBezTo>
                      <a:pt x="484" y="1238"/>
                      <a:pt x="484" y="1241"/>
                      <a:pt x="485" y="1244"/>
                    </a:cubicBezTo>
                    <a:lnTo>
                      <a:pt x="485" y="1244"/>
                    </a:lnTo>
                    <a:lnTo>
                      <a:pt x="368" y="1244"/>
                    </a:lnTo>
                    <a:cubicBezTo>
                      <a:pt x="377" y="1277"/>
                      <a:pt x="388" y="1309"/>
                      <a:pt x="401" y="1340"/>
                    </a:cubicBezTo>
                    <a:close/>
                    <a:moveTo>
                      <a:pt x="673" y="1261"/>
                    </a:moveTo>
                    <a:lnTo>
                      <a:pt x="719" y="1261"/>
                    </a:lnTo>
                    <a:cubicBezTo>
                      <a:pt x="716" y="1255"/>
                      <a:pt x="712" y="1250"/>
                      <a:pt x="709" y="1244"/>
                    </a:cubicBezTo>
                    <a:lnTo>
                      <a:pt x="665" y="1244"/>
                    </a:lnTo>
                    <a:cubicBezTo>
                      <a:pt x="667" y="1249"/>
                      <a:pt x="670" y="1255"/>
                      <a:pt x="673" y="1261"/>
                    </a:cubicBezTo>
                    <a:close/>
                    <a:moveTo>
                      <a:pt x="778" y="1261"/>
                    </a:moveTo>
                    <a:lnTo>
                      <a:pt x="796" y="1261"/>
                    </a:lnTo>
                    <a:cubicBezTo>
                      <a:pt x="796" y="1263"/>
                      <a:pt x="797" y="1265"/>
                      <a:pt x="798" y="1266"/>
                    </a:cubicBezTo>
                    <a:lnTo>
                      <a:pt x="796" y="1261"/>
                    </a:lnTo>
                    <a:lnTo>
                      <a:pt x="851" y="1261"/>
                    </a:lnTo>
                    <a:cubicBezTo>
                      <a:pt x="847" y="1257"/>
                      <a:pt x="845" y="1251"/>
                      <a:pt x="845" y="1244"/>
                    </a:cubicBezTo>
                    <a:cubicBezTo>
                      <a:pt x="845" y="1244"/>
                      <a:pt x="845" y="1244"/>
                      <a:pt x="845" y="1244"/>
                    </a:cubicBezTo>
                    <a:lnTo>
                      <a:pt x="790" y="1244"/>
                    </a:lnTo>
                    <a:lnTo>
                      <a:pt x="789" y="1241"/>
                    </a:lnTo>
                    <a:lnTo>
                      <a:pt x="790" y="1244"/>
                    </a:lnTo>
                    <a:lnTo>
                      <a:pt x="767" y="1244"/>
                    </a:lnTo>
                    <a:cubicBezTo>
                      <a:pt x="771" y="1249"/>
                      <a:pt x="775" y="1255"/>
                      <a:pt x="779" y="1261"/>
                    </a:cubicBezTo>
                    <a:lnTo>
                      <a:pt x="778" y="1261"/>
                    </a:lnTo>
                    <a:close/>
                    <a:moveTo>
                      <a:pt x="661" y="1235"/>
                    </a:moveTo>
                    <a:lnTo>
                      <a:pt x="705" y="1235"/>
                    </a:lnTo>
                    <a:cubicBezTo>
                      <a:pt x="695" y="1216"/>
                      <a:pt x="687" y="1197"/>
                      <a:pt x="681" y="1178"/>
                    </a:cubicBezTo>
                    <a:lnTo>
                      <a:pt x="640" y="1178"/>
                    </a:lnTo>
                    <a:cubicBezTo>
                      <a:pt x="646" y="1197"/>
                      <a:pt x="653" y="1216"/>
                      <a:pt x="661" y="1235"/>
                    </a:cubicBezTo>
                    <a:close/>
                    <a:moveTo>
                      <a:pt x="878" y="1268"/>
                    </a:moveTo>
                    <a:lnTo>
                      <a:pt x="878" y="1268"/>
                    </a:lnTo>
                    <a:cubicBezTo>
                      <a:pt x="878" y="1268"/>
                      <a:pt x="878" y="1268"/>
                      <a:pt x="878" y="1268"/>
                    </a:cubicBezTo>
                    <a:close/>
                    <a:moveTo>
                      <a:pt x="351" y="1169"/>
                    </a:moveTo>
                    <a:lnTo>
                      <a:pt x="473" y="1169"/>
                    </a:lnTo>
                    <a:cubicBezTo>
                      <a:pt x="473" y="1170"/>
                      <a:pt x="473" y="1171"/>
                      <a:pt x="474" y="1172"/>
                    </a:cubicBezTo>
                    <a:lnTo>
                      <a:pt x="473" y="1169"/>
                    </a:lnTo>
                    <a:lnTo>
                      <a:pt x="551" y="1169"/>
                    </a:lnTo>
                    <a:lnTo>
                      <a:pt x="551" y="1169"/>
                    </a:lnTo>
                    <a:lnTo>
                      <a:pt x="585" y="1169"/>
                    </a:lnTo>
                    <a:cubicBezTo>
                      <a:pt x="585" y="1166"/>
                      <a:pt x="584" y="1163"/>
                      <a:pt x="583" y="1160"/>
                    </a:cubicBezTo>
                    <a:cubicBezTo>
                      <a:pt x="578" y="1135"/>
                      <a:pt x="574" y="1110"/>
                      <a:pt x="571" y="1085"/>
                    </a:cubicBezTo>
                    <a:lnTo>
                      <a:pt x="341" y="1085"/>
                    </a:lnTo>
                    <a:cubicBezTo>
                      <a:pt x="343" y="1114"/>
                      <a:pt x="346" y="1142"/>
                      <a:pt x="351" y="1169"/>
                    </a:cubicBezTo>
                    <a:close/>
                    <a:moveTo>
                      <a:pt x="638" y="1169"/>
                    </a:moveTo>
                    <a:lnTo>
                      <a:pt x="678" y="1169"/>
                    </a:lnTo>
                    <a:cubicBezTo>
                      <a:pt x="669" y="1142"/>
                      <a:pt x="663" y="1114"/>
                      <a:pt x="660" y="1085"/>
                    </a:cubicBezTo>
                    <a:lnTo>
                      <a:pt x="622" y="1085"/>
                    </a:lnTo>
                    <a:cubicBezTo>
                      <a:pt x="624" y="1107"/>
                      <a:pt x="628" y="1128"/>
                      <a:pt x="633" y="1149"/>
                    </a:cubicBezTo>
                    <a:cubicBezTo>
                      <a:pt x="634" y="1155"/>
                      <a:pt x="636" y="1162"/>
                      <a:pt x="638" y="1169"/>
                    </a:cubicBezTo>
                    <a:close/>
                    <a:moveTo>
                      <a:pt x="732" y="1169"/>
                    </a:moveTo>
                    <a:lnTo>
                      <a:pt x="772" y="1169"/>
                    </a:lnTo>
                    <a:lnTo>
                      <a:pt x="772" y="1169"/>
                    </a:lnTo>
                    <a:lnTo>
                      <a:pt x="813" y="1169"/>
                    </a:lnTo>
                    <a:cubicBezTo>
                      <a:pt x="801" y="1144"/>
                      <a:pt x="793" y="1118"/>
                      <a:pt x="788" y="1090"/>
                    </a:cubicBezTo>
                    <a:lnTo>
                      <a:pt x="813" y="1085"/>
                    </a:lnTo>
                    <a:lnTo>
                      <a:pt x="711" y="1085"/>
                    </a:lnTo>
                    <a:cubicBezTo>
                      <a:pt x="715" y="1114"/>
                      <a:pt x="722" y="1142"/>
                      <a:pt x="732" y="1169"/>
                    </a:cubicBezTo>
                    <a:close/>
                    <a:moveTo>
                      <a:pt x="869" y="1169"/>
                    </a:moveTo>
                    <a:lnTo>
                      <a:pt x="1032" y="1169"/>
                    </a:lnTo>
                    <a:cubicBezTo>
                      <a:pt x="1026" y="1164"/>
                      <a:pt x="1020" y="1160"/>
                      <a:pt x="1015" y="1154"/>
                    </a:cubicBezTo>
                    <a:cubicBezTo>
                      <a:pt x="987" y="1126"/>
                      <a:pt x="968" y="1088"/>
                      <a:pt x="965" y="1045"/>
                    </a:cubicBezTo>
                    <a:lnTo>
                      <a:pt x="939" y="1019"/>
                    </a:lnTo>
                    <a:lnTo>
                      <a:pt x="708" y="1019"/>
                    </a:lnTo>
                    <a:cubicBezTo>
                      <a:pt x="707" y="1039"/>
                      <a:pt x="708" y="1058"/>
                      <a:pt x="710" y="1077"/>
                    </a:cubicBezTo>
                    <a:lnTo>
                      <a:pt x="846" y="1077"/>
                    </a:lnTo>
                    <a:cubicBezTo>
                      <a:pt x="850" y="1067"/>
                      <a:pt x="859" y="1061"/>
                      <a:pt x="870" y="1061"/>
                    </a:cubicBezTo>
                    <a:cubicBezTo>
                      <a:pt x="884" y="1061"/>
                      <a:pt x="895" y="1072"/>
                      <a:pt x="895" y="1086"/>
                    </a:cubicBezTo>
                    <a:cubicBezTo>
                      <a:pt x="895" y="1100"/>
                      <a:pt x="884" y="1111"/>
                      <a:pt x="870" y="1111"/>
                    </a:cubicBezTo>
                    <a:lnTo>
                      <a:pt x="870" y="1111"/>
                    </a:lnTo>
                    <a:cubicBezTo>
                      <a:pt x="856" y="1111"/>
                      <a:pt x="845" y="1100"/>
                      <a:pt x="845" y="1086"/>
                    </a:cubicBezTo>
                    <a:lnTo>
                      <a:pt x="845" y="1085"/>
                    </a:lnTo>
                    <a:lnTo>
                      <a:pt x="839" y="1085"/>
                    </a:lnTo>
                    <a:cubicBezTo>
                      <a:pt x="845" y="1115"/>
                      <a:pt x="855" y="1143"/>
                      <a:pt x="869" y="1169"/>
                    </a:cubicBezTo>
                    <a:close/>
                    <a:moveTo>
                      <a:pt x="773" y="1175"/>
                    </a:moveTo>
                    <a:cubicBezTo>
                      <a:pt x="773" y="1174"/>
                      <a:pt x="773" y="1172"/>
                      <a:pt x="772" y="1171"/>
                    </a:cubicBezTo>
                    <a:cubicBezTo>
                      <a:pt x="773" y="1172"/>
                      <a:pt x="773" y="1174"/>
                      <a:pt x="773" y="1175"/>
                    </a:cubicBezTo>
                    <a:close/>
                    <a:moveTo>
                      <a:pt x="989" y="1415"/>
                    </a:moveTo>
                    <a:lnTo>
                      <a:pt x="940" y="1415"/>
                    </a:lnTo>
                    <a:cubicBezTo>
                      <a:pt x="979" y="1435"/>
                      <a:pt x="1020" y="1449"/>
                      <a:pt x="1063" y="1456"/>
                    </a:cubicBezTo>
                    <a:cubicBezTo>
                      <a:pt x="1079" y="1458"/>
                      <a:pt x="1095" y="1460"/>
                      <a:pt x="1112" y="1461"/>
                    </a:cubicBezTo>
                    <a:lnTo>
                      <a:pt x="1068" y="1415"/>
                    </a:lnTo>
                    <a:lnTo>
                      <a:pt x="989" y="1415"/>
                    </a:lnTo>
                    <a:lnTo>
                      <a:pt x="989" y="1415"/>
                    </a:lnTo>
                    <a:close/>
                    <a:moveTo>
                      <a:pt x="718" y="1415"/>
                    </a:moveTo>
                    <a:lnTo>
                      <a:pt x="623" y="1415"/>
                    </a:lnTo>
                    <a:lnTo>
                      <a:pt x="623" y="1415"/>
                    </a:lnTo>
                    <a:lnTo>
                      <a:pt x="559" y="1415"/>
                    </a:lnTo>
                    <a:lnTo>
                      <a:pt x="545" y="1430"/>
                    </a:lnTo>
                    <a:lnTo>
                      <a:pt x="545" y="1430"/>
                    </a:lnTo>
                    <a:lnTo>
                      <a:pt x="486" y="1493"/>
                    </a:lnTo>
                    <a:cubicBezTo>
                      <a:pt x="503" y="1518"/>
                      <a:pt x="522" y="1541"/>
                      <a:pt x="541" y="1563"/>
                    </a:cubicBezTo>
                    <a:lnTo>
                      <a:pt x="601" y="1485"/>
                    </a:lnTo>
                    <a:lnTo>
                      <a:pt x="795" y="1485"/>
                    </a:lnTo>
                    <a:cubicBezTo>
                      <a:pt x="767" y="1465"/>
                      <a:pt x="741" y="1441"/>
                      <a:pt x="718" y="1415"/>
                    </a:cubicBezTo>
                    <a:close/>
                    <a:moveTo>
                      <a:pt x="863" y="954"/>
                    </a:moveTo>
                    <a:lnTo>
                      <a:pt x="863" y="954"/>
                    </a:lnTo>
                    <a:lnTo>
                      <a:pt x="863" y="954"/>
                    </a:lnTo>
                    <a:lnTo>
                      <a:pt x="853" y="954"/>
                    </a:lnTo>
                    <a:lnTo>
                      <a:pt x="845" y="954"/>
                    </a:lnTo>
                    <a:lnTo>
                      <a:pt x="845" y="953"/>
                    </a:lnTo>
                    <a:lnTo>
                      <a:pt x="845" y="953"/>
                    </a:lnTo>
                    <a:lnTo>
                      <a:pt x="845" y="953"/>
                    </a:lnTo>
                    <a:lnTo>
                      <a:pt x="845" y="953"/>
                    </a:lnTo>
                    <a:lnTo>
                      <a:pt x="845" y="953"/>
                    </a:lnTo>
                    <a:lnTo>
                      <a:pt x="845" y="953"/>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1"/>
                    </a:lnTo>
                    <a:lnTo>
                      <a:pt x="845" y="951"/>
                    </a:lnTo>
                    <a:cubicBezTo>
                      <a:pt x="845" y="949"/>
                      <a:pt x="846" y="947"/>
                      <a:pt x="846" y="945"/>
                    </a:cubicBezTo>
                    <a:lnTo>
                      <a:pt x="846" y="945"/>
                    </a:lnTo>
                    <a:lnTo>
                      <a:pt x="865" y="945"/>
                    </a:lnTo>
                    <a:lnTo>
                      <a:pt x="865" y="945"/>
                    </a:lnTo>
                    <a:lnTo>
                      <a:pt x="865" y="945"/>
                    </a:lnTo>
                    <a:cubicBezTo>
                      <a:pt x="864" y="947"/>
                      <a:pt x="864" y="948"/>
                      <a:pt x="863" y="950"/>
                    </a:cubicBezTo>
                    <a:lnTo>
                      <a:pt x="863" y="950"/>
                    </a:lnTo>
                    <a:lnTo>
                      <a:pt x="863" y="951"/>
                    </a:lnTo>
                    <a:lnTo>
                      <a:pt x="863" y="951"/>
                    </a:lnTo>
                    <a:lnTo>
                      <a:pt x="863" y="951"/>
                    </a:lnTo>
                    <a:lnTo>
                      <a:pt x="863" y="951"/>
                    </a:lnTo>
                    <a:lnTo>
                      <a:pt x="863" y="951"/>
                    </a:lnTo>
                    <a:lnTo>
                      <a:pt x="863" y="951"/>
                    </a:lnTo>
                    <a:lnTo>
                      <a:pt x="863" y="951"/>
                    </a:lnTo>
                    <a:lnTo>
                      <a:pt x="863" y="951"/>
                    </a:lnTo>
                    <a:lnTo>
                      <a:pt x="863" y="952"/>
                    </a:lnTo>
                    <a:lnTo>
                      <a:pt x="863" y="952"/>
                    </a:lnTo>
                    <a:lnTo>
                      <a:pt x="863" y="952"/>
                    </a:lnTo>
                    <a:lnTo>
                      <a:pt x="863" y="952"/>
                    </a:lnTo>
                    <a:lnTo>
                      <a:pt x="863" y="952"/>
                    </a:lnTo>
                    <a:lnTo>
                      <a:pt x="863" y="952"/>
                    </a:lnTo>
                    <a:lnTo>
                      <a:pt x="863" y="952"/>
                    </a:lnTo>
                    <a:lnTo>
                      <a:pt x="863" y="952"/>
                    </a:lnTo>
                    <a:lnTo>
                      <a:pt x="863" y="953"/>
                    </a:lnTo>
                    <a:lnTo>
                      <a:pt x="863" y="953"/>
                    </a:lnTo>
                    <a:lnTo>
                      <a:pt x="863" y="953"/>
                    </a:lnTo>
                    <a:lnTo>
                      <a:pt x="863" y="953"/>
                    </a:lnTo>
                    <a:lnTo>
                      <a:pt x="863" y="953"/>
                    </a:lnTo>
                    <a:lnTo>
                      <a:pt x="863" y="953"/>
                    </a:lnTo>
                    <a:lnTo>
                      <a:pt x="863" y="953"/>
                    </a:lnTo>
                    <a:lnTo>
                      <a:pt x="863" y="953"/>
                    </a:lnTo>
                    <a:lnTo>
                      <a:pt x="863" y="953"/>
                    </a:lnTo>
                    <a:lnTo>
                      <a:pt x="863" y="953"/>
                    </a:lnTo>
                    <a:lnTo>
                      <a:pt x="863" y="954"/>
                    </a:lnTo>
                    <a:lnTo>
                      <a:pt x="863" y="954"/>
                    </a:lnTo>
                    <a:close/>
                    <a:moveTo>
                      <a:pt x="860" y="966"/>
                    </a:moveTo>
                    <a:lnTo>
                      <a:pt x="846" y="963"/>
                    </a:lnTo>
                    <a:cubicBezTo>
                      <a:pt x="845" y="961"/>
                      <a:pt x="845" y="957"/>
                      <a:pt x="845" y="954"/>
                    </a:cubicBezTo>
                    <a:lnTo>
                      <a:pt x="845" y="954"/>
                    </a:lnTo>
                    <a:lnTo>
                      <a:pt x="797" y="954"/>
                    </a:lnTo>
                    <a:lnTo>
                      <a:pt x="797" y="954"/>
                    </a:lnTo>
                    <a:lnTo>
                      <a:pt x="715" y="954"/>
                    </a:lnTo>
                    <a:moveTo>
                      <a:pt x="663" y="954"/>
                    </a:moveTo>
                    <a:lnTo>
                      <a:pt x="480" y="954"/>
                    </a:lnTo>
                    <a:lnTo>
                      <a:pt x="360" y="852"/>
                    </a:lnTo>
                    <a:moveTo>
                      <a:pt x="339" y="742"/>
                    </a:moveTo>
                    <a:lnTo>
                      <a:pt x="338" y="741"/>
                    </a:lnTo>
                    <a:cubicBezTo>
                      <a:pt x="338" y="739"/>
                      <a:pt x="339" y="737"/>
                      <a:pt x="339" y="736"/>
                    </a:cubicBezTo>
                    <a:cubicBezTo>
                      <a:pt x="339" y="737"/>
                      <a:pt x="338" y="739"/>
                      <a:pt x="338" y="741"/>
                    </a:cubicBezTo>
                    <a:lnTo>
                      <a:pt x="338" y="741"/>
                    </a:lnTo>
                    <a:lnTo>
                      <a:pt x="203" y="602"/>
                    </a:lnTo>
                    <a:moveTo>
                      <a:pt x="208" y="593"/>
                    </a:moveTo>
                    <a:lnTo>
                      <a:pt x="340" y="731"/>
                    </a:lnTo>
                    <a:lnTo>
                      <a:pt x="340" y="731"/>
                    </a:lnTo>
                    <a:lnTo>
                      <a:pt x="343" y="733"/>
                    </a:lnTo>
                    <a:moveTo>
                      <a:pt x="362" y="843"/>
                    </a:moveTo>
                    <a:lnTo>
                      <a:pt x="483" y="945"/>
                    </a:lnTo>
                    <a:lnTo>
                      <a:pt x="665" y="945"/>
                    </a:lnTo>
                    <a:moveTo>
                      <a:pt x="717" y="945"/>
                    </a:moveTo>
                    <a:lnTo>
                      <a:pt x="776" y="945"/>
                    </a:lnTo>
                    <a:cubicBezTo>
                      <a:pt x="775" y="946"/>
                      <a:pt x="775" y="948"/>
                      <a:pt x="775" y="949"/>
                    </a:cubicBezTo>
                    <a:lnTo>
                      <a:pt x="792" y="952"/>
                    </a:lnTo>
                    <a:lnTo>
                      <a:pt x="775" y="949"/>
                    </a:lnTo>
                    <a:cubicBezTo>
                      <a:pt x="775" y="948"/>
                      <a:pt x="775" y="946"/>
                      <a:pt x="776" y="945"/>
                    </a:cubicBezTo>
                    <a:lnTo>
                      <a:pt x="846" y="945"/>
                    </a:lnTo>
                    <a:cubicBezTo>
                      <a:pt x="846" y="947"/>
                      <a:pt x="845" y="949"/>
                      <a:pt x="845" y="951"/>
                    </a:cubicBezTo>
                    <a:moveTo>
                      <a:pt x="863" y="954"/>
                    </a:moveTo>
                    <a:lnTo>
                      <a:pt x="862" y="955"/>
                    </a:lnTo>
                    <a:lnTo>
                      <a:pt x="863" y="954"/>
                    </a:lnTo>
                    <a:moveTo>
                      <a:pt x="865" y="945"/>
                    </a:moveTo>
                    <a:lnTo>
                      <a:pt x="865" y="945"/>
                    </a:lnTo>
                    <a:lnTo>
                      <a:pt x="865" y="945"/>
                    </a:lnTo>
                    <a:lnTo>
                      <a:pt x="865" y="945"/>
                    </a:lnTo>
                    <a:lnTo>
                      <a:pt x="865" y="944"/>
                    </a:lnTo>
                    <a:lnTo>
                      <a:pt x="865" y="944"/>
                    </a:lnTo>
                    <a:lnTo>
                      <a:pt x="865" y="944"/>
                    </a:lnTo>
                    <a:lnTo>
                      <a:pt x="865" y="944"/>
                    </a:lnTo>
                    <a:lnTo>
                      <a:pt x="865" y="944"/>
                    </a:lnTo>
                    <a:lnTo>
                      <a:pt x="865" y="943"/>
                    </a:lnTo>
                    <a:lnTo>
                      <a:pt x="865" y="943"/>
                    </a:lnTo>
                    <a:lnTo>
                      <a:pt x="865" y="943"/>
                    </a:lnTo>
                    <a:lnTo>
                      <a:pt x="865" y="943"/>
                    </a:lnTo>
                    <a:lnTo>
                      <a:pt x="865" y="943"/>
                    </a:lnTo>
                    <a:lnTo>
                      <a:pt x="865" y="943"/>
                    </a:lnTo>
                    <a:lnTo>
                      <a:pt x="865" y="943"/>
                    </a:lnTo>
                    <a:lnTo>
                      <a:pt x="865" y="942"/>
                    </a:lnTo>
                    <a:lnTo>
                      <a:pt x="865" y="942"/>
                    </a:lnTo>
                    <a:lnTo>
                      <a:pt x="865" y="942"/>
                    </a:lnTo>
                    <a:lnTo>
                      <a:pt x="865" y="942"/>
                    </a:lnTo>
                    <a:lnTo>
                      <a:pt x="865" y="942"/>
                    </a:lnTo>
                    <a:lnTo>
                      <a:pt x="865" y="942"/>
                    </a:lnTo>
                    <a:lnTo>
                      <a:pt x="865" y="942"/>
                    </a:lnTo>
                    <a:lnTo>
                      <a:pt x="866" y="941"/>
                    </a:lnTo>
                    <a:lnTo>
                      <a:pt x="866" y="941"/>
                    </a:lnTo>
                    <a:lnTo>
                      <a:pt x="866" y="941"/>
                    </a:lnTo>
                    <a:lnTo>
                      <a:pt x="866" y="941"/>
                    </a:lnTo>
                    <a:lnTo>
                      <a:pt x="866" y="941"/>
                    </a:lnTo>
                    <a:lnTo>
                      <a:pt x="866" y="941"/>
                    </a:lnTo>
                    <a:lnTo>
                      <a:pt x="866" y="941"/>
                    </a:lnTo>
                    <a:lnTo>
                      <a:pt x="866" y="941"/>
                    </a:lnTo>
                    <a:lnTo>
                      <a:pt x="866" y="940"/>
                    </a:lnTo>
                    <a:lnTo>
                      <a:pt x="866" y="940"/>
                    </a:lnTo>
                    <a:lnTo>
                      <a:pt x="866" y="940"/>
                    </a:lnTo>
                    <a:lnTo>
                      <a:pt x="866" y="940"/>
                    </a:lnTo>
                    <a:lnTo>
                      <a:pt x="866" y="940"/>
                    </a:lnTo>
                    <a:lnTo>
                      <a:pt x="866" y="940"/>
                    </a:lnTo>
                    <a:lnTo>
                      <a:pt x="866" y="940"/>
                    </a:lnTo>
                    <a:lnTo>
                      <a:pt x="866" y="940"/>
                    </a:lnTo>
                    <a:lnTo>
                      <a:pt x="866" y="939"/>
                    </a:lnTo>
                    <a:lnTo>
                      <a:pt x="866" y="939"/>
                    </a:lnTo>
                    <a:lnTo>
                      <a:pt x="866" y="939"/>
                    </a:lnTo>
                    <a:lnTo>
                      <a:pt x="866" y="939"/>
                    </a:lnTo>
                    <a:lnTo>
                      <a:pt x="866" y="939"/>
                    </a:lnTo>
                    <a:lnTo>
                      <a:pt x="866" y="939"/>
                    </a:lnTo>
                    <a:lnTo>
                      <a:pt x="867" y="938"/>
                    </a:lnTo>
                    <a:lnTo>
                      <a:pt x="867" y="938"/>
                    </a:lnTo>
                    <a:lnTo>
                      <a:pt x="867" y="937"/>
                    </a:lnTo>
                    <a:lnTo>
                      <a:pt x="867" y="937"/>
                    </a:lnTo>
                    <a:lnTo>
                      <a:pt x="867" y="937"/>
                    </a:lnTo>
                    <a:lnTo>
                      <a:pt x="867" y="937"/>
                    </a:lnTo>
                    <a:lnTo>
                      <a:pt x="867" y="937"/>
                    </a:lnTo>
                    <a:lnTo>
                      <a:pt x="867" y="936"/>
                    </a:lnTo>
                    <a:lnTo>
                      <a:pt x="867" y="936"/>
                    </a:lnTo>
                    <a:lnTo>
                      <a:pt x="867" y="936"/>
                    </a:lnTo>
                    <a:lnTo>
                      <a:pt x="867" y="935"/>
                    </a:lnTo>
                    <a:lnTo>
                      <a:pt x="867" y="935"/>
                    </a:lnTo>
                    <a:lnTo>
                      <a:pt x="867" y="935"/>
                    </a:lnTo>
                    <a:lnTo>
                      <a:pt x="867" y="935"/>
                    </a:lnTo>
                    <a:lnTo>
                      <a:pt x="867" y="935"/>
                    </a:lnTo>
                    <a:lnTo>
                      <a:pt x="867" y="935"/>
                    </a:lnTo>
                    <a:lnTo>
                      <a:pt x="867" y="934"/>
                    </a:lnTo>
                    <a:lnTo>
                      <a:pt x="867" y="934"/>
                    </a:lnTo>
                    <a:lnTo>
                      <a:pt x="868" y="934"/>
                    </a:lnTo>
                    <a:lnTo>
                      <a:pt x="868" y="934"/>
                    </a:lnTo>
                    <a:lnTo>
                      <a:pt x="868" y="933"/>
                    </a:lnTo>
                    <a:lnTo>
                      <a:pt x="868" y="933"/>
                    </a:lnTo>
                    <a:lnTo>
                      <a:pt x="868" y="933"/>
                    </a:lnTo>
                    <a:lnTo>
                      <a:pt x="868" y="933"/>
                    </a:lnTo>
                    <a:lnTo>
                      <a:pt x="868" y="933"/>
                    </a:lnTo>
                    <a:lnTo>
                      <a:pt x="868" y="933"/>
                    </a:lnTo>
                    <a:lnTo>
                      <a:pt x="868" y="933"/>
                    </a:lnTo>
                    <a:lnTo>
                      <a:pt x="868" y="933"/>
                    </a:lnTo>
                    <a:lnTo>
                      <a:pt x="868" y="932"/>
                    </a:lnTo>
                    <a:lnTo>
                      <a:pt x="868" y="932"/>
                    </a:lnTo>
                    <a:lnTo>
                      <a:pt x="868" y="932"/>
                    </a:lnTo>
                    <a:lnTo>
                      <a:pt x="868" y="932"/>
                    </a:lnTo>
                    <a:lnTo>
                      <a:pt x="868" y="932"/>
                    </a:lnTo>
                    <a:lnTo>
                      <a:pt x="868" y="932"/>
                    </a:lnTo>
                    <a:lnTo>
                      <a:pt x="868" y="932"/>
                    </a:lnTo>
                    <a:lnTo>
                      <a:pt x="868" y="931"/>
                    </a:lnTo>
                    <a:lnTo>
                      <a:pt x="868" y="931"/>
                    </a:lnTo>
                    <a:lnTo>
                      <a:pt x="868" y="931"/>
                    </a:lnTo>
                    <a:lnTo>
                      <a:pt x="868" y="931"/>
                    </a:lnTo>
                    <a:lnTo>
                      <a:pt x="868" y="931"/>
                    </a:lnTo>
                    <a:lnTo>
                      <a:pt x="868" y="931"/>
                    </a:lnTo>
                    <a:lnTo>
                      <a:pt x="868" y="930"/>
                    </a:lnTo>
                    <a:lnTo>
                      <a:pt x="869" y="930"/>
                    </a:lnTo>
                    <a:lnTo>
                      <a:pt x="869" y="930"/>
                    </a:lnTo>
                    <a:lnTo>
                      <a:pt x="869" y="930"/>
                    </a:lnTo>
                    <a:lnTo>
                      <a:pt x="869" y="930"/>
                    </a:lnTo>
                    <a:lnTo>
                      <a:pt x="869" y="929"/>
                    </a:lnTo>
                    <a:lnTo>
                      <a:pt x="869" y="929"/>
                    </a:lnTo>
                    <a:lnTo>
                      <a:pt x="869" y="929"/>
                    </a:lnTo>
                    <a:lnTo>
                      <a:pt x="869" y="929"/>
                    </a:lnTo>
                    <a:lnTo>
                      <a:pt x="869" y="929"/>
                    </a:lnTo>
                    <a:lnTo>
                      <a:pt x="869" y="929"/>
                    </a:lnTo>
                    <a:cubicBezTo>
                      <a:pt x="859" y="929"/>
                      <a:pt x="850" y="936"/>
                      <a:pt x="846" y="945"/>
                    </a:cubicBezTo>
                    <a:moveTo>
                      <a:pt x="861" y="959"/>
                    </a:moveTo>
                    <a:cubicBezTo>
                      <a:pt x="861" y="961"/>
                      <a:pt x="860" y="964"/>
                      <a:pt x="860" y="966"/>
                    </a:cubicBezTo>
                    <a:moveTo>
                      <a:pt x="856" y="808"/>
                    </a:moveTo>
                    <a:lnTo>
                      <a:pt x="845" y="808"/>
                    </a:lnTo>
                    <a:lnTo>
                      <a:pt x="845" y="808"/>
                    </a:lnTo>
                    <a:lnTo>
                      <a:pt x="845" y="808"/>
                    </a:lnTo>
                    <a:lnTo>
                      <a:pt x="845" y="808"/>
                    </a:lnTo>
                    <a:lnTo>
                      <a:pt x="822" y="808"/>
                    </a:lnTo>
                    <a:cubicBezTo>
                      <a:pt x="824" y="806"/>
                      <a:pt x="825" y="803"/>
                      <a:pt x="827" y="800"/>
                    </a:cubicBezTo>
                    <a:lnTo>
                      <a:pt x="846" y="800"/>
                    </a:lnTo>
                    <a:lnTo>
                      <a:pt x="846" y="800"/>
                    </a:lnTo>
                    <a:lnTo>
                      <a:pt x="846" y="800"/>
                    </a:lnTo>
                    <a:lnTo>
                      <a:pt x="846" y="800"/>
                    </a:lnTo>
                    <a:cubicBezTo>
                      <a:pt x="850" y="790"/>
                      <a:pt x="859" y="784"/>
                      <a:pt x="870" y="784"/>
                    </a:cubicBezTo>
                    <a:cubicBezTo>
                      <a:pt x="872" y="784"/>
                      <a:pt x="874" y="784"/>
                      <a:pt x="876" y="784"/>
                    </a:cubicBezTo>
                    <a:cubicBezTo>
                      <a:pt x="885" y="774"/>
                      <a:pt x="895" y="765"/>
                      <a:pt x="906" y="756"/>
                    </a:cubicBezTo>
                    <a:lnTo>
                      <a:pt x="852" y="756"/>
                    </a:lnTo>
                    <a:lnTo>
                      <a:pt x="852" y="756"/>
                    </a:lnTo>
                    <a:lnTo>
                      <a:pt x="852" y="756"/>
                    </a:lnTo>
                    <a:lnTo>
                      <a:pt x="814" y="756"/>
                    </a:lnTo>
                    <a:cubicBezTo>
                      <a:pt x="801" y="770"/>
                      <a:pt x="790" y="785"/>
                      <a:pt x="779" y="800"/>
                    </a:cubicBezTo>
                    <a:lnTo>
                      <a:pt x="827" y="800"/>
                    </a:lnTo>
                    <a:cubicBezTo>
                      <a:pt x="825" y="803"/>
                      <a:pt x="824" y="806"/>
                      <a:pt x="822" y="808"/>
                    </a:cubicBezTo>
                    <a:lnTo>
                      <a:pt x="822" y="808"/>
                    </a:lnTo>
                    <a:lnTo>
                      <a:pt x="773" y="808"/>
                    </a:lnTo>
                    <a:cubicBezTo>
                      <a:pt x="759" y="831"/>
                      <a:pt x="746" y="855"/>
                      <a:pt x="737" y="879"/>
                    </a:cubicBezTo>
                    <a:lnTo>
                      <a:pt x="794" y="879"/>
                    </a:lnTo>
                    <a:lnTo>
                      <a:pt x="793" y="880"/>
                    </a:lnTo>
                    <a:lnTo>
                      <a:pt x="794" y="879"/>
                    </a:lnTo>
                    <a:lnTo>
                      <a:pt x="813" y="879"/>
                    </a:lnTo>
                    <a:cubicBezTo>
                      <a:pt x="823" y="858"/>
                      <a:pt x="834" y="838"/>
                      <a:pt x="847" y="820"/>
                    </a:cubicBezTo>
                    <a:cubicBezTo>
                      <a:pt x="846" y="817"/>
                      <a:pt x="845" y="813"/>
                      <a:pt x="845" y="809"/>
                    </a:cubicBezTo>
                    <a:cubicBezTo>
                      <a:pt x="845" y="809"/>
                      <a:pt x="845" y="809"/>
                      <a:pt x="845" y="808"/>
                    </a:cubicBezTo>
                    <a:lnTo>
                      <a:pt x="856" y="808"/>
                    </a:lnTo>
                    <a:close/>
                    <a:moveTo>
                      <a:pt x="749" y="756"/>
                    </a:moveTo>
                    <a:lnTo>
                      <a:pt x="700" y="756"/>
                    </a:lnTo>
                    <a:cubicBezTo>
                      <a:pt x="691" y="770"/>
                      <a:pt x="683" y="785"/>
                      <a:pt x="675" y="800"/>
                    </a:cubicBezTo>
                    <a:lnTo>
                      <a:pt x="719" y="800"/>
                    </a:lnTo>
                    <a:cubicBezTo>
                      <a:pt x="728" y="785"/>
                      <a:pt x="738" y="770"/>
                      <a:pt x="749" y="756"/>
                    </a:cubicBezTo>
                    <a:close/>
                    <a:moveTo>
                      <a:pt x="647" y="746"/>
                    </a:moveTo>
                    <a:lnTo>
                      <a:pt x="483" y="577"/>
                    </a:lnTo>
                    <a:cubicBezTo>
                      <a:pt x="466" y="601"/>
                      <a:pt x="450" y="625"/>
                      <a:pt x="436" y="651"/>
                    </a:cubicBezTo>
                    <a:lnTo>
                      <a:pt x="485" y="708"/>
                    </a:lnTo>
                    <a:lnTo>
                      <a:pt x="547" y="708"/>
                    </a:lnTo>
                    <a:lnTo>
                      <a:pt x="621" y="796"/>
                    </a:lnTo>
                    <a:cubicBezTo>
                      <a:pt x="629" y="779"/>
                      <a:pt x="638" y="762"/>
                      <a:pt x="647" y="746"/>
                    </a:cubicBezTo>
                    <a:close/>
                    <a:moveTo>
                      <a:pt x="488" y="569"/>
                    </a:moveTo>
                    <a:lnTo>
                      <a:pt x="652" y="738"/>
                    </a:lnTo>
                    <a:cubicBezTo>
                      <a:pt x="666" y="714"/>
                      <a:pt x="683" y="691"/>
                      <a:pt x="701" y="670"/>
                    </a:cubicBezTo>
                    <a:lnTo>
                      <a:pt x="540" y="503"/>
                    </a:lnTo>
                    <a:cubicBezTo>
                      <a:pt x="522" y="524"/>
                      <a:pt x="504" y="546"/>
                      <a:pt x="488" y="569"/>
                    </a:cubicBezTo>
                    <a:close/>
                    <a:moveTo>
                      <a:pt x="706" y="747"/>
                    </a:moveTo>
                    <a:lnTo>
                      <a:pt x="755" y="747"/>
                    </a:lnTo>
                    <a:cubicBezTo>
                      <a:pt x="774" y="723"/>
                      <a:pt x="795" y="701"/>
                      <a:pt x="820" y="681"/>
                    </a:cubicBezTo>
                    <a:lnTo>
                      <a:pt x="852" y="720"/>
                    </a:lnTo>
                    <a:cubicBezTo>
                      <a:pt x="842" y="728"/>
                      <a:pt x="832" y="738"/>
                      <a:pt x="823" y="747"/>
                    </a:cubicBezTo>
                    <a:lnTo>
                      <a:pt x="857" y="747"/>
                    </a:lnTo>
                    <a:lnTo>
                      <a:pt x="857" y="747"/>
                    </a:lnTo>
                    <a:lnTo>
                      <a:pt x="916" y="747"/>
                    </a:lnTo>
                    <a:cubicBezTo>
                      <a:pt x="919" y="745"/>
                      <a:pt x="921" y="743"/>
                      <a:pt x="924" y="741"/>
                    </a:cubicBezTo>
                    <a:cubicBezTo>
                      <a:pt x="980" y="699"/>
                      <a:pt x="1048" y="673"/>
                      <a:pt x="1122" y="670"/>
                    </a:cubicBezTo>
                    <a:cubicBezTo>
                      <a:pt x="1123" y="669"/>
                      <a:pt x="1123" y="669"/>
                      <a:pt x="1123" y="668"/>
                    </a:cubicBezTo>
                    <a:lnTo>
                      <a:pt x="1126" y="670"/>
                    </a:lnTo>
                    <a:lnTo>
                      <a:pt x="1126" y="670"/>
                    </a:lnTo>
                    <a:lnTo>
                      <a:pt x="1123" y="668"/>
                    </a:lnTo>
                    <a:cubicBezTo>
                      <a:pt x="1124" y="667"/>
                      <a:pt x="1124" y="666"/>
                      <a:pt x="1125" y="664"/>
                    </a:cubicBezTo>
                    <a:cubicBezTo>
                      <a:pt x="1124" y="666"/>
                      <a:pt x="1124" y="667"/>
                      <a:pt x="1123" y="668"/>
                    </a:cubicBezTo>
                    <a:lnTo>
                      <a:pt x="1123" y="668"/>
                    </a:lnTo>
                    <a:lnTo>
                      <a:pt x="1083" y="637"/>
                    </a:lnTo>
                    <a:lnTo>
                      <a:pt x="1020" y="637"/>
                    </a:lnTo>
                    <a:cubicBezTo>
                      <a:pt x="1018" y="638"/>
                      <a:pt x="1017" y="638"/>
                      <a:pt x="1015" y="639"/>
                    </a:cubicBezTo>
                    <a:lnTo>
                      <a:pt x="1014" y="637"/>
                    </a:lnTo>
                    <a:lnTo>
                      <a:pt x="805" y="637"/>
                    </a:lnTo>
                    <a:cubicBezTo>
                      <a:pt x="793" y="647"/>
                      <a:pt x="782" y="657"/>
                      <a:pt x="771" y="668"/>
                    </a:cubicBezTo>
                    <a:lnTo>
                      <a:pt x="846" y="668"/>
                    </a:lnTo>
                    <a:cubicBezTo>
                      <a:pt x="850" y="659"/>
                      <a:pt x="859" y="652"/>
                      <a:pt x="870" y="652"/>
                    </a:cubicBezTo>
                    <a:cubicBezTo>
                      <a:pt x="884" y="652"/>
                      <a:pt x="895" y="663"/>
                      <a:pt x="895" y="677"/>
                    </a:cubicBezTo>
                    <a:cubicBezTo>
                      <a:pt x="895" y="691"/>
                      <a:pt x="884" y="702"/>
                      <a:pt x="870" y="702"/>
                    </a:cubicBezTo>
                    <a:lnTo>
                      <a:pt x="870" y="702"/>
                    </a:lnTo>
                    <a:cubicBezTo>
                      <a:pt x="856" y="702"/>
                      <a:pt x="845" y="691"/>
                      <a:pt x="845" y="677"/>
                    </a:cubicBezTo>
                    <a:lnTo>
                      <a:pt x="845" y="677"/>
                    </a:lnTo>
                    <a:lnTo>
                      <a:pt x="845" y="677"/>
                    </a:lnTo>
                    <a:lnTo>
                      <a:pt x="845" y="677"/>
                    </a:lnTo>
                    <a:lnTo>
                      <a:pt x="763" y="677"/>
                    </a:lnTo>
                    <a:cubicBezTo>
                      <a:pt x="742" y="698"/>
                      <a:pt x="723" y="722"/>
                      <a:pt x="706" y="747"/>
                    </a:cubicBezTo>
                    <a:close/>
                    <a:moveTo>
                      <a:pt x="883" y="888"/>
                    </a:moveTo>
                    <a:lnTo>
                      <a:pt x="865" y="888"/>
                    </a:lnTo>
                    <a:cubicBezTo>
                      <a:pt x="857" y="904"/>
                      <a:pt x="850" y="922"/>
                      <a:pt x="845" y="940"/>
                    </a:cubicBezTo>
                    <a:lnTo>
                      <a:pt x="796" y="926"/>
                    </a:lnTo>
                    <a:cubicBezTo>
                      <a:pt x="800" y="913"/>
                      <a:pt x="804" y="900"/>
                      <a:pt x="810" y="888"/>
                    </a:cubicBezTo>
                    <a:lnTo>
                      <a:pt x="791" y="888"/>
                    </a:lnTo>
                    <a:lnTo>
                      <a:pt x="791" y="888"/>
                    </a:lnTo>
                    <a:lnTo>
                      <a:pt x="733" y="888"/>
                    </a:lnTo>
                    <a:cubicBezTo>
                      <a:pt x="726" y="906"/>
                      <a:pt x="721" y="925"/>
                      <a:pt x="717" y="945"/>
                    </a:cubicBezTo>
                    <a:cubicBezTo>
                      <a:pt x="716" y="948"/>
                      <a:pt x="715" y="951"/>
                      <a:pt x="715" y="954"/>
                    </a:cubicBezTo>
                    <a:cubicBezTo>
                      <a:pt x="713" y="961"/>
                      <a:pt x="712" y="968"/>
                      <a:pt x="711" y="976"/>
                    </a:cubicBezTo>
                    <a:cubicBezTo>
                      <a:pt x="710" y="987"/>
                      <a:pt x="708" y="999"/>
                      <a:pt x="708" y="1011"/>
                    </a:cubicBezTo>
                    <a:lnTo>
                      <a:pt x="942" y="1011"/>
                    </a:lnTo>
                    <a:lnTo>
                      <a:pt x="965" y="1033"/>
                    </a:lnTo>
                    <a:lnTo>
                      <a:pt x="965" y="1033"/>
                    </a:lnTo>
                    <a:cubicBezTo>
                      <a:pt x="965" y="985"/>
                      <a:pt x="984" y="942"/>
                      <a:pt x="1015" y="911"/>
                    </a:cubicBezTo>
                    <a:cubicBezTo>
                      <a:pt x="1024" y="902"/>
                      <a:pt x="1034" y="894"/>
                      <a:pt x="1044" y="888"/>
                    </a:cubicBezTo>
                    <a:lnTo>
                      <a:pt x="883" y="888"/>
                    </a:lnTo>
                    <a:cubicBezTo>
                      <a:pt x="884" y="885"/>
                      <a:pt x="885" y="882"/>
                      <a:pt x="886" y="879"/>
                    </a:cubicBezTo>
                    <a:cubicBezTo>
                      <a:pt x="885" y="882"/>
                      <a:pt x="884" y="885"/>
                      <a:pt x="883" y="888"/>
                    </a:cubicBezTo>
                    <a:close/>
                    <a:moveTo>
                      <a:pt x="680" y="888"/>
                    </a:moveTo>
                    <a:lnTo>
                      <a:pt x="457" y="888"/>
                    </a:lnTo>
                    <a:lnTo>
                      <a:pt x="379" y="816"/>
                    </a:lnTo>
                    <a:lnTo>
                      <a:pt x="379" y="785"/>
                    </a:lnTo>
                    <a:cubicBezTo>
                      <a:pt x="372" y="804"/>
                      <a:pt x="367" y="823"/>
                      <a:pt x="362" y="843"/>
                    </a:cubicBezTo>
                    <a:cubicBezTo>
                      <a:pt x="361" y="846"/>
                      <a:pt x="361" y="849"/>
                      <a:pt x="360" y="852"/>
                    </a:cubicBezTo>
                    <a:cubicBezTo>
                      <a:pt x="351" y="889"/>
                      <a:pt x="345" y="927"/>
                      <a:pt x="342" y="966"/>
                    </a:cubicBezTo>
                    <a:lnTo>
                      <a:pt x="393" y="1011"/>
                    </a:lnTo>
                    <a:lnTo>
                      <a:pt x="569" y="1011"/>
                    </a:lnTo>
                    <a:cubicBezTo>
                      <a:pt x="570" y="1004"/>
                      <a:pt x="570" y="998"/>
                      <a:pt x="571" y="992"/>
                    </a:cubicBezTo>
                    <a:lnTo>
                      <a:pt x="621" y="995"/>
                    </a:lnTo>
                    <a:cubicBezTo>
                      <a:pt x="621" y="1000"/>
                      <a:pt x="620" y="1006"/>
                      <a:pt x="620" y="1011"/>
                    </a:cubicBezTo>
                    <a:lnTo>
                      <a:pt x="657" y="1011"/>
                    </a:lnTo>
                    <a:cubicBezTo>
                      <a:pt x="658" y="997"/>
                      <a:pt x="659" y="983"/>
                      <a:pt x="661" y="969"/>
                    </a:cubicBezTo>
                    <a:cubicBezTo>
                      <a:pt x="662" y="964"/>
                      <a:pt x="662" y="959"/>
                      <a:pt x="663" y="954"/>
                    </a:cubicBezTo>
                    <a:cubicBezTo>
                      <a:pt x="664" y="951"/>
                      <a:pt x="664" y="948"/>
                      <a:pt x="665" y="945"/>
                    </a:cubicBezTo>
                    <a:cubicBezTo>
                      <a:pt x="669" y="925"/>
                      <a:pt x="673" y="906"/>
                      <a:pt x="680" y="888"/>
                    </a:cubicBezTo>
                    <a:close/>
                    <a:moveTo>
                      <a:pt x="387" y="760"/>
                    </a:moveTo>
                    <a:lnTo>
                      <a:pt x="387" y="812"/>
                    </a:lnTo>
                    <a:lnTo>
                      <a:pt x="461" y="879"/>
                    </a:lnTo>
                    <a:lnTo>
                      <a:pt x="683" y="879"/>
                    </a:lnTo>
                    <a:cubicBezTo>
                      <a:pt x="691" y="855"/>
                      <a:pt x="702" y="831"/>
                      <a:pt x="714" y="808"/>
                    </a:cubicBezTo>
                    <a:lnTo>
                      <a:pt x="671" y="808"/>
                    </a:lnTo>
                    <a:cubicBezTo>
                      <a:pt x="667" y="816"/>
                      <a:pt x="663" y="824"/>
                      <a:pt x="660" y="833"/>
                    </a:cubicBezTo>
                    <a:lnTo>
                      <a:pt x="613" y="813"/>
                    </a:lnTo>
                    <a:cubicBezTo>
                      <a:pt x="614" y="810"/>
                      <a:pt x="616" y="807"/>
                      <a:pt x="617" y="805"/>
                    </a:cubicBezTo>
                    <a:lnTo>
                      <a:pt x="543" y="716"/>
                    </a:lnTo>
                    <a:lnTo>
                      <a:pt x="481" y="716"/>
                    </a:lnTo>
                    <a:lnTo>
                      <a:pt x="432" y="659"/>
                    </a:lnTo>
                    <a:cubicBezTo>
                      <a:pt x="415" y="692"/>
                      <a:pt x="400" y="725"/>
                      <a:pt x="387" y="760"/>
                    </a:cubicBezTo>
                    <a:close/>
                    <a:moveTo>
                      <a:pt x="1553" y="587"/>
                    </a:moveTo>
                    <a:cubicBezTo>
                      <a:pt x="1539" y="587"/>
                      <a:pt x="1528" y="575"/>
                      <a:pt x="1528" y="561"/>
                    </a:cubicBezTo>
                    <a:cubicBezTo>
                      <a:pt x="1528" y="547"/>
                      <a:pt x="1539" y="536"/>
                      <a:pt x="1553" y="536"/>
                    </a:cubicBezTo>
                    <a:cubicBezTo>
                      <a:pt x="1564" y="536"/>
                      <a:pt x="1573" y="543"/>
                      <a:pt x="1576" y="552"/>
                    </a:cubicBezTo>
                    <a:lnTo>
                      <a:pt x="1622" y="552"/>
                    </a:lnTo>
                    <a:lnTo>
                      <a:pt x="1630" y="543"/>
                    </a:lnTo>
                    <a:lnTo>
                      <a:pt x="1630" y="543"/>
                    </a:lnTo>
                    <a:lnTo>
                      <a:pt x="1699" y="467"/>
                    </a:lnTo>
                    <a:cubicBezTo>
                      <a:pt x="1683" y="451"/>
                      <a:pt x="1666" y="436"/>
                      <a:pt x="1648" y="421"/>
                    </a:cubicBezTo>
                    <a:lnTo>
                      <a:pt x="1584" y="482"/>
                    </a:lnTo>
                    <a:lnTo>
                      <a:pt x="1475" y="482"/>
                    </a:lnTo>
                    <a:lnTo>
                      <a:pt x="1470" y="486"/>
                    </a:lnTo>
                    <a:cubicBezTo>
                      <a:pt x="1467" y="486"/>
                      <a:pt x="1463" y="485"/>
                      <a:pt x="1460" y="484"/>
                    </a:cubicBezTo>
                    <a:lnTo>
                      <a:pt x="1472" y="473"/>
                    </a:lnTo>
                    <a:lnTo>
                      <a:pt x="1581" y="473"/>
                    </a:lnTo>
                    <a:lnTo>
                      <a:pt x="1641" y="415"/>
                    </a:lnTo>
                    <a:cubicBezTo>
                      <a:pt x="1577" y="363"/>
                      <a:pt x="1504" y="320"/>
                      <a:pt x="1425" y="289"/>
                    </a:cubicBezTo>
                    <a:cubicBezTo>
                      <a:pt x="1421" y="294"/>
                      <a:pt x="1415" y="296"/>
                      <a:pt x="1408" y="296"/>
                    </a:cubicBezTo>
                    <a:lnTo>
                      <a:pt x="1408" y="296"/>
                    </a:lnTo>
                    <a:cubicBezTo>
                      <a:pt x="1395" y="296"/>
                      <a:pt x="1384" y="287"/>
                      <a:pt x="1383" y="274"/>
                    </a:cubicBezTo>
                    <a:cubicBezTo>
                      <a:pt x="1305" y="249"/>
                      <a:pt x="1223" y="235"/>
                      <a:pt x="1137" y="235"/>
                    </a:cubicBezTo>
                    <a:cubicBezTo>
                      <a:pt x="1097" y="235"/>
                      <a:pt x="1059" y="238"/>
                      <a:pt x="1021" y="244"/>
                    </a:cubicBezTo>
                    <a:cubicBezTo>
                      <a:pt x="1021" y="244"/>
                      <a:pt x="1022" y="244"/>
                      <a:pt x="1023" y="244"/>
                    </a:cubicBezTo>
                    <a:lnTo>
                      <a:pt x="1023" y="245"/>
                    </a:lnTo>
                    <a:lnTo>
                      <a:pt x="1023" y="244"/>
                    </a:lnTo>
                    <a:cubicBezTo>
                      <a:pt x="1033" y="248"/>
                      <a:pt x="1040" y="257"/>
                      <a:pt x="1040" y="268"/>
                    </a:cubicBezTo>
                    <a:cubicBezTo>
                      <a:pt x="1040" y="282"/>
                      <a:pt x="1029" y="294"/>
                      <a:pt x="1015" y="294"/>
                    </a:cubicBezTo>
                    <a:lnTo>
                      <a:pt x="1015" y="294"/>
                    </a:lnTo>
                    <a:cubicBezTo>
                      <a:pt x="1001" y="294"/>
                      <a:pt x="990" y="282"/>
                      <a:pt x="990" y="268"/>
                    </a:cubicBezTo>
                    <a:cubicBezTo>
                      <a:pt x="990" y="265"/>
                      <a:pt x="991" y="261"/>
                      <a:pt x="992" y="258"/>
                    </a:cubicBezTo>
                    <a:lnTo>
                      <a:pt x="997" y="256"/>
                    </a:lnTo>
                    <a:lnTo>
                      <a:pt x="992" y="258"/>
                    </a:lnTo>
                    <a:cubicBezTo>
                      <a:pt x="994" y="253"/>
                      <a:pt x="998" y="249"/>
                      <a:pt x="1002" y="247"/>
                    </a:cubicBezTo>
                    <a:cubicBezTo>
                      <a:pt x="909" y="263"/>
                      <a:pt x="822" y="294"/>
                      <a:pt x="743" y="339"/>
                    </a:cubicBezTo>
                    <a:lnTo>
                      <a:pt x="743" y="376"/>
                    </a:lnTo>
                    <a:lnTo>
                      <a:pt x="769" y="401"/>
                    </a:lnTo>
                    <a:lnTo>
                      <a:pt x="769" y="401"/>
                    </a:lnTo>
                    <a:lnTo>
                      <a:pt x="769" y="401"/>
                    </a:lnTo>
                    <a:lnTo>
                      <a:pt x="826" y="455"/>
                    </a:lnTo>
                    <a:lnTo>
                      <a:pt x="826" y="455"/>
                    </a:lnTo>
                    <a:lnTo>
                      <a:pt x="842" y="470"/>
                    </a:lnTo>
                    <a:lnTo>
                      <a:pt x="951" y="470"/>
                    </a:lnTo>
                    <a:lnTo>
                      <a:pt x="972" y="490"/>
                    </a:lnTo>
                    <a:cubicBezTo>
                      <a:pt x="1024" y="474"/>
                      <a:pt x="1079" y="465"/>
                      <a:pt x="1137" y="465"/>
                    </a:cubicBezTo>
                    <a:cubicBezTo>
                      <a:pt x="1195" y="465"/>
                      <a:pt x="1250" y="474"/>
                      <a:pt x="1303" y="490"/>
                    </a:cubicBezTo>
                    <a:cubicBezTo>
                      <a:pt x="1332" y="499"/>
                      <a:pt x="1359" y="510"/>
                      <a:pt x="1386" y="523"/>
                    </a:cubicBezTo>
                    <a:cubicBezTo>
                      <a:pt x="1390" y="515"/>
                      <a:pt x="1398" y="510"/>
                      <a:pt x="1408" y="510"/>
                    </a:cubicBezTo>
                    <a:cubicBezTo>
                      <a:pt x="1415" y="510"/>
                      <a:pt x="1421" y="512"/>
                      <a:pt x="1426" y="517"/>
                    </a:cubicBezTo>
                    <a:lnTo>
                      <a:pt x="1460" y="484"/>
                    </a:lnTo>
                    <a:cubicBezTo>
                      <a:pt x="1463" y="485"/>
                      <a:pt x="1467" y="486"/>
                      <a:pt x="1470" y="486"/>
                    </a:cubicBezTo>
                    <a:lnTo>
                      <a:pt x="1431" y="524"/>
                    </a:lnTo>
                    <a:lnTo>
                      <a:pt x="1431" y="524"/>
                    </a:lnTo>
                    <a:cubicBezTo>
                      <a:pt x="1432" y="528"/>
                      <a:pt x="1433" y="531"/>
                      <a:pt x="1433" y="535"/>
                    </a:cubicBezTo>
                    <a:cubicBezTo>
                      <a:pt x="1433" y="539"/>
                      <a:pt x="1432" y="543"/>
                      <a:pt x="1430" y="547"/>
                    </a:cubicBezTo>
                    <a:cubicBezTo>
                      <a:pt x="1439" y="552"/>
                      <a:pt x="1447" y="558"/>
                      <a:pt x="1455" y="563"/>
                    </a:cubicBezTo>
                    <a:lnTo>
                      <a:pt x="1427" y="605"/>
                    </a:lnTo>
                    <a:cubicBezTo>
                      <a:pt x="1385" y="576"/>
                      <a:pt x="1338" y="554"/>
                      <a:pt x="1288" y="538"/>
                    </a:cubicBezTo>
                    <a:cubicBezTo>
                      <a:pt x="1240" y="524"/>
                      <a:pt x="1189" y="516"/>
                      <a:pt x="1137" y="516"/>
                    </a:cubicBezTo>
                    <a:cubicBezTo>
                      <a:pt x="1103" y="516"/>
                      <a:pt x="1071" y="519"/>
                      <a:pt x="1039" y="525"/>
                    </a:cubicBezTo>
                    <a:cubicBezTo>
                      <a:pt x="1040" y="528"/>
                      <a:pt x="1040" y="530"/>
                      <a:pt x="1040" y="532"/>
                    </a:cubicBezTo>
                    <a:cubicBezTo>
                      <a:pt x="1040" y="546"/>
                      <a:pt x="1029" y="557"/>
                      <a:pt x="1015" y="557"/>
                    </a:cubicBezTo>
                    <a:lnTo>
                      <a:pt x="1015" y="557"/>
                    </a:lnTo>
                    <a:cubicBezTo>
                      <a:pt x="1003" y="557"/>
                      <a:pt x="993" y="549"/>
                      <a:pt x="990" y="537"/>
                    </a:cubicBezTo>
                    <a:cubicBezTo>
                      <a:pt x="940" y="552"/>
                      <a:pt x="894" y="574"/>
                      <a:pt x="851" y="603"/>
                    </a:cubicBezTo>
                    <a:cubicBezTo>
                      <a:pt x="839" y="611"/>
                      <a:pt x="827" y="619"/>
                      <a:pt x="816" y="628"/>
                    </a:cubicBezTo>
                    <a:lnTo>
                      <a:pt x="1011" y="628"/>
                    </a:lnTo>
                    <a:lnTo>
                      <a:pt x="998" y="591"/>
                    </a:lnTo>
                    <a:cubicBezTo>
                      <a:pt x="1022" y="583"/>
                      <a:pt x="1047" y="576"/>
                      <a:pt x="1073" y="572"/>
                    </a:cubicBezTo>
                    <a:cubicBezTo>
                      <a:pt x="1098" y="567"/>
                      <a:pt x="1124" y="565"/>
                      <a:pt x="1150" y="565"/>
                    </a:cubicBezTo>
                    <a:cubicBezTo>
                      <a:pt x="1236" y="565"/>
                      <a:pt x="1317" y="589"/>
                      <a:pt x="1386" y="631"/>
                    </a:cubicBezTo>
                    <a:lnTo>
                      <a:pt x="1610" y="631"/>
                    </a:lnTo>
                    <a:lnTo>
                      <a:pt x="1610" y="631"/>
                    </a:lnTo>
                    <a:lnTo>
                      <a:pt x="1640" y="631"/>
                    </a:lnTo>
                    <a:lnTo>
                      <a:pt x="1692" y="581"/>
                    </a:lnTo>
                    <a:lnTo>
                      <a:pt x="1692" y="581"/>
                    </a:lnTo>
                    <a:lnTo>
                      <a:pt x="1750" y="524"/>
                    </a:lnTo>
                    <a:cubicBezTo>
                      <a:pt x="1736" y="506"/>
                      <a:pt x="1721" y="490"/>
                      <a:pt x="1705" y="473"/>
                    </a:cubicBezTo>
                    <a:lnTo>
                      <a:pt x="1638" y="547"/>
                    </a:lnTo>
                    <a:lnTo>
                      <a:pt x="1638" y="547"/>
                    </a:lnTo>
                    <a:lnTo>
                      <a:pt x="1626" y="561"/>
                    </a:lnTo>
                    <a:lnTo>
                      <a:pt x="1626" y="561"/>
                    </a:lnTo>
                    <a:lnTo>
                      <a:pt x="1578" y="561"/>
                    </a:lnTo>
                    <a:lnTo>
                      <a:pt x="1578" y="560"/>
                    </a:lnTo>
                    <a:lnTo>
                      <a:pt x="1578" y="561"/>
                    </a:lnTo>
                    <a:cubicBezTo>
                      <a:pt x="1578" y="561"/>
                      <a:pt x="1578" y="561"/>
                      <a:pt x="1578" y="561"/>
                    </a:cubicBezTo>
                    <a:cubicBezTo>
                      <a:pt x="1578" y="575"/>
                      <a:pt x="1567" y="587"/>
                      <a:pt x="1553" y="587"/>
                    </a:cubicBezTo>
                    <a:close/>
                    <a:moveTo>
                      <a:pt x="1578" y="555"/>
                    </a:moveTo>
                    <a:cubicBezTo>
                      <a:pt x="1578" y="557"/>
                      <a:pt x="1578" y="559"/>
                      <a:pt x="1578" y="560"/>
                    </a:cubicBezTo>
                    <a:cubicBezTo>
                      <a:pt x="1578" y="559"/>
                      <a:pt x="1578" y="557"/>
                      <a:pt x="1578" y="555"/>
                    </a:cubicBezTo>
                    <a:close/>
                    <a:moveTo>
                      <a:pt x="1426" y="518"/>
                    </a:moveTo>
                    <a:cubicBezTo>
                      <a:pt x="1428" y="519"/>
                      <a:pt x="1429" y="521"/>
                      <a:pt x="1430" y="523"/>
                    </a:cubicBezTo>
                    <a:cubicBezTo>
                      <a:pt x="1429" y="521"/>
                      <a:pt x="1428" y="519"/>
                      <a:pt x="1426" y="518"/>
                    </a:cubicBezTo>
                    <a:close/>
                    <a:moveTo>
                      <a:pt x="563" y="1237"/>
                    </a:moveTo>
                    <a:lnTo>
                      <a:pt x="564" y="1240"/>
                    </a:lnTo>
                    <a:cubicBezTo>
                      <a:pt x="563" y="1239"/>
                      <a:pt x="563" y="1238"/>
                      <a:pt x="563" y="1237"/>
                    </a:cubicBezTo>
                    <a:close/>
                    <a:moveTo>
                      <a:pt x="490" y="1269"/>
                    </a:moveTo>
                    <a:cubicBezTo>
                      <a:pt x="490" y="1267"/>
                      <a:pt x="489" y="1265"/>
                      <a:pt x="489" y="1263"/>
                    </a:cubicBezTo>
                    <a:cubicBezTo>
                      <a:pt x="489" y="1265"/>
                      <a:pt x="490" y="1267"/>
                      <a:pt x="490" y="1269"/>
                    </a:cubicBezTo>
                    <a:close/>
                    <a:moveTo>
                      <a:pt x="1020" y="270"/>
                    </a:moveTo>
                    <a:lnTo>
                      <a:pt x="1011" y="270"/>
                    </a:lnTo>
                    <a:lnTo>
                      <a:pt x="1011" y="249"/>
                    </a:lnTo>
                    <a:lnTo>
                      <a:pt x="1011" y="249"/>
                    </a:lnTo>
                    <a:lnTo>
                      <a:pt x="1011" y="270"/>
                    </a:lnTo>
                    <a:lnTo>
                      <a:pt x="1020" y="270"/>
                    </a:lnTo>
                    <a:close/>
                    <a:moveTo>
                      <a:pt x="1019" y="246"/>
                    </a:moveTo>
                    <a:lnTo>
                      <a:pt x="1020" y="246"/>
                    </a:lnTo>
                    <a:lnTo>
                      <a:pt x="1020" y="246"/>
                    </a:lnTo>
                    <a:lnTo>
                      <a:pt x="1019" y="246"/>
                    </a:lnTo>
                    <a:close/>
                    <a:moveTo>
                      <a:pt x="1020" y="244"/>
                    </a:moveTo>
                    <a:lnTo>
                      <a:pt x="1020" y="246"/>
                    </a:lnTo>
                    <a:lnTo>
                      <a:pt x="1020" y="246"/>
                    </a:lnTo>
                    <a:lnTo>
                      <a:pt x="1020" y="244"/>
                    </a:lnTo>
                    <a:close/>
                    <a:moveTo>
                      <a:pt x="819" y="460"/>
                    </a:moveTo>
                    <a:lnTo>
                      <a:pt x="763" y="407"/>
                    </a:lnTo>
                    <a:lnTo>
                      <a:pt x="765" y="405"/>
                    </a:lnTo>
                    <a:cubicBezTo>
                      <a:pt x="764" y="405"/>
                      <a:pt x="764" y="406"/>
                      <a:pt x="763" y="407"/>
                    </a:cubicBezTo>
                    <a:lnTo>
                      <a:pt x="763" y="407"/>
                    </a:lnTo>
                    <a:lnTo>
                      <a:pt x="735" y="380"/>
                    </a:lnTo>
                    <a:lnTo>
                      <a:pt x="735" y="344"/>
                    </a:lnTo>
                    <a:cubicBezTo>
                      <a:pt x="715" y="356"/>
                      <a:pt x="696" y="368"/>
                      <a:pt x="677" y="381"/>
                    </a:cubicBezTo>
                    <a:lnTo>
                      <a:pt x="677" y="413"/>
                    </a:lnTo>
                    <a:lnTo>
                      <a:pt x="714" y="454"/>
                    </a:lnTo>
                    <a:lnTo>
                      <a:pt x="714" y="454"/>
                    </a:lnTo>
                    <a:lnTo>
                      <a:pt x="767" y="511"/>
                    </a:lnTo>
                    <a:cubicBezTo>
                      <a:pt x="765" y="513"/>
                      <a:pt x="764" y="514"/>
                      <a:pt x="763" y="516"/>
                    </a:cubicBezTo>
                    <a:lnTo>
                      <a:pt x="763" y="516"/>
                    </a:lnTo>
                    <a:cubicBezTo>
                      <a:pt x="764" y="514"/>
                      <a:pt x="765" y="513"/>
                      <a:pt x="767" y="511"/>
                    </a:cubicBezTo>
                    <a:lnTo>
                      <a:pt x="801" y="549"/>
                    </a:lnTo>
                    <a:lnTo>
                      <a:pt x="840" y="549"/>
                    </a:lnTo>
                    <a:cubicBezTo>
                      <a:pt x="843" y="548"/>
                      <a:pt x="846" y="546"/>
                      <a:pt x="849" y="544"/>
                    </a:cubicBezTo>
                    <a:cubicBezTo>
                      <a:pt x="853" y="538"/>
                      <a:pt x="860" y="534"/>
                      <a:pt x="868" y="533"/>
                    </a:cubicBezTo>
                    <a:cubicBezTo>
                      <a:pt x="898" y="517"/>
                      <a:pt x="930" y="504"/>
                      <a:pt x="962" y="493"/>
                    </a:cubicBezTo>
                    <a:lnTo>
                      <a:pt x="948" y="479"/>
                    </a:lnTo>
                    <a:lnTo>
                      <a:pt x="838" y="479"/>
                    </a:lnTo>
                    <a:lnTo>
                      <a:pt x="819" y="460"/>
                    </a:lnTo>
                    <a:lnTo>
                      <a:pt x="819" y="460"/>
                    </a:lnTo>
                    <a:close/>
                    <a:moveTo>
                      <a:pt x="759" y="512"/>
                    </a:moveTo>
                    <a:lnTo>
                      <a:pt x="737" y="492"/>
                    </a:lnTo>
                    <a:lnTo>
                      <a:pt x="708" y="460"/>
                    </a:lnTo>
                    <a:lnTo>
                      <a:pt x="708" y="460"/>
                    </a:lnTo>
                    <a:lnTo>
                      <a:pt x="708" y="460"/>
                    </a:lnTo>
                    <a:lnTo>
                      <a:pt x="669" y="416"/>
                    </a:lnTo>
                    <a:lnTo>
                      <a:pt x="669" y="387"/>
                    </a:lnTo>
                    <a:cubicBezTo>
                      <a:pt x="643" y="406"/>
                      <a:pt x="619" y="425"/>
                      <a:pt x="596" y="447"/>
                    </a:cubicBezTo>
                    <a:lnTo>
                      <a:pt x="761" y="608"/>
                    </a:lnTo>
                    <a:cubicBezTo>
                      <a:pt x="781" y="591"/>
                      <a:pt x="802" y="575"/>
                      <a:pt x="823" y="560"/>
                    </a:cubicBezTo>
                    <a:lnTo>
                      <a:pt x="827" y="558"/>
                    </a:lnTo>
                    <a:lnTo>
                      <a:pt x="797" y="558"/>
                    </a:lnTo>
                    <a:lnTo>
                      <a:pt x="737" y="492"/>
                    </a:lnTo>
                    <a:lnTo>
                      <a:pt x="759" y="512"/>
                    </a:lnTo>
                    <a:close/>
                    <a:moveTo>
                      <a:pt x="710" y="459"/>
                    </a:moveTo>
                    <a:cubicBezTo>
                      <a:pt x="711" y="457"/>
                      <a:pt x="712" y="456"/>
                      <a:pt x="713" y="455"/>
                    </a:cubicBezTo>
                    <a:cubicBezTo>
                      <a:pt x="712" y="456"/>
                      <a:pt x="711" y="457"/>
                      <a:pt x="710" y="459"/>
                    </a:cubicBezTo>
                    <a:close/>
                    <a:moveTo>
                      <a:pt x="1403" y="227"/>
                    </a:moveTo>
                    <a:lnTo>
                      <a:pt x="1403" y="88"/>
                    </a:lnTo>
                    <a:moveTo>
                      <a:pt x="1411" y="90"/>
                    </a:moveTo>
                    <a:lnTo>
                      <a:pt x="1411" y="230"/>
                    </a:lnTo>
                    <a:moveTo>
                      <a:pt x="845" y="1650"/>
                    </a:moveTo>
                    <a:cubicBezTo>
                      <a:pt x="845" y="1648"/>
                      <a:pt x="846" y="1646"/>
                      <a:pt x="846" y="1644"/>
                    </a:cubicBezTo>
                    <a:lnTo>
                      <a:pt x="877" y="1644"/>
                    </a:lnTo>
                    <a:lnTo>
                      <a:pt x="877" y="1652"/>
                    </a:lnTo>
                    <a:lnTo>
                      <a:pt x="877" y="1652"/>
                    </a:lnTo>
                    <a:lnTo>
                      <a:pt x="877" y="1644"/>
                    </a:lnTo>
                    <a:lnTo>
                      <a:pt x="846" y="1644"/>
                    </a:lnTo>
                    <a:cubicBezTo>
                      <a:pt x="850" y="1634"/>
                      <a:pt x="859" y="1627"/>
                      <a:pt x="870" y="1627"/>
                    </a:cubicBezTo>
                    <a:cubicBezTo>
                      <a:pt x="884" y="1627"/>
                      <a:pt x="895" y="1639"/>
                      <a:pt x="895" y="1653"/>
                    </a:cubicBezTo>
                    <a:cubicBezTo>
                      <a:pt x="895" y="1667"/>
                      <a:pt x="884" y="1678"/>
                      <a:pt x="870" y="1678"/>
                    </a:cubicBezTo>
                    <a:lnTo>
                      <a:pt x="870" y="1678"/>
                    </a:lnTo>
                    <a:cubicBezTo>
                      <a:pt x="856" y="1678"/>
                      <a:pt x="845" y="1667"/>
                      <a:pt x="845" y="1653"/>
                    </a:cubicBezTo>
                    <a:lnTo>
                      <a:pt x="845" y="1652"/>
                    </a:lnTo>
                    <a:lnTo>
                      <a:pt x="845" y="1652"/>
                    </a:lnTo>
                    <a:lnTo>
                      <a:pt x="794" y="1652"/>
                    </a:lnTo>
                    <a:cubicBezTo>
                      <a:pt x="791" y="1649"/>
                      <a:pt x="788" y="1647"/>
                      <a:pt x="785" y="1644"/>
                    </a:cubicBezTo>
                    <a:lnTo>
                      <a:pt x="846" y="1644"/>
                    </a:lnTo>
                    <a:cubicBezTo>
                      <a:pt x="845" y="1646"/>
                      <a:pt x="845" y="1648"/>
                      <a:pt x="845" y="1650"/>
                    </a:cubicBezTo>
                    <a:close/>
                    <a:moveTo>
                      <a:pt x="846" y="1077"/>
                    </a:moveTo>
                    <a:lnTo>
                      <a:pt x="877" y="1077"/>
                    </a:lnTo>
                    <a:lnTo>
                      <a:pt x="877" y="1085"/>
                    </a:lnTo>
                    <a:lnTo>
                      <a:pt x="877" y="1085"/>
                    </a:lnTo>
                    <a:lnTo>
                      <a:pt x="877" y="1077"/>
                    </a:lnTo>
                    <a:lnTo>
                      <a:pt x="846" y="1077"/>
                    </a:lnTo>
                    <a:close/>
                    <a:moveTo>
                      <a:pt x="341" y="1077"/>
                    </a:moveTo>
                    <a:lnTo>
                      <a:pt x="571" y="1077"/>
                    </a:lnTo>
                    <a:cubicBezTo>
                      <a:pt x="569" y="1058"/>
                      <a:pt x="569" y="1038"/>
                      <a:pt x="569" y="1019"/>
                    </a:cubicBezTo>
                    <a:lnTo>
                      <a:pt x="390" y="1019"/>
                    </a:lnTo>
                    <a:lnTo>
                      <a:pt x="341" y="977"/>
                    </a:lnTo>
                    <a:cubicBezTo>
                      <a:pt x="340" y="995"/>
                      <a:pt x="339" y="1014"/>
                      <a:pt x="339" y="1033"/>
                    </a:cubicBezTo>
                    <a:cubicBezTo>
                      <a:pt x="339" y="1047"/>
                      <a:pt x="340" y="1062"/>
                      <a:pt x="341" y="1077"/>
                    </a:cubicBezTo>
                    <a:close/>
                    <a:moveTo>
                      <a:pt x="622" y="1077"/>
                    </a:moveTo>
                    <a:lnTo>
                      <a:pt x="659" y="1077"/>
                    </a:lnTo>
                    <a:cubicBezTo>
                      <a:pt x="657" y="1058"/>
                      <a:pt x="656" y="1039"/>
                      <a:pt x="657" y="1019"/>
                    </a:cubicBezTo>
                    <a:lnTo>
                      <a:pt x="620" y="1019"/>
                    </a:lnTo>
                    <a:cubicBezTo>
                      <a:pt x="619" y="1038"/>
                      <a:pt x="620" y="1058"/>
                      <a:pt x="622" y="1077"/>
                    </a:cubicBezTo>
                    <a:close/>
                    <a:moveTo>
                      <a:pt x="1134" y="1230"/>
                    </a:moveTo>
                    <a:lnTo>
                      <a:pt x="1126" y="1222"/>
                    </a:lnTo>
                    <a:lnTo>
                      <a:pt x="1134" y="1230"/>
                    </a:lnTo>
                    <a:close/>
                    <a:moveTo>
                      <a:pt x="1124" y="1220"/>
                    </a:moveTo>
                    <a:lnTo>
                      <a:pt x="1124" y="1220"/>
                    </a:lnTo>
                    <a:cubicBezTo>
                      <a:pt x="1125" y="1217"/>
                      <a:pt x="1127" y="1215"/>
                      <a:pt x="1129" y="1212"/>
                    </a:cubicBezTo>
                    <a:lnTo>
                      <a:pt x="1129" y="1212"/>
                    </a:lnTo>
                    <a:cubicBezTo>
                      <a:pt x="1134" y="1208"/>
                      <a:pt x="1140" y="1206"/>
                      <a:pt x="1147" y="1206"/>
                    </a:cubicBezTo>
                    <a:cubicBezTo>
                      <a:pt x="1161" y="1206"/>
                      <a:pt x="1172" y="1217"/>
                      <a:pt x="1172" y="1231"/>
                    </a:cubicBezTo>
                    <a:cubicBezTo>
                      <a:pt x="1172" y="1245"/>
                      <a:pt x="1161" y="1256"/>
                      <a:pt x="1147" y="1256"/>
                    </a:cubicBezTo>
                    <a:lnTo>
                      <a:pt x="1147" y="1256"/>
                    </a:lnTo>
                    <a:cubicBezTo>
                      <a:pt x="1133" y="1256"/>
                      <a:pt x="1121" y="1245"/>
                      <a:pt x="1121" y="1231"/>
                    </a:cubicBezTo>
                    <a:cubicBezTo>
                      <a:pt x="1121" y="1227"/>
                      <a:pt x="1122" y="1223"/>
                      <a:pt x="1124" y="1220"/>
                    </a:cubicBezTo>
                    <a:close/>
                    <a:moveTo>
                      <a:pt x="1141" y="1225"/>
                    </a:moveTo>
                    <a:lnTo>
                      <a:pt x="1136" y="1228"/>
                    </a:lnTo>
                    <a:lnTo>
                      <a:pt x="1141" y="1225"/>
                    </a:lnTo>
                    <a:close/>
                    <a:moveTo>
                      <a:pt x="869" y="929"/>
                    </a:moveTo>
                    <a:lnTo>
                      <a:pt x="869" y="929"/>
                    </a:lnTo>
                    <a:cubicBezTo>
                      <a:pt x="869" y="929"/>
                      <a:pt x="870" y="929"/>
                      <a:pt x="870" y="929"/>
                    </a:cubicBezTo>
                    <a:cubicBezTo>
                      <a:pt x="884" y="929"/>
                      <a:pt x="895" y="940"/>
                      <a:pt x="895" y="954"/>
                    </a:cubicBezTo>
                    <a:cubicBezTo>
                      <a:pt x="895" y="968"/>
                      <a:pt x="884" y="979"/>
                      <a:pt x="870" y="979"/>
                    </a:cubicBezTo>
                    <a:lnTo>
                      <a:pt x="870" y="979"/>
                    </a:lnTo>
                    <a:cubicBezTo>
                      <a:pt x="859" y="979"/>
                      <a:pt x="850" y="973"/>
                      <a:pt x="846" y="964"/>
                    </a:cubicBezTo>
                    <a:lnTo>
                      <a:pt x="860" y="966"/>
                    </a:lnTo>
                    <a:cubicBezTo>
                      <a:pt x="860" y="964"/>
                      <a:pt x="861" y="961"/>
                      <a:pt x="861" y="959"/>
                    </a:cubicBezTo>
                    <a:moveTo>
                      <a:pt x="877" y="945"/>
                    </a:moveTo>
                    <a:lnTo>
                      <a:pt x="877" y="954"/>
                    </a:lnTo>
                    <a:lnTo>
                      <a:pt x="877" y="954"/>
                    </a:lnTo>
                    <a:lnTo>
                      <a:pt x="877" y="945"/>
                    </a:lnTo>
                    <a:close/>
                    <a:moveTo>
                      <a:pt x="546" y="497"/>
                    </a:moveTo>
                    <a:lnTo>
                      <a:pt x="706" y="664"/>
                    </a:lnTo>
                    <a:cubicBezTo>
                      <a:pt x="721" y="646"/>
                      <a:pt x="738" y="629"/>
                      <a:pt x="755" y="614"/>
                    </a:cubicBezTo>
                    <a:lnTo>
                      <a:pt x="590" y="453"/>
                    </a:lnTo>
                    <a:cubicBezTo>
                      <a:pt x="584" y="458"/>
                      <a:pt x="578" y="463"/>
                      <a:pt x="573" y="469"/>
                    </a:cubicBezTo>
                    <a:cubicBezTo>
                      <a:pt x="564" y="478"/>
                      <a:pt x="555" y="487"/>
                      <a:pt x="546" y="497"/>
                    </a:cubicBezTo>
                    <a:close/>
                    <a:moveTo>
                      <a:pt x="846" y="668"/>
                    </a:moveTo>
                    <a:lnTo>
                      <a:pt x="877" y="668"/>
                    </a:lnTo>
                    <a:lnTo>
                      <a:pt x="877" y="677"/>
                    </a:lnTo>
                    <a:lnTo>
                      <a:pt x="877" y="677"/>
                    </a:lnTo>
                    <a:lnTo>
                      <a:pt x="877" y="668"/>
                    </a:lnTo>
                    <a:lnTo>
                      <a:pt x="846" y="668"/>
                    </a:lnTo>
                    <a:close/>
                    <a:moveTo>
                      <a:pt x="1018" y="1651"/>
                    </a:moveTo>
                    <a:lnTo>
                      <a:pt x="1011" y="1645"/>
                    </a:lnTo>
                    <a:lnTo>
                      <a:pt x="1018" y="1651"/>
                    </a:lnTo>
                    <a:close/>
                    <a:moveTo>
                      <a:pt x="1023" y="1644"/>
                    </a:moveTo>
                    <a:lnTo>
                      <a:pt x="1019" y="1650"/>
                    </a:lnTo>
                    <a:lnTo>
                      <a:pt x="1023" y="1644"/>
                    </a:lnTo>
                    <a:close/>
                    <a:moveTo>
                      <a:pt x="996" y="1762"/>
                    </a:moveTo>
                    <a:lnTo>
                      <a:pt x="993" y="1759"/>
                    </a:lnTo>
                    <a:cubicBezTo>
                      <a:pt x="995" y="1756"/>
                      <a:pt x="996" y="1754"/>
                      <a:pt x="999" y="1752"/>
                    </a:cubicBezTo>
                    <a:lnTo>
                      <a:pt x="999" y="1752"/>
                    </a:lnTo>
                    <a:cubicBezTo>
                      <a:pt x="1003" y="1748"/>
                      <a:pt x="1009" y="1746"/>
                      <a:pt x="1015" y="1746"/>
                    </a:cubicBezTo>
                    <a:cubicBezTo>
                      <a:pt x="1029" y="1746"/>
                      <a:pt x="1040" y="1757"/>
                      <a:pt x="1040" y="1771"/>
                    </a:cubicBezTo>
                    <a:cubicBezTo>
                      <a:pt x="1040" y="1785"/>
                      <a:pt x="1029" y="1797"/>
                      <a:pt x="1015" y="1797"/>
                    </a:cubicBezTo>
                    <a:lnTo>
                      <a:pt x="1015" y="1797"/>
                    </a:lnTo>
                    <a:cubicBezTo>
                      <a:pt x="1001" y="1797"/>
                      <a:pt x="990" y="1785"/>
                      <a:pt x="990" y="1771"/>
                    </a:cubicBezTo>
                    <a:cubicBezTo>
                      <a:pt x="990" y="1767"/>
                      <a:pt x="991" y="1762"/>
                      <a:pt x="993" y="1759"/>
                    </a:cubicBezTo>
                    <a:lnTo>
                      <a:pt x="996" y="1762"/>
                    </a:lnTo>
                    <a:close/>
                    <a:moveTo>
                      <a:pt x="1009" y="1761"/>
                    </a:moveTo>
                    <a:lnTo>
                      <a:pt x="1013" y="1765"/>
                    </a:lnTo>
                    <a:lnTo>
                      <a:pt x="1013" y="1765"/>
                    </a:lnTo>
                    <a:lnTo>
                      <a:pt x="1013" y="1765"/>
                    </a:lnTo>
                    <a:lnTo>
                      <a:pt x="1009" y="1761"/>
                    </a:lnTo>
                    <a:close/>
                    <a:moveTo>
                      <a:pt x="1005" y="806"/>
                    </a:moveTo>
                    <a:lnTo>
                      <a:pt x="999" y="812"/>
                    </a:lnTo>
                    <a:lnTo>
                      <a:pt x="1005" y="806"/>
                    </a:lnTo>
                    <a:close/>
                    <a:moveTo>
                      <a:pt x="1014" y="531"/>
                    </a:moveTo>
                    <a:lnTo>
                      <a:pt x="1014" y="531"/>
                    </a:lnTo>
                    <a:lnTo>
                      <a:pt x="1014" y="531"/>
                    </a:lnTo>
                    <a:lnTo>
                      <a:pt x="1014" y="531"/>
                    </a:lnTo>
                    <a:close/>
                    <a:moveTo>
                      <a:pt x="352" y="1491"/>
                    </a:moveTo>
                    <a:cubicBezTo>
                      <a:pt x="352" y="1490"/>
                      <a:pt x="351" y="1488"/>
                      <a:pt x="351" y="1486"/>
                    </a:cubicBezTo>
                    <a:lnTo>
                      <a:pt x="352" y="1491"/>
                    </a:lnTo>
                    <a:close/>
                    <a:moveTo>
                      <a:pt x="1384" y="1544"/>
                    </a:moveTo>
                    <a:cubicBezTo>
                      <a:pt x="1434" y="1519"/>
                      <a:pt x="1482" y="1487"/>
                      <a:pt x="1524" y="1448"/>
                    </a:cubicBezTo>
                    <a:cubicBezTo>
                      <a:pt x="1564" y="1411"/>
                      <a:pt x="1599" y="1367"/>
                      <a:pt x="1628" y="1316"/>
                    </a:cubicBezTo>
                    <a:cubicBezTo>
                      <a:pt x="1686" y="1216"/>
                      <a:pt x="1709" y="1105"/>
                      <a:pt x="1702" y="997"/>
                    </a:cubicBezTo>
                    <a:cubicBezTo>
                      <a:pt x="1695" y="886"/>
                      <a:pt x="1656" y="779"/>
                      <a:pt x="1589" y="689"/>
                    </a:cubicBezTo>
                    <a:lnTo>
                      <a:pt x="1548" y="720"/>
                    </a:lnTo>
                    <a:cubicBezTo>
                      <a:pt x="1610" y="801"/>
                      <a:pt x="1645" y="899"/>
                      <a:pt x="1652" y="1001"/>
                    </a:cubicBezTo>
                    <a:cubicBezTo>
                      <a:pt x="1658" y="1099"/>
                      <a:pt x="1637" y="1200"/>
                      <a:pt x="1584" y="1291"/>
                    </a:cubicBezTo>
                    <a:cubicBezTo>
                      <a:pt x="1558" y="1337"/>
                      <a:pt x="1526" y="1377"/>
                      <a:pt x="1489" y="1411"/>
                    </a:cubicBezTo>
                    <a:cubicBezTo>
                      <a:pt x="1451" y="1447"/>
                      <a:pt x="1408" y="1476"/>
                      <a:pt x="1362" y="1498"/>
                    </a:cubicBezTo>
                    <a:lnTo>
                      <a:pt x="1384" y="15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grpSp>
    </p:spTree>
    <p:extLst>
      <p:ext uri="{BB962C8B-B14F-4D97-AF65-F5344CB8AC3E}">
        <p14:creationId xmlns:p14="http://schemas.microsoft.com/office/powerpoint/2010/main" val="4177793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B03DDB-9947-B89F-F2AB-555F812EA5F3}"/>
              </a:ext>
            </a:extLst>
          </p:cNvPr>
          <p:cNvSpPr/>
          <p:nvPr/>
        </p:nvSpPr>
        <p:spPr>
          <a:xfrm>
            <a:off x="0" y="0"/>
            <a:ext cx="12192000" cy="6858000"/>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A person wearing a hard hat and jacket&#10;&#10;Description automatically generated">
            <a:extLst>
              <a:ext uri="{FF2B5EF4-FFF2-40B4-BE49-F238E27FC236}">
                <a16:creationId xmlns:a16="http://schemas.microsoft.com/office/drawing/2014/main" id="{D5F1C481-BB83-9BAD-7231-FBAA157532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1D5D8C84-5A62-4F9A-8498-4FA795CD3DF6}"/>
              </a:ext>
            </a:extLst>
          </p:cNvPr>
          <p:cNvSpPr txBox="1"/>
          <p:nvPr/>
        </p:nvSpPr>
        <p:spPr>
          <a:xfrm flipH="1">
            <a:off x="847740" y="2911876"/>
            <a:ext cx="75538" cy="887767"/>
          </a:xfrm>
          <a:prstGeom prst="rect">
            <a:avLst/>
          </a:prstGeom>
          <a:solidFill>
            <a:srgbClr val="00B0F0"/>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71066"/>
              </a:solidFill>
              <a:effectLst/>
              <a:uLnTx/>
              <a:uFillTx/>
              <a:latin typeface="Calibri" panose="020F0502020204030204"/>
              <a:ea typeface="+mn-ea"/>
              <a:cs typeface="+mn-cs"/>
            </a:endParaRPr>
          </a:p>
        </p:txBody>
      </p:sp>
      <p:sp>
        <p:nvSpPr>
          <p:cNvPr id="12" name="Title 7">
            <a:extLst>
              <a:ext uri="{FF2B5EF4-FFF2-40B4-BE49-F238E27FC236}">
                <a16:creationId xmlns:a16="http://schemas.microsoft.com/office/drawing/2014/main" id="{66449046-45CF-4FA3-8634-C2540490D9AD}"/>
              </a:ext>
            </a:extLst>
          </p:cNvPr>
          <p:cNvSpPr txBox="1">
            <a:spLocks/>
          </p:cNvSpPr>
          <p:nvPr/>
        </p:nvSpPr>
        <p:spPr>
          <a:xfrm>
            <a:off x="1211068" y="2392425"/>
            <a:ext cx="7045172" cy="19266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500" b="1" kern="1200">
                <a:solidFill>
                  <a:schemeClr val="bg1"/>
                </a:solidFill>
                <a:latin typeface="Century Gothic" panose="020B0502020202020204" pitchFamily="34" charset="0"/>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white"/>
                </a:solidFill>
                <a:effectLst/>
                <a:uLnTx/>
                <a:uFillTx/>
                <a:latin typeface="Century Gothic" panose="020B0502020202020204" pitchFamily="34" charset="0"/>
                <a:ea typeface="+mj-ea"/>
                <a:cs typeface="Calibri Light" panose="020F0302020204030204" pitchFamily="34" charset="0"/>
              </a:rPr>
              <a:t>LIBERTY Ostrava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white"/>
                </a:solidFill>
                <a:effectLst/>
                <a:uLnTx/>
                <a:uFillTx/>
                <a:latin typeface="Century Gothic" panose="020B0502020202020204" pitchFamily="34" charset="0"/>
                <a:ea typeface="+mj-ea"/>
                <a:cs typeface="Calibri Light" panose="020F0302020204030204" pitchFamily="34" charset="0"/>
              </a:rPr>
              <a:t>Restructuring Plan</a:t>
            </a:r>
          </a:p>
        </p:txBody>
      </p:sp>
      <p:pic>
        <p:nvPicPr>
          <p:cNvPr id="6" name="Picture 5" descr="A picture containing text, clipart&#10;&#10;Description automatically generated">
            <a:extLst>
              <a:ext uri="{FF2B5EF4-FFF2-40B4-BE49-F238E27FC236}">
                <a16:creationId xmlns:a16="http://schemas.microsoft.com/office/drawing/2014/main" id="{9E212641-EC0F-7410-2B16-D447E94DC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9973" y="5805264"/>
            <a:ext cx="2024619" cy="480763"/>
          </a:xfrm>
          <a:prstGeom prst="rect">
            <a:avLst/>
          </a:prstGeom>
        </p:spPr>
      </p:pic>
    </p:spTree>
    <p:extLst>
      <p:ext uri="{BB962C8B-B14F-4D97-AF65-F5344CB8AC3E}">
        <p14:creationId xmlns:p14="http://schemas.microsoft.com/office/powerpoint/2010/main" val="758325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The Plan is based on key principles</a:t>
            </a:r>
          </a:p>
        </p:txBody>
      </p:sp>
      <p:sp>
        <p:nvSpPr>
          <p:cNvPr id="27" name="TextBox 26">
            <a:extLst>
              <a:ext uri="{FF2B5EF4-FFF2-40B4-BE49-F238E27FC236}">
                <a16:creationId xmlns:a16="http://schemas.microsoft.com/office/drawing/2014/main" id="{9FAA1913-8B37-5F0A-DCF3-389788873397}"/>
              </a:ext>
            </a:extLst>
          </p:cNvPr>
          <p:cNvSpPr txBox="1"/>
          <p:nvPr/>
        </p:nvSpPr>
        <p:spPr>
          <a:xfrm>
            <a:off x="810256" y="1147966"/>
            <a:ext cx="7229960" cy="4555093"/>
          </a:xfrm>
          <a:prstGeom prst="rect">
            <a:avLst/>
          </a:prstGeom>
          <a:noFill/>
        </p:spPr>
        <p:txBody>
          <a:bodyPr wrap="square">
            <a:spAutoFit/>
          </a:bodyPr>
          <a:lstStyle/>
          <a:p>
            <a:pPr marL="357188" lvl="1" indent="-357188">
              <a:buFont typeface="+mj-lt"/>
              <a:buAutoNum type="arabicPeriod"/>
            </a:pPr>
            <a:r>
              <a:rPr lang="en-US" sz="1600" dirty="0">
                <a:effectLst/>
                <a:ea typeface="Aptos" panose="020B0004020202020204" pitchFamily="34" charset="0"/>
                <a:cs typeface="Aptos" panose="020B0004020202020204" pitchFamily="34" charset="0"/>
              </a:rPr>
              <a:t>The Rolling Mills will be restarted in advance of the Blast Furnace with imported feed (Slabs and Billets) - Target date March 2024</a:t>
            </a:r>
          </a:p>
          <a:p>
            <a:pPr marL="357188" lvl="1" indent="-357188">
              <a:buFont typeface="+mj-lt"/>
              <a:buAutoNum type="arabicPeriod"/>
            </a:pPr>
            <a:endParaRPr lang="en-US" sz="1600" dirty="0">
              <a:effectLst/>
              <a:ea typeface="Aptos" panose="020B0004020202020204" pitchFamily="34" charset="0"/>
              <a:cs typeface="Aptos" panose="020B0004020202020204" pitchFamily="34" charset="0"/>
            </a:endParaRPr>
          </a:p>
          <a:p>
            <a:pPr marL="357188" lvl="1" indent="-357188">
              <a:buFont typeface="+mj-lt"/>
              <a:buAutoNum type="arabicPeriod"/>
            </a:pPr>
            <a:r>
              <a:rPr lang="en-US" sz="1600" dirty="0">
                <a:effectLst/>
                <a:ea typeface="Aptos" panose="020B0004020202020204" pitchFamily="34" charset="0"/>
                <a:cs typeface="Aptos" panose="020B0004020202020204" pitchFamily="34" charset="0"/>
              </a:rPr>
              <a:t>Reduction of overall production through the Blast Furnace (80ktpm) to only produce products with a positive contribution. – Latest restart date of Blast Furnace  end of Dec 2024</a:t>
            </a:r>
          </a:p>
          <a:p>
            <a:pPr marL="357188" marR="0" lvl="1" indent="-357188">
              <a:spcBef>
                <a:spcPts val="0"/>
              </a:spcBef>
              <a:spcAft>
                <a:spcPts val="0"/>
              </a:spcAft>
              <a:buFont typeface="+mj-lt"/>
              <a:buAutoNum type="arabicPeriod"/>
            </a:pPr>
            <a:endParaRPr lang="en-US" sz="1600" dirty="0">
              <a:ea typeface="Aptos" panose="020B0004020202020204" pitchFamily="34" charset="0"/>
              <a:cs typeface="Aptos" panose="020B0004020202020204" pitchFamily="34" charset="0"/>
            </a:endParaRPr>
          </a:p>
          <a:p>
            <a:pPr marL="357188" marR="0" lvl="1" indent="-357188">
              <a:spcBef>
                <a:spcPts val="0"/>
              </a:spcBef>
              <a:spcAft>
                <a:spcPts val="0"/>
              </a:spcAft>
              <a:buFont typeface="+mj-lt"/>
              <a:buAutoNum type="arabicPeriod"/>
            </a:pPr>
            <a:r>
              <a:rPr lang="en-US" sz="1600" dirty="0">
                <a:effectLst/>
                <a:ea typeface="Aptos" panose="020B0004020202020204" pitchFamily="34" charset="0"/>
                <a:cs typeface="Aptos" panose="020B0004020202020204" pitchFamily="34" charset="0"/>
              </a:rPr>
              <a:t>Reduction in the cost base through efficiency improvements and other cost reductions initiatives – more than Euro 100m per annum</a:t>
            </a:r>
          </a:p>
          <a:p>
            <a:pPr marL="357188" lvl="1" indent="-357188">
              <a:buFont typeface="+mj-lt"/>
              <a:buAutoNum type="arabicPeriod"/>
            </a:pPr>
            <a:endParaRPr lang="en-US" sz="1600" dirty="0">
              <a:effectLst/>
              <a:ea typeface="Aptos" panose="020B0004020202020204" pitchFamily="34" charset="0"/>
              <a:cs typeface="Aptos" panose="020B0004020202020204" pitchFamily="34" charset="0"/>
            </a:endParaRPr>
          </a:p>
          <a:p>
            <a:pPr marL="357188" lvl="1" indent="-357188">
              <a:buFont typeface="+mj-lt"/>
              <a:buAutoNum type="arabicPeriod"/>
            </a:pPr>
            <a:r>
              <a:rPr lang="en-US" sz="1600" dirty="0">
                <a:effectLst/>
                <a:ea typeface="Aptos" panose="020B0004020202020204" pitchFamily="34" charset="0"/>
                <a:cs typeface="Aptos" panose="020B0004020202020204" pitchFamily="34" charset="0"/>
              </a:rPr>
              <a:t>Significant reduction in the cost of energy by restructuring or replacing Tameh –  almost Euro 100m per annum</a:t>
            </a:r>
          </a:p>
          <a:p>
            <a:pPr marL="357188" marR="0" lvl="1" indent="-357188">
              <a:spcBef>
                <a:spcPts val="0"/>
              </a:spcBef>
              <a:spcAft>
                <a:spcPts val="0"/>
              </a:spcAft>
              <a:buFont typeface="+mj-lt"/>
              <a:buAutoNum type="arabicPeriod"/>
            </a:pPr>
            <a:endParaRPr lang="en-US" sz="1600" dirty="0">
              <a:effectLst/>
              <a:ea typeface="Aptos" panose="020B0004020202020204" pitchFamily="34" charset="0"/>
              <a:cs typeface="Aptos" panose="020B0004020202020204" pitchFamily="34" charset="0"/>
            </a:endParaRPr>
          </a:p>
          <a:p>
            <a:pPr marL="357188" lvl="1" indent="-357188">
              <a:buFont typeface="+mj-lt"/>
              <a:buAutoNum type="arabicPeriod"/>
            </a:pPr>
            <a:r>
              <a:rPr lang="en-US" sz="1600" dirty="0">
                <a:effectLst/>
                <a:ea typeface="Aptos" panose="020B0004020202020204" pitchFamily="34" charset="0"/>
                <a:cs typeface="Aptos" panose="020B0004020202020204" pitchFamily="34" charset="0"/>
              </a:rPr>
              <a:t>Injecting working capital from Group to support the restart – Euro 160m over the life of the plan having already contributed Euro 20 million in the past weeks</a:t>
            </a:r>
            <a:endParaRPr lang="en-GB" sz="1600" kern="100" dirty="0">
              <a:ea typeface="Calibri" panose="020F0502020204030204" pitchFamily="34" charset="0"/>
              <a:cs typeface="Times New Roman" panose="02020603050405020304" pitchFamily="18" charset="0"/>
            </a:endParaRPr>
          </a:p>
          <a:p>
            <a:pPr marL="357188" lvl="1" indent="-357188">
              <a:buFont typeface="Arial" panose="020B0604020202020204" pitchFamily="34" charset="0"/>
              <a:buChar char="•"/>
            </a:pPr>
            <a:endParaRPr lang="en-US" sz="1400" dirty="0">
              <a:effectLst/>
              <a:ea typeface="Aptos" panose="020B0004020202020204" pitchFamily="34" charset="0"/>
              <a:cs typeface="Aptos" panose="020B0004020202020204" pitchFamily="34" charset="0"/>
            </a:endParaRPr>
          </a:p>
          <a:p>
            <a:pPr marL="357188" lvl="1" indent="-357188">
              <a:buFont typeface="Arial" panose="020B0604020202020204" pitchFamily="34" charset="0"/>
              <a:buChar char="•"/>
            </a:pPr>
            <a:endParaRPr lang="en-GB" sz="1400" kern="100" dirty="0">
              <a:ea typeface="Calibri" panose="020F0502020204030204" pitchFamily="34" charset="0"/>
              <a:cs typeface="Times New Roman" panose="02020603050405020304" pitchFamily="18" charset="0"/>
            </a:endParaRPr>
          </a:p>
          <a:p>
            <a:pPr marL="357188" marR="0" lvl="1" indent="-357188">
              <a:spcBef>
                <a:spcPts val="0"/>
              </a:spcBef>
              <a:spcAft>
                <a:spcPts val="0"/>
              </a:spcAft>
              <a:buFont typeface="+mj-lt"/>
              <a:buAutoNum type="alphaLcPeriod"/>
            </a:pPr>
            <a:endParaRPr lang="en-US" sz="1100" dirty="0">
              <a:effectLst/>
              <a:ea typeface="Aptos" panose="020B0004020202020204" pitchFamily="34" charset="0"/>
              <a:cs typeface="Aptos" panose="020B0004020202020204" pitchFamily="34" charset="0"/>
            </a:endParaRPr>
          </a:p>
          <a:p>
            <a:pPr marL="357188" marR="0" lvl="1" indent="-357188">
              <a:spcBef>
                <a:spcPts val="0"/>
              </a:spcBef>
              <a:spcAft>
                <a:spcPts val="0"/>
              </a:spcAft>
              <a:buFont typeface="+mj-lt"/>
              <a:buAutoNum type="alphaLcPeriod"/>
            </a:pPr>
            <a:endParaRPr lang="en-US" sz="1100" dirty="0">
              <a:ea typeface="Aptos" panose="020B0004020202020204" pitchFamily="34" charset="0"/>
              <a:cs typeface="Aptos" panose="020B0004020202020204" pitchFamily="34" charset="0"/>
            </a:endParaRPr>
          </a:p>
        </p:txBody>
      </p:sp>
      <p:sp>
        <p:nvSpPr>
          <p:cNvPr id="29" name="Rectangle 28">
            <a:extLst>
              <a:ext uri="{FF2B5EF4-FFF2-40B4-BE49-F238E27FC236}">
                <a16:creationId xmlns:a16="http://schemas.microsoft.com/office/drawing/2014/main" id="{804F16C2-A4ED-E0BB-4A39-33540234359E}"/>
              </a:ext>
            </a:extLst>
          </p:cNvPr>
          <p:cNvSpPr/>
          <p:nvPr/>
        </p:nvSpPr>
        <p:spPr>
          <a:xfrm>
            <a:off x="675262" y="935804"/>
            <a:ext cx="7508970" cy="5378598"/>
          </a:xfrm>
          <a:prstGeom prst="rect">
            <a:avLst/>
          </a:prstGeom>
          <a:noFill/>
          <a:ln w="6350">
            <a:solidFill>
              <a:srgbClr val="36BCE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Footer Placeholder 11">
            <a:extLst>
              <a:ext uri="{FF2B5EF4-FFF2-40B4-BE49-F238E27FC236}">
                <a16:creationId xmlns:a16="http://schemas.microsoft.com/office/drawing/2014/main" id="{AF85EC98-26A6-DE7C-8F5B-306F5E487F5D}"/>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grpSp>
        <p:nvGrpSpPr>
          <p:cNvPr id="7" name="Group 6">
            <a:extLst>
              <a:ext uri="{FF2B5EF4-FFF2-40B4-BE49-F238E27FC236}">
                <a16:creationId xmlns:a16="http://schemas.microsoft.com/office/drawing/2014/main" id="{4AD9C6DF-C289-4692-7909-136CA3DFADD4}"/>
              </a:ext>
            </a:extLst>
          </p:cNvPr>
          <p:cNvGrpSpPr/>
          <p:nvPr/>
        </p:nvGrpSpPr>
        <p:grpSpPr>
          <a:xfrm>
            <a:off x="8184232" y="932976"/>
            <a:ext cx="4032448" cy="5387082"/>
            <a:chOff x="8184232" y="932976"/>
            <a:chExt cx="4032448" cy="5387082"/>
          </a:xfrm>
        </p:grpSpPr>
        <p:pic>
          <p:nvPicPr>
            <p:cNvPr id="8" name="Picture 7" descr="A group of people sitting around a table&#10;&#10;Description automatically generated">
              <a:extLst>
                <a:ext uri="{FF2B5EF4-FFF2-40B4-BE49-F238E27FC236}">
                  <a16:creationId xmlns:a16="http://schemas.microsoft.com/office/drawing/2014/main" id="{2AA03CD2-024A-830C-5B82-8593F0336F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4232" y="932976"/>
              <a:ext cx="4011072" cy="5384254"/>
            </a:xfrm>
            <a:prstGeom prst="rect">
              <a:avLst/>
            </a:prstGeom>
          </p:spPr>
        </p:pic>
        <p:sp>
          <p:nvSpPr>
            <p:cNvPr id="9" name="직사각형 11">
              <a:extLst>
                <a:ext uri="{FF2B5EF4-FFF2-40B4-BE49-F238E27FC236}">
                  <a16:creationId xmlns:a16="http://schemas.microsoft.com/office/drawing/2014/main" id="{711C8E9D-2C38-54AB-89E2-6D344E7FAB60}"/>
                </a:ext>
              </a:extLst>
            </p:cNvPr>
            <p:cNvSpPr/>
            <p:nvPr/>
          </p:nvSpPr>
          <p:spPr>
            <a:xfrm>
              <a:off x="8186463" y="935804"/>
              <a:ext cx="4005537" cy="5384254"/>
            </a:xfrm>
            <a:prstGeom prst="rect">
              <a:avLst/>
            </a:prstGeom>
            <a:solidFill>
              <a:srgbClr val="36BCEE">
                <a:alpha val="62000"/>
              </a:srgb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dirty="0">
                <a:ln>
                  <a:noFill/>
                </a:ln>
                <a:solidFill>
                  <a:srgbClr val="FFFFFF"/>
                </a:solidFill>
                <a:effectLst/>
                <a:uLnTx/>
                <a:uFillTx/>
                <a:latin typeface="Calibri"/>
                <a:ea typeface="맑은 고딕"/>
                <a:cs typeface="+mn-cs"/>
              </a:endParaRPr>
            </a:p>
          </p:txBody>
        </p:sp>
        <p:sp>
          <p:nvSpPr>
            <p:cNvPr id="10" name="직사각형 12">
              <a:extLst>
                <a:ext uri="{FF2B5EF4-FFF2-40B4-BE49-F238E27FC236}">
                  <a16:creationId xmlns:a16="http://schemas.microsoft.com/office/drawing/2014/main" id="{78066A20-A60A-A576-1152-F7DC74C06241}"/>
                </a:ext>
              </a:extLst>
            </p:cNvPr>
            <p:cNvSpPr/>
            <p:nvPr/>
          </p:nvSpPr>
          <p:spPr>
            <a:xfrm>
              <a:off x="12065845" y="933273"/>
              <a:ext cx="150835" cy="5383659"/>
            </a:xfrm>
            <a:prstGeom prst="rect">
              <a:avLst/>
            </a:prstGeom>
            <a:solidFill>
              <a:srgbClr val="36BC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ko-Kore-KR" altLang="en-US" sz="1800" b="0" i="0" u="none" strike="noStrike" kern="0" cap="none" spc="0" normalizeH="0" baseline="0" noProof="0">
                <a:ln>
                  <a:noFill/>
                </a:ln>
                <a:solidFill>
                  <a:srgbClr val="FFFFFF"/>
                </a:solidFill>
                <a:effectLst/>
                <a:uLnTx/>
                <a:uFillTx/>
                <a:latin typeface="Calibri"/>
                <a:ea typeface="맑은 고딕"/>
                <a:cs typeface="+mn-cs"/>
              </a:endParaRPr>
            </a:p>
          </p:txBody>
        </p:sp>
        <p:grpSp>
          <p:nvGrpSpPr>
            <p:cNvPr id="11" name="Group 10">
              <a:extLst>
                <a:ext uri="{FF2B5EF4-FFF2-40B4-BE49-F238E27FC236}">
                  <a16:creationId xmlns:a16="http://schemas.microsoft.com/office/drawing/2014/main" id="{BE0210E5-EC4D-0167-8E9E-48CA6C57AB3F}"/>
                </a:ext>
              </a:extLst>
            </p:cNvPr>
            <p:cNvGrpSpPr/>
            <p:nvPr/>
          </p:nvGrpSpPr>
          <p:grpSpPr>
            <a:xfrm>
              <a:off x="8688288" y="2890391"/>
              <a:ext cx="3119587" cy="1330697"/>
              <a:chOff x="8256240" y="2890391"/>
              <a:chExt cx="3119587" cy="1330697"/>
            </a:xfrm>
          </p:grpSpPr>
          <p:sp>
            <p:nvSpPr>
              <p:cNvPr id="12" name="TextBox 11">
                <a:extLst>
                  <a:ext uri="{FF2B5EF4-FFF2-40B4-BE49-F238E27FC236}">
                    <a16:creationId xmlns:a16="http://schemas.microsoft.com/office/drawing/2014/main" id="{8CE50A7B-28E5-76BB-DEF2-2B2606CCC750}"/>
                  </a:ext>
                </a:extLst>
              </p:cNvPr>
              <p:cNvSpPr txBox="1"/>
              <p:nvPr/>
            </p:nvSpPr>
            <p:spPr>
              <a:xfrm>
                <a:off x="8256240" y="3636313"/>
                <a:ext cx="3119587" cy="584775"/>
              </a:xfrm>
              <a:prstGeom prst="rect">
                <a:avLst/>
              </a:prstGeom>
              <a:noFill/>
            </p:spPr>
            <p:txBody>
              <a:bodyPr wrap="square">
                <a:spAutoFit/>
              </a:bodyPr>
              <a:lstStyle/>
              <a:p>
                <a:pPr algn="ctr"/>
                <a:r>
                  <a:rPr lang="en-GB" sz="3200" b="1" dirty="0">
                    <a:solidFill>
                      <a:schemeClr val="bg1"/>
                    </a:solidFill>
                    <a:effectLst>
                      <a:outerShdw blurRad="38100" dist="38100" dir="2700000" algn="tl">
                        <a:srgbClr val="000000">
                          <a:alpha val="43137"/>
                        </a:srgbClr>
                      </a:outerShdw>
                    </a:effectLst>
                    <a:latin typeface="Century Gothic" panose="020B0502020202020204" pitchFamily="34" charset="0"/>
                  </a:rPr>
                  <a:t>The Plan</a:t>
                </a:r>
              </a:p>
            </p:txBody>
          </p:sp>
          <p:sp>
            <p:nvSpPr>
              <p:cNvPr id="13" name="Freeform 20">
                <a:extLst>
                  <a:ext uri="{FF2B5EF4-FFF2-40B4-BE49-F238E27FC236}">
                    <a16:creationId xmlns:a16="http://schemas.microsoft.com/office/drawing/2014/main" id="{8BB6AA97-9782-0567-81B9-894F0BD99B56}"/>
                  </a:ext>
                </a:extLst>
              </p:cNvPr>
              <p:cNvSpPr>
                <a:spLocks noEditPoints="1"/>
              </p:cNvSpPr>
              <p:nvPr/>
            </p:nvSpPr>
            <p:spPr bwMode="auto">
              <a:xfrm>
                <a:off x="9593204" y="2890391"/>
                <a:ext cx="589986" cy="718289"/>
              </a:xfrm>
              <a:custGeom>
                <a:avLst/>
                <a:gdLst>
                  <a:gd name="T0" fmla="*/ 524 w 2544"/>
                  <a:gd name="T1" fmla="*/ 1894 h 3098"/>
                  <a:gd name="T2" fmla="*/ 1846 w 2544"/>
                  <a:gd name="T3" fmla="*/ 423 h 3098"/>
                  <a:gd name="T4" fmla="*/ 1745 w 2544"/>
                  <a:gd name="T5" fmla="*/ 357 h 3098"/>
                  <a:gd name="T6" fmla="*/ 1405 w 2544"/>
                  <a:gd name="T7" fmla="*/ 228 h 3098"/>
                  <a:gd name="T8" fmla="*/ 585 w 2544"/>
                  <a:gd name="T9" fmla="*/ 261 h 3098"/>
                  <a:gd name="T10" fmla="*/ 421 w 2544"/>
                  <a:gd name="T11" fmla="*/ 501 h 3098"/>
                  <a:gd name="T12" fmla="*/ 380 w 2544"/>
                  <a:gd name="T13" fmla="*/ 599 h 3098"/>
                  <a:gd name="T14" fmla="*/ 203 w 2544"/>
                  <a:gd name="T15" fmla="*/ 948 h 3098"/>
                  <a:gd name="T16" fmla="*/ 308 w 2544"/>
                  <a:gd name="T17" fmla="*/ 1237 h 3098"/>
                  <a:gd name="T18" fmla="*/ 334 w 2544"/>
                  <a:gd name="T19" fmla="*/ 1415 h 3098"/>
                  <a:gd name="T20" fmla="*/ 389 w 2544"/>
                  <a:gd name="T21" fmla="*/ 1611 h 3098"/>
                  <a:gd name="T22" fmla="*/ 229 w 2544"/>
                  <a:gd name="T23" fmla="*/ 1707 h 3098"/>
                  <a:gd name="T24" fmla="*/ 272 w 2544"/>
                  <a:gd name="T25" fmla="*/ 1778 h 3098"/>
                  <a:gd name="T26" fmla="*/ 737 w 2544"/>
                  <a:gd name="T27" fmla="*/ 1781 h 3098"/>
                  <a:gd name="T28" fmla="*/ 93 w 2544"/>
                  <a:gd name="T29" fmla="*/ 1349 h 3098"/>
                  <a:gd name="T30" fmla="*/ 1147 w 2544"/>
                  <a:gd name="T31" fmla="*/ 979 h 3098"/>
                  <a:gd name="T32" fmla="*/ 835 w 2544"/>
                  <a:gd name="T33" fmla="*/ 1349 h 3098"/>
                  <a:gd name="T34" fmla="*/ 481 w 2544"/>
                  <a:gd name="T35" fmla="*/ 1485 h 3098"/>
                  <a:gd name="T36" fmla="*/ 571 w 2544"/>
                  <a:gd name="T37" fmla="*/ 1270 h 3098"/>
                  <a:gd name="T38" fmla="*/ 1307 w 2544"/>
                  <a:gd name="T39" fmla="*/ 1476 h 3098"/>
                  <a:gd name="T40" fmla="*/ 1011 w 2544"/>
                  <a:gd name="T41" fmla="*/ 1635 h 3098"/>
                  <a:gd name="T42" fmla="*/ 695 w 2544"/>
                  <a:gd name="T43" fmla="*/ 1652 h 3098"/>
                  <a:gd name="T44" fmla="*/ 786 w 2544"/>
                  <a:gd name="T45" fmla="*/ 1749 h 3098"/>
                  <a:gd name="T46" fmla="*/ 848 w 2544"/>
                  <a:gd name="T47" fmla="*/ 1758 h 3098"/>
                  <a:gd name="T48" fmla="*/ 1625 w 2544"/>
                  <a:gd name="T49" fmla="*/ 640 h 3098"/>
                  <a:gd name="T50" fmla="*/ 1295 w 2544"/>
                  <a:gd name="T51" fmla="*/ 663 h 3098"/>
                  <a:gd name="T52" fmla="*/ 990 w 2544"/>
                  <a:gd name="T53" fmla="*/ 803 h 3098"/>
                  <a:gd name="T54" fmla="*/ 1352 w 2544"/>
                  <a:gd name="T55" fmla="*/ 1240 h 3098"/>
                  <a:gd name="T56" fmla="*/ 722 w 2544"/>
                  <a:gd name="T57" fmla="*/ 1340 h 3098"/>
                  <a:gd name="T58" fmla="*/ 489 w 2544"/>
                  <a:gd name="T59" fmla="*/ 1261 h 3098"/>
                  <a:gd name="T60" fmla="*/ 352 w 2544"/>
                  <a:gd name="T61" fmla="*/ 1178 h 3098"/>
                  <a:gd name="T62" fmla="*/ 767 w 2544"/>
                  <a:gd name="T63" fmla="*/ 1244 h 3098"/>
                  <a:gd name="T64" fmla="*/ 638 w 2544"/>
                  <a:gd name="T65" fmla="*/ 1169 h 3098"/>
                  <a:gd name="T66" fmla="*/ 870 w 2544"/>
                  <a:gd name="T67" fmla="*/ 1061 h 3098"/>
                  <a:gd name="T68" fmla="*/ 545 w 2544"/>
                  <a:gd name="T69" fmla="*/ 1430 h 3098"/>
                  <a:gd name="T70" fmla="*/ 845 w 2544"/>
                  <a:gd name="T71" fmla="*/ 952 h 3098"/>
                  <a:gd name="T72" fmla="*/ 863 w 2544"/>
                  <a:gd name="T73" fmla="*/ 951 h 3098"/>
                  <a:gd name="T74" fmla="*/ 863 w 2544"/>
                  <a:gd name="T75" fmla="*/ 954 h 3098"/>
                  <a:gd name="T76" fmla="*/ 483 w 2544"/>
                  <a:gd name="T77" fmla="*/ 945 h 3098"/>
                  <a:gd name="T78" fmla="*/ 865 w 2544"/>
                  <a:gd name="T79" fmla="*/ 943 h 3098"/>
                  <a:gd name="T80" fmla="*/ 866 w 2544"/>
                  <a:gd name="T81" fmla="*/ 940 h 3098"/>
                  <a:gd name="T82" fmla="*/ 867 w 2544"/>
                  <a:gd name="T83" fmla="*/ 936 h 3098"/>
                  <a:gd name="T84" fmla="*/ 868 w 2544"/>
                  <a:gd name="T85" fmla="*/ 932 h 3098"/>
                  <a:gd name="T86" fmla="*/ 846 w 2544"/>
                  <a:gd name="T87" fmla="*/ 945 h 3098"/>
                  <a:gd name="T88" fmla="*/ 827 w 2544"/>
                  <a:gd name="T89" fmla="*/ 800 h 3098"/>
                  <a:gd name="T90" fmla="*/ 547 w 2544"/>
                  <a:gd name="T91" fmla="*/ 708 h 3098"/>
                  <a:gd name="T92" fmla="*/ 1125 w 2544"/>
                  <a:gd name="T93" fmla="*/ 664 h 3098"/>
                  <a:gd name="T94" fmla="*/ 845 w 2544"/>
                  <a:gd name="T95" fmla="*/ 940 h 3098"/>
                  <a:gd name="T96" fmla="*/ 362 w 2544"/>
                  <a:gd name="T97" fmla="*/ 843 h 3098"/>
                  <a:gd name="T98" fmla="*/ 543 w 2544"/>
                  <a:gd name="T99" fmla="*/ 716 h 3098"/>
                  <a:gd name="T100" fmla="*/ 1408 w 2544"/>
                  <a:gd name="T101" fmla="*/ 296 h 3098"/>
                  <a:gd name="T102" fmla="*/ 842 w 2544"/>
                  <a:gd name="T103" fmla="*/ 470 h 3098"/>
                  <a:gd name="T104" fmla="*/ 990 w 2544"/>
                  <a:gd name="T105" fmla="*/ 537 h 3098"/>
                  <a:gd name="T106" fmla="*/ 1578 w 2544"/>
                  <a:gd name="T107" fmla="*/ 561 h 3098"/>
                  <a:gd name="T108" fmla="*/ 1020 w 2544"/>
                  <a:gd name="T109" fmla="*/ 246 h 3098"/>
                  <a:gd name="T110" fmla="*/ 840 w 2544"/>
                  <a:gd name="T111" fmla="*/ 549 h 3098"/>
                  <a:gd name="T112" fmla="*/ 710 w 2544"/>
                  <a:gd name="T113" fmla="*/ 459 h 3098"/>
                  <a:gd name="T114" fmla="*/ 785 w 2544"/>
                  <a:gd name="T115" fmla="*/ 1644 h 3098"/>
                  <a:gd name="T116" fmla="*/ 1126 w 2544"/>
                  <a:gd name="T117" fmla="*/ 1222 h 3098"/>
                  <a:gd name="T118" fmla="*/ 860 w 2544"/>
                  <a:gd name="T119" fmla="*/ 966 h 3098"/>
                  <a:gd name="T120" fmla="*/ 1019 w 2544"/>
                  <a:gd name="T121" fmla="*/ 1650 h 3098"/>
                  <a:gd name="T122" fmla="*/ 1014 w 2544"/>
                  <a:gd name="T123" fmla="*/ 531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4" h="3098">
                    <a:moveTo>
                      <a:pt x="2148" y="1044"/>
                    </a:moveTo>
                    <a:cubicBezTo>
                      <a:pt x="2190" y="965"/>
                      <a:pt x="2202" y="899"/>
                      <a:pt x="2201" y="845"/>
                    </a:cubicBezTo>
                    <a:cubicBezTo>
                      <a:pt x="2200" y="737"/>
                      <a:pt x="2139" y="593"/>
                      <a:pt x="2087" y="501"/>
                    </a:cubicBezTo>
                    <a:cubicBezTo>
                      <a:pt x="1854" y="93"/>
                      <a:pt x="1224" y="0"/>
                      <a:pt x="809" y="113"/>
                    </a:cubicBezTo>
                    <a:cubicBezTo>
                      <a:pt x="0" y="334"/>
                      <a:pt x="53" y="1213"/>
                      <a:pt x="117" y="1497"/>
                    </a:cubicBezTo>
                    <a:cubicBezTo>
                      <a:pt x="189" y="1862"/>
                      <a:pt x="420" y="2189"/>
                      <a:pt x="529" y="2269"/>
                    </a:cubicBezTo>
                    <a:cubicBezTo>
                      <a:pt x="484" y="2471"/>
                      <a:pt x="439" y="2672"/>
                      <a:pt x="393" y="2873"/>
                    </a:cubicBezTo>
                    <a:cubicBezTo>
                      <a:pt x="622" y="2956"/>
                      <a:pt x="925" y="3098"/>
                      <a:pt x="1497" y="2995"/>
                    </a:cubicBezTo>
                    <a:cubicBezTo>
                      <a:pt x="1542" y="2844"/>
                      <a:pt x="1586" y="2678"/>
                      <a:pt x="1789" y="2438"/>
                    </a:cubicBezTo>
                    <a:cubicBezTo>
                      <a:pt x="1964" y="2424"/>
                      <a:pt x="2139" y="2409"/>
                      <a:pt x="2313" y="2395"/>
                    </a:cubicBezTo>
                    <a:cubicBezTo>
                      <a:pt x="2519" y="2328"/>
                      <a:pt x="2416" y="2100"/>
                      <a:pt x="2421" y="2068"/>
                    </a:cubicBezTo>
                    <a:cubicBezTo>
                      <a:pt x="2544" y="1913"/>
                      <a:pt x="2413" y="1867"/>
                      <a:pt x="2410" y="1860"/>
                    </a:cubicBezTo>
                    <a:cubicBezTo>
                      <a:pt x="2459" y="1790"/>
                      <a:pt x="2517" y="1746"/>
                      <a:pt x="2377" y="1606"/>
                    </a:cubicBezTo>
                    <a:cubicBezTo>
                      <a:pt x="2406" y="1572"/>
                      <a:pt x="2457" y="1530"/>
                      <a:pt x="2481" y="1480"/>
                    </a:cubicBezTo>
                    <a:cubicBezTo>
                      <a:pt x="2502" y="1438"/>
                      <a:pt x="2502" y="1419"/>
                      <a:pt x="2471" y="1385"/>
                    </a:cubicBezTo>
                    <a:cubicBezTo>
                      <a:pt x="2409" y="1319"/>
                      <a:pt x="2246" y="1199"/>
                      <a:pt x="2168" y="1118"/>
                    </a:cubicBezTo>
                    <a:cubicBezTo>
                      <a:pt x="2136" y="1084"/>
                      <a:pt x="2129" y="1080"/>
                      <a:pt x="2148" y="1044"/>
                    </a:cubicBezTo>
                    <a:close/>
                    <a:moveTo>
                      <a:pt x="298" y="1970"/>
                    </a:moveTo>
                    <a:lnTo>
                      <a:pt x="365" y="1905"/>
                    </a:lnTo>
                    <a:lnTo>
                      <a:pt x="365" y="1905"/>
                    </a:lnTo>
                    <a:lnTo>
                      <a:pt x="376" y="1894"/>
                    </a:lnTo>
                    <a:lnTo>
                      <a:pt x="524" y="1894"/>
                    </a:lnTo>
                    <a:cubicBezTo>
                      <a:pt x="526" y="1897"/>
                      <a:pt x="527" y="1900"/>
                      <a:pt x="529" y="1903"/>
                    </a:cubicBezTo>
                    <a:lnTo>
                      <a:pt x="379" y="1903"/>
                    </a:lnTo>
                    <a:lnTo>
                      <a:pt x="370" y="1912"/>
                    </a:lnTo>
                    <a:lnTo>
                      <a:pt x="370" y="1912"/>
                    </a:lnTo>
                    <a:lnTo>
                      <a:pt x="368" y="1909"/>
                    </a:lnTo>
                    <a:lnTo>
                      <a:pt x="370" y="1912"/>
                    </a:lnTo>
                    <a:lnTo>
                      <a:pt x="302" y="1978"/>
                    </a:lnTo>
                    <a:cubicBezTo>
                      <a:pt x="301" y="1975"/>
                      <a:pt x="299" y="1973"/>
                      <a:pt x="298" y="1970"/>
                    </a:cubicBezTo>
                    <a:close/>
                    <a:moveTo>
                      <a:pt x="1939" y="322"/>
                    </a:moveTo>
                    <a:cubicBezTo>
                      <a:pt x="1936" y="319"/>
                      <a:pt x="1933" y="317"/>
                      <a:pt x="1930" y="314"/>
                    </a:cubicBezTo>
                    <a:lnTo>
                      <a:pt x="1930" y="391"/>
                    </a:lnTo>
                    <a:lnTo>
                      <a:pt x="1930" y="391"/>
                    </a:lnTo>
                    <a:lnTo>
                      <a:pt x="1930" y="444"/>
                    </a:lnTo>
                    <a:lnTo>
                      <a:pt x="1904" y="471"/>
                    </a:lnTo>
                    <a:lnTo>
                      <a:pt x="1906" y="473"/>
                    </a:lnTo>
                    <a:lnTo>
                      <a:pt x="1904" y="471"/>
                    </a:lnTo>
                    <a:lnTo>
                      <a:pt x="1832" y="547"/>
                    </a:lnTo>
                    <a:cubicBezTo>
                      <a:pt x="1819" y="529"/>
                      <a:pt x="1806" y="512"/>
                      <a:pt x="1793" y="495"/>
                    </a:cubicBezTo>
                    <a:lnTo>
                      <a:pt x="1846" y="443"/>
                    </a:lnTo>
                    <a:lnTo>
                      <a:pt x="1846" y="423"/>
                    </a:lnTo>
                    <a:lnTo>
                      <a:pt x="1843" y="420"/>
                    </a:lnTo>
                    <a:lnTo>
                      <a:pt x="1846" y="423"/>
                    </a:lnTo>
                    <a:lnTo>
                      <a:pt x="1846" y="423"/>
                    </a:lnTo>
                    <a:lnTo>
                      <a:pt x="1846" y="328"/>
                    </a:lnTo>
                    <a:cubicBezTo>
                      <a:pt x="1843" y="326"/>
                      <a:pt x="1841" y="324"/>
                      <a:pt x="1838" y="322"/>
                    </a:cubicBezTo>
                    <a:lnTo>
                      <a:pt x="1838" y="416"/>
                    </a:lnTo>
                    <a:lnTo>
                      <a:pt x="1839" y="417"/>
                    </a:lnTo>
                    <a:lnTo>
                      <a:pt x="1838" y="416"/>
                    </a:lnTo>
                    <a:lnTo>
                      <a:pt x="1838" y="439"/>
                    </a:lnTo>
                    <a:lnTo>
                      <a:pt x="1787" y="488"/>
                    </a:lnTo>
                    <a:cubicBezTo>
                      <a:pt x="1772" y="470"/>
                      <a:pt x="1756" y="453"/>
                      <a:pt x="1739" y="436"/>
                    </a:cubicBezTo>
                    <a:lnTo>
                      <a:pt x="1754" y="419"/>
                    </a:lnTo>
                    <a:lnTo>
                      <a:pt x="1754" y="362"/>
                    </a:lnTo>
                    <a:lnTo>
                      <a:pt x="1754" y="362"/>
                    </a:lnTo>
                    <a:lnTo>
                      <a:pt x="1754" y="274"/>
                    </a:lnTo>
                    <a:lnTo>
                      <a:pt x="1754" y="274"/>
                    </a:lnTo>
                    <a:lnTo>
                      <a:pt x="1754" y="274"/>
                    </a:lnTo>
                    <a:lnTo>
                      <a:pt x="1754" y="274"/>
                    </a:lnTo>
                    <a:lnTo>
                      <a:pt x="1754" y="199"/>
                    </a:lnTo>
                    <a:cubicBezTo>
                      <a:pt x="1751" y="198"/>
                      <a:pt x="1748" y="196"/>
                      <a:pt x="1745" y="195"/>
                    </a:cubicBezTo>
                    <a:lnTo>
                      <a:pt x="1745" y="270"/>
                    </a:lnTo>
                    <a:lnTo>
                      <a:pt x="1747" y="271"/>
                    </a:lnTo>
                    <a:lnTo>
                      <a:pt x="1745" y="270"/>
                    </a:lnTo>
                    <a:lnTo>
                      <a:pt x="1745" y="357"/>
                    </a:lnTo>
                    <a:lnTo>
                      <a:pt x="1745" y="357"/>
                    </a:lnTo>
                    <a:lnTo>
                      <a:pt x="1745" y="416"/>
                    </a:lnTo>
                    <a:lnTo>
                      <a:pt x="1733" y="430"/>
                    </a:lnTo>
                    <a:cubicBezTo>
                      <a:pt x="1717" y="414"/>
                      <a:pt x="1701" y="400"/>
                      <a:pt x="1685" y="386"/>
                    </a:cubicBezTo>
                    <a:lnTo>
                      <a:pt x="1688" y="382"/>
                    </a:lnTo>
                    <a:lnTo>
                      <a:pt x="1688" y="328"/>
                    </a:lnTo>
                    <a:lnTo>
                      <a:pt x="1688" y="328"/>
                    </a:lnTo>
                    <a:lnTo>
                      <a:pt x="1688" y="244"/>
                    </a:lnTo>
                    <a:lnTo>
                      <a:pt x="1688" y="244"/>
                    </a:lnTo>
                    <a:lnTo>
                      <a:pt x="1688" y="244"/>
                    </a:lnTo>
                    <a:lnTo>
                      <a:pt x="1688" y="169"/>
                    </a:lnTo>
                    <a:cubicBezTo>
                      <a:pt x="1685" y="168"/>
                      <a:pt x="1682" y="166"/>
                      <a:pt x="1679" y="165"/>
                    </a:cubicBezTo>
                    <a:lnTo>
                      <a:pt x="1679" y="241"/>
                    </a:lnTo>
                    <a:cubicBezTo>
                      <a:pt x="1682" y="242"/>
                      <a:pt x="1684" y="243"/>
                      <a:pt x="1686" y="243"/>
                    </a:cubicBezTo>
                    <a:cubicBezTo>
                      <a:pt x="1684" y="243"/>
                      <a:pt x="1682" y="242"/>
                      <a:pt x="1679" y="241"/>
                    </a:cubicBezTo>
                    <a:lnTo>
                      <a:pt x="1679" y="325"/>
                    </a:lnTo>
                    <a:lnTo>
                      <a:pt x="1679" y="325"/>
                    </a:lnTo>
                    <a:lnTo>
                      <a:pt x="1679" y="379"/>
                    </a:lnTo>
                    <a:lnTo>
                      <a:pt x="1678" y="380"/>
                    </a:lnTo>
                    <a:cubicBezTo>
                      <a:pt x="1600" y="315"/>
                      <a:pt x="1510" y="264"/>
                      <a:pt x="1411" y="230"/>
                    </a:cubicBezTo>
                    <a:lnTo>
                      <a:pt x="1411" y="230"/>
                    </a:lnTo>
                    <a:cubicBezTo>
                      <a:pt x="1409" y="229"/>
                      <a:pt x="1407" y="229"/>
                      <a:pt x="1405" y="228"/>
                    </a:cubicBezTo>
                    <a:lnTo>
                      <a:pt x="1403" y="227"/>
                    </a:lnTo>
                    <a:cubicBezTo>
                      <a:pt x="1319" y="200"/>
                      <a:pt x="1230" y="185"/>
                      <a:pt x="1137" y="185"/>
                    </a:cubicBezTo>
                    <a:cubicBezTo>
                      <a:pt x="1097" y="185"/>
                      <a:pt x="1058" y="187"/>
                      <a:pt x="1020" y="193"/>
                    </a:cubicBezTo>
                    <a:lnTo>
                      <a:pt x="1020" y="75"/>
                    </a:lnTo>
                    <a:cubicBezTo>
                      <a:pt x="1017" y="76"/>
                      <a:pt x="1014" y="76"/>
                      <a:pt x="1011" y="76"/>
                    </a:cubicBezTo>
                    <a:lnTo>
                      <a:pt x="1011" y="194"/>
                    </a:lnTo>
                    <a:cubicBezTo>
                      <a:pt x="916" y="208"/>
                      <a:pt x="826" y="238"/>
                      <a:pt x="743" y="281"/>
                    </a:cubicBezTo>
                    <a:lnTo>
                      <a:pt x="743" y="133"/>
                    </a:lnTo>
                    <a:cubicBezTo>
                      <a:pt x="740" y="134"/>
                      <a:pt x="737" y="135"/>
                      <a:pt x="735" y="136"/>
                    </a:cubicBezTo>
                    <a:lnTo>
                      <a:pt x="735" y="286"/>
                    </a:lnTo>
                    <a:cubicBezTo>
                      <a:pt x="715" y="296"/>
                      <a:pt x="696" y="308"/>
                      <a:pt x="677" y="320"/>
                    </a:cubicBezTo>
                    <a:lnTo>
                      <a:pt x="677" y="177"/>
                    </a:lnTo>
                    <a:lnTo>
                      <a:pt x="676" y="178"/>
                    </a:lnTo>
                    <a:lnTo>
                      <a:pt x="677" y="177"/>
                    </a:lnTo>
                    <a:lnTo>
                      <a:pt x="677" y="158"/>
                    </a:lnTo>
                    <a:cubicBezTo>
                      <a:pt x="675" y="159"/>
                      <a:pt x="672" y="160"/>
                      <a:pt x="669" y="161"/>
                    </a:cubicBezTo>
                    <a:lnTo>
                      <a:pt x="669" y="184"/>
                    </a:lnTo>
                    <a:lnTo>
                      <a:pt x="669" y="184"/>
                    </a:lnTo>
                    <a:lnTo>
                      <a:pt x="669" y="325"/>
                    </a:lnTo>
                    <a:cubicBezTo>
                      <a:pt x="640" y="345"/>
                      <a:pt x="612" y="366"/>
                      <a:pt x="585" y="388"/>
                    </a:cubicBezTo>
                    <a:lnTo>
                      <a:pt x="585" y="261"/>
                    </a:lnTo>
                    <a:lnTo>
                      <a:pt x="585" y="261"/>
                    </a:lnTo>
                    <a:lnTo>
                      <a:pt x="585" y="201"/>
                    </a:lnTo>
                    <a:cubicBezTo>
                      <a:pt x="582" y="203"/>
                      <a:pt x="579" y="204"/>
                      <a:pt x="576" y="206"/>
                    </a:cubicBezTo>
                    <a:lnTo>
                      <a:pt x="576" y="270"/>
                    </a:lnTo>
                    <a:lnTo>
                      <a:pt x="576" y="270"/>
                    </a:lnTo>
                    <a:cubicBezTo>
                      <a:pt x="579" y="268"/>
                      <a:pt x="582" y="265"/>
                      <a:pt x="584" y="262"/>
                    </a:cubicBezTo>
                    <a:lnTo>
                      <a:pt x="576" y="270"/>
                    </a:lnTo>
                    <a:lnTo>
                      <a:pt x="576" y="396"/>
                    </a:lnTo>
                    <a:cubicBezTo>
                      <a:pt x="563" y="408"/>
                      <a:pt x="550" y="420"/>
                      <a:pt x="537" y="433"/>
                    </a:cubicBezTo>
                    <a:cubicBezTo>
                      <a:pt x="528" y="442"/>
                      <a:pt x="519" y="451"/>
                      <a:pt x="511" y="460"/>
                    </a:cubicBezTo>
                    <a:lnTo>
                      <a:pt x="493" y="441"/>
                    </a:lnTo>
                    <a:lnTo>
                      <a:pt x="493" y="376"/>
                    </a:lnTo>
                    <a:lnTo>
                      <a:pt x="493" y="376"/>
                    </a:lnTo>
                    <a:lnTo>
                      <a:pt x="493" y="258"/>
                    </a:lnTo>
                    <a:cubicBezTo>
                      <a:pt x="490" y="260"/>
                      <a:pt x="487" y="262"/>
                      <a:pt x="484" y="264"/>
                    </a:cubicBezTo>
                    <a:lnTo>
                      <a:pt x="484" y="389"/>
                    </a:lnTo>
                    <a:lnTo>
                      <a:pt x="484" y="389"/>
                    </a:lnTo>
                    <a:cubicBezTo>
                      <a:pt x="487" y="385"/>
                      <a:pt x="489" y="381"/>
                      <a:pt x="491" y="378"/>
                    </a:cubicBezTo>
                    <a:lnTo>
                      <a:pt x="484" y="389"/>
                    </a:lnTo>
                    <a:lnTo>
                      <a:pt x="484" y="445"/>
                    </a:lnTo>
                    <a:lnTo>
                      <a:pt x="505" y="467"/>
                    </a:lnTo>
                    <a:cubicBezTo>
                      <a:pt x="486" y="488"/>
                      <a:pt x="468" y="510"/>
                      <a:pt x="452" y="532"/>
                    </a:cubicBezTo>
                    <a:lnTo>
                      <a:pt x="421" y="501"/>
                    </a:lnTo>
                    <a:lnTo>
                      <a:pt x="421" y="501"/>
                    </a:lnTo>
                    <a:lnTo>
                      <a:pt x="387" y="466"/>
                    </a:lnTo>
                    <a:lnTo>
                      <a:pt x="387" y="345"/>
                    </a:lnTo>
                    <a:cubicBezTo>
                      <a:pt x="384" y="348"/>
                      <a:pt x="382" y="351"/>
                      <a:pt x="379" y="353"/>
                    </a:cubicBezTo>
                    <a:lnTo>
                      <a:pt x="379" y="470"/>
                    </a:lnTo>
                    <a:lnTo>
                      <a:pt x="417" y="509"/>
                    </a:lnTo>
                    <a:lnTo>
                      <a:pt x="417" y="509"/>
                    </a:lnTo>
                    <a:lnTo>
                      <a:pt x="419" y="505"/>
                    </a:lnTo>
                    <a:cubicBezTo>
                      <a:pt x="418" y="506"/>
                      <a:pt x="418" y="508"/>
                      <a:pt x="417" y="509"/>
                    </a:cubicBezTo>
                    <a:lnTo>
                      <a:pt x="447" y="540"/>
                    </a:lnTo>
                    <a:cubicBezTo>
                      <a:pt x="430" y="562"/>
                      <a:pt x="415" y="586"/>
                      <a:pt x="401" y="610"/>
                    </a:cubicBezTo>
                    <a:lnTo>
                      <a:pt x="383" y="590"/>
                    </a:lnTo>
                    <a:lnTo>
                      <a:pt x="383" y="591"/>
                    </a:lnTo>
                    <a:lnTo>
                      <a:pt x="383" y="590"/>
                    </a:lnTo>
                    <a:lnTo>
                      <a:pt x="308" y="503"/>
                    </a:lnTo>
                    <a:lnTo>
                      <a:pt x="308" y="433"/>
                    </a:lnTo>
                    <a:cubicBezTo>
                      <a:pt x="305" y="436"/>
                      <a:pt x="302" y="440"/>
                      <a:pt x="300" y="444"/>
                    </a:cubicBezTo>
                    <a:lnTo>
                      <a:pt x="300" y="506"/>
                    </a:lnTo>
                    <a:lnTo>
                      <a:pt x="380" y="599"/>
                    </a:lnTo>
                    <a:lnTo>
                      <a:pt x="380" y="599"/>
                    </a:lnTo>
                    <a:lnTo>
                      <a:pt x="381" y="596"/>
                    </a:lnTo>
                    <a:lnTo>
                      <a:pt x="380" y="599"/>
                    </a:lnTo>
                    <a:lnTo>
                      <a:pt x="396" y="618"/>
                    </a:lnTo>
                    <a:cubicBezTo>
                      <a:pt x="382" y="643"/>
                      <a:pt x="370" y="669"/>
                      <a:pt x="358" y="696"/>
                    </a:cubicBezTo>
                    <a:lnTo>
                      <a:pt x="351" y="689"/>
                    </a:lnTo>
                    <a:cubicBezTo>
                      <a:pt x="350" y="692"/>
                      <a:pt x="350" y="694"/>
                      <a:pt x="349" y="697"/>
                    </a:cubicBezTo>
                    <a:cubicBezTo>
                      <a:pt x="350" y="694"/>
                      <a:pt x="350" y="692"/>
                      <a:pt x="351" y="689"/>
                    </a:cubicBezTo>
                    <a:lnTo>
                      <a:pt x="224" y="561"/>
                    </a:lnTo>
                    <a:cubicBezTo>
                      <a:pt x="223" y="564"/>
                      <a:pt x="221" y="566"/>
                      <a:pt x="220" y="569"/>
                    </a:cubicBezTo>
                    <a:lnTo>
                      <a:pt x="348" y="699"/>
                    </a:lnTo>
                    <a:lnTo>
                      <a:pt x="348" y="699"/>
                    </a:lnTo>
                    <a:lnTo>
                      <a:pt x="354" y="705"/>
                    </a:lnTo>
                    <a:cubicBezTo>
                      <a:pt x="350" y="714"/>
                      <a:pt x="346" y="724"/>
                      <a:pt x="343" y="733"/>
                    </a:cubicBezTo>
                    <a:cubicBezTo>
                      <a:pt x="342" y="736"/>
                      <a:pt x="341" y="739"/>
                      <a:pt x="339" y="742"/>
                    </a:cubicBezTo>
                    <a:cubicBezTo>
                      <a:pt x="318" y="801"/>
                      <a:pt x="303" y="862"/>
                      <a:pt x="295" y="926"/>
                    </a:cubicBezTo>
                    <a:lnTo>
                      <a:pt x="282" y="914"/>
                    </a:lnTo>
                    <a:lnTo>
                      <a:pt x="282" y="857"/>
                    </a:lnTo>
                    <a:lnTo>
                      <a:pt x="151" y="731"/>
                    </a:lnTo>
                    <a:cubicBezTo>
                      <a:pt x="150" y="734"/>
                      <a:pt x="149" y="737"/>
                      <a:pt x="148" y="740"/>
                    </a:cubicBezTo>
                    <a:lnTo>
                      <a:pt x="273" y="861"/>
                    </a:lnTo>
                    <a:lnTo>
                      <a:pt x="273" y="918"/>
                    </a:lnTo>
                    <a:lnTo>
                      <a:pt x="294" y="936"/>
                    </a:lnTo>
                    <a:cubicBezTo>
                      <a:pt x="291" y="966"/>
                      <a:pt x="289" y="997"/>
                      <a:pt x="289" y="1028"/>
                    </a:cubicBezTo>
                    <a:lnTo>
                      <a:pt x="203" y="948"/>
                    </a:lnTo>
                    <a:lnTo>
                      <a:pt x="203" y="886"/>
                    </a:lnTo>
                    <a:lnTo>
                      <a:pt x="127" y="812"/>
                    </a:lnTo>
                    <a:cubicBezTo>
                      <a:pt x="127" y="815"/>
                      <a:pt x="126" y="819"/>
                      <a:pt x="125" y="822"/>
                    </a:cubicBezTo>
                    <a:lnTo>
                      <a:pt x="194" y="889"/>
                    </a:lnTo>
                    <a:lnTo>
                      <a:pt x="194" y="951"/>
                    </a:lnTo>
                    <a:lnTo>
                      <a:pt x="289" y="1040"/>
                    </a:lnTo>
                    <a:cubicBezTo>
                      <a:pt x="289" y="1084"/>
                      <a:pt x="293" y="1127"/>
                      <a:pt x="299" y="1169"/>
                    </a:cubicBezTo>
                    <a:lnTo>
                      <a:pt x="274" y="1169"/>
                    </a:lnTo>
                    <a:lnTo>
                      <a:pt x="96" y="982"/>
                    </a:lnTo>
                    <a:cubicBezTo>
                      <a:pt x="95" y="986"/>
                      <a:pt x="95" y="990"/>
                      <a:pt x="94" y="994"/>
                    </a:cubicBezTo>
                    <a:lnTo>
                      <a:pt x="270" y="1178"/>
                    </a:lnTo>
                    <a:lnTo>
                      <a:pt x="301" y="1178"/>
                    </a:lnTo>
                    <a:cubicBezTo>
                      <a:pt x="304" y="1197"/>
                      <a:pt x="308" y="1216"/>
                      <a:pt x="313" y="1235"/>
                    </a:cubicBezTo>
                    <a:lnTo>
                      <a:pt x="307" y="1235"/>
                    </a:lnTo>
                    <a:lnTo>
                      <a:pt x="307" y="1235"/>
                    </a:lnTo>
                    <a:lnTo>
                      <a:pt x="274" y="1235"/>
                    </a:lnTo>
                    <a:lnTo>
                      <a:pt x="90" y="1039"/>
                    </a:lnTo>
                    <a:cubicBezTo>
                      <a:pt x="90" y="1043"/>
                      <a:pt x="89" y="1047"/>
                      <a:pt x="89" y="1050"/>
                    </a:cubicBezTo>
                    <a:lnTo>
                      <a:pt x="270" y="1244"/>
                    </a:lnTo>
                    <a:lnTo>
                      <a:pt x="308" y="1244"/>
                    </a:lnTo>
                    <a:lnTo>
                      <a:pt x="308" y="1244"/>
                    </a:lnTo>
                    <a:cubicBezTo>
                      <a:pt x="308" y="1242"/>
                      <a:pt x="308" y="1240"/>
                      <a:pt x="308" y="1237"/>
                    </a:cubicBezTo>
                    <a:lnTo>
                      <a:pt x="308" y="1244"/>
                    </a:lnTo>
                    <a:lnTo>
                      <a:pt x="315" y="1244"/>
                    </a:lnTo>
                    <a:cubicBezTo>
                      <a:pt x="323" y="1277"/>
                      <a:pt x="334" y="1309"/>
                      <a:pt x="346" y="1340"/>
                    </a:cubicBezTo>
                    <a:lnTo>
                      <a:pt x="321" y="1340"/>
                    </a:lnTo>
                    <a:lnTo>
                      <a:pt x="321" y="1340"/>
                    </a:lnTo>
                    <a:lnTo>
                      <a:pt x="92" y="1340"/>
                    </a:lnTo>
                    <a:cubicBezTo>
                      <a:pt x="93" y="1343"/>
                      <a:pt x="94" y="1346"/>
                      <a:pt x="94" y="1349"/>
                    </a:cubicBezTo>
                    <a:lnTo>
                      <a:pt x="322" y="1349"/>
                    </a:lnTo>
                    <a:lnTo>
                      <a:pt x="322" y="1349"/>
                    </a:lnTo>
                    <a:lnTo>
                      <a:pt x="322" y="1349"/>
                    </a:lnTo>
                    <a:lnTo>
                      <a:pt x="349" y="1349"/>
                    </a:lnTo>
                    <a:cubicBezTo>
                      <a:pt x="357" y="1368"/>
                      <a:pt x="366" y="1388"/>
                      <a:pt x="375" y="1406"/>
                    </a:cubicBezTo>
                    <a:lnTo>
                      <a:pt x="332" y="1406"/>
                    </a:lnTo>
                    <a:lnTo>
                      <a:pt x="332" y="1406"/>
                    </a:lnTo>
                    <a:lnTo>
                      <a:pt x="108" y="1406"/>
                    </a:lnTo>
                    <a:lnTo>
                      <a:pt x="108" y="1406"/>
                    </a:lnTo>
                    <a:lnTo>
                      <a:pt x="100" y="1406"/>
                    </a:lnTo>
                    <a:cubicBezTo>
                      <a:pt x="101" y="1409"/>
                      <a:pt x="101" y="1412"/>
                      <a:pt x="102" y="1415"/>
                    </a:cubicBezTo>
                    <a:lnTo>
                      <a:pt x="110" y="1415"/>
                    </a:lnTo>
                    <a:lnTo>
                      <a:pt x="110" y="1412"/>
                    </a:lnTo>
                    <a:cubicBezTo>
                      <a:pt x="110" y="1413"/>
                      <a:pt x="110" y="1414"/>
                      <a:pt x="110" y="1415"/>
                    </a:cubicBezTo>
                    <a:lnTo>
                      <a:pt x="334" y="1415"/>
                    </a:lnTo>
                    <a:lnTo>
                      <a:pt x="334" y="1415"/>
                    </a:lnTo>
                    <a:lnTo>
                      <a:pt x="334" y="1413"/>
                    </a:lnTo>
                    <a:lnTo>
                      <a:pt x="334" y="1415"/>
                    </a:lnTo>
                    <a:lnTo>
                      <a:pt x="379" y="1415"/>
                    </a:lnTo>
                    <a:cubicBezTo>
                      <a:pt x="392" y="1439"/>
                      <a:pt x="405" y="1463"/>
                      <a:pt x="419" y="1485"/>
                    </a:cubicBezTo>
                    <a:lnTo>
                      <a:pt x="351" y="1485"/>
                    </a:lnTo>
                    <a:lnTo>
                      <a:pt x="351" y="1485"/>
                    </a:lnTo>
                    <a:lnTo>
                      <a:pt x="167" y="1485"/>
                    </a:lnTo>
                    <a:lnTo>
                      <a:pt x="143" y="1517"/>
                    </a:lnTo>
                    <a:lnTo>
                      <a:pt x="143" y="1518"/>
                    </a:lnTo>
                    <a:lnTo>
                      <a:pt x="143" y="1517"/>
                    </a:lnTo>
                    <a:lnTo>
                      <a:pt x="126" y="1538"/>
                    </a:lnTo>
                    <a:cubicBezTo>
                      <a:pt x="126" y="1542"/>
                      <a:pt x="127" y="1546"/>
                      <a:pt x="128" y="1549"/>
                    </a:cubicBezTo>
                    <a:lnTo>
                      <a:pt x="146" y="1526"/>
                    </a:lnTo>
                    <a:lnTo>
                      <a:pt x="146" y="1526"/>
                    </a:lnTo>
                    <a:lnTo>
                      <a:pt x="171" y="1494"/>
                    </a:lnTo>
                    <a:lnTo>
                      <a:pt x="353" y="1494"/>
                    </a:lnTo>
                    <a:lnTo>
                      <a:pt x="353" y="1494"/>
                    </a:lnTo>
                    <a:lnTo>
                      <a:pt x="425" y="1494"/>
                    </a:lnTo>
                    <a:cubicBezTo>
                      <a:pt x="450" y="1533"/>
                      <a:pt x="479" y="1570"/>
                      <a:pt x="510" y="1604"/>
                    </a:cubicBezTo>
                    <a:lnTo>
                      <a:pt x="387" y="1604"/>
                    </a:lnTo>
                    <a:cubicBezTo>
                      <a:pt x="387" y="1606"/>
                      <a:pt x="388" y="1608"/>
                      <a:pt x="389" y="1611"/>
                    </a:cubicBezTo>
                    <a:lnTo>
                      <a:pt x="387" y="1604"/>
                    </a:lnTo>
                    <a:lnTo>
                      <a:pt x="195" y="1604"/>
                    </a:lnTo>
                    <a:lnTo>
                      <a:pt x="183" y="1615"/>
                    </a:lnTo>
                    <a:lnTo>
                      <a:pt x="183" y="1615"/>
                    </a:lnTo>
                    <a:lnTo>
                      <a:pt x="154" y="1641"/>
                    </a:lnTo>
                    <a:cubicBezTo>
                      <a:pt x="155" y="1644"/>
                      <a:pt x="156" y="1647"/>
                      <a:pt x="157" y="1650"/>
                    </a:cubicBezTo>
                    <a:lnTo>
                      <a:pt x="187" y="1623"/>
                    </a:lnTo>
                    <a:lnTo>
                      <a:pt x="187" y="1623"/>
                    </a:lnTo>
                    <a:lnTo>
                      <a:pt x="199" y="1613"/>
                    </a:lnTo>
                    <a:lnTo>
                      <a:pt x="390" y="1613"/>
                    </a:lnTo>
                    <a:lnTo>
                      <a:pt x="390" y="1613"/>
                    </a:lnTo>
                    <a:lnTo>
                      <a:pt x="514" y="1613"/>
                    </a:lnTo>
                    <a:lnTo>
                      <a:pt x="514" y="1613"/>
                    </a:lnTo>
                    <a:lnTo>
                      <a:pt x="516" y="1611"/>
                    </a:lnTo>
                    <a:cubicBezTo>
                      <a:pt x="523" y="1618"/>
                      <a:pt x="530" y="1625"/>
                      <a:pt x="537" y="1632"/>
                    </a:cubicBezTo>
                    <a:cubicBezTo>
                      <a:pt x="546" y="1642"/>
                      <a:pt x="556" y="1651"/>
                      <a:pt x="566" y="1660"/>
                    </a:cubicBezTo>
                    <a:lnTo>
                      <a:pt x="556" y="1670"/>
                    </a:lnTo>
                    <a:lnTo>
                      <a:pt x="411" y="1670"/>
                    </a:lnTo>
                    <a:lnTo>
                      <a:pt x="411" y="1670"/>
                    </a:lnTo>
                    <a:lnTo>
                      <a:pt x="266" y="1670"/>
                    </a:lnTo>
                    <a:lnTo>
                      <a:pt x="229" y="1707"/>
                    </a:lnTo>
                    <a:lnTo>
                      <a:pt x="229" y="1707"/>
                    </a:lnTo>
                    <a:lnTo>
                      <a:pt x="191" y="1746"/>
                    </a:lnTo>
                    <a:cubicBezTo>
                      <a:pt x="192" y="1749"/>
                      <a:pt x="193" y="1752"/>
                      <a:pt x="194" y="1755"/>
                    </a:cubicBezTo>
                    <a:lnTo>
                      <a:pt x="234" y="1715"/>
                    </a:lnTo>
                    <a:lnTo>
                      <a:pt x="232" y="1712"/>
                    </a:lnTo>
                    <a:lnTo>
                      <a:pt x="234" y="1715"/>
                    </a:lnTo>
                    <a:lnTo>
                      <a:pt x="234" y="1715"/>
                    </a:lnTo>
                    <a:lnTo>
                      <a:pt x="270" y="1679"/>
                    </a:lnTo>
                    <a:lnTo>
                      <a:pt x="415" y="1679"/>
                    </a:lnTo>
                    <a:lnTo>
                      <a:pt x="415" y="1679"/>
                    </a:lnTo>
                    <a:lnTo>
                      <a:pt x="560" y="1679"/>
                    </a:lnTo>
                    <a:lnTo>
                      <a:pt x="560" y="1679"/>
                    </a:lnTo>
                    <a:lnTo>
                      <a:pt x="572" y="1666"/>
                    </a:lnTo>
                    <a:cubicBezTo>
                      <a:pt x="588" y="1680"/>
                      <a:pt x="605" y="1694"/>
                      <a:pt x="622" y="1707"/>
                    </a:cubicBezTo>
                    <a:lnTo>
                      <a:pt x="590" y="1736"/>
                    </a:lnTo>
                    <a:lnTo>
                      <a:pt x="440" y="1736"/>
                    </a:lnTo>
                    <a:lnTo>
                      <a:pt x="440" y="1736"/>
                    </a:lnTo>
                    <a:lnTo>
                      <a:pt x="301" y="1736"/>
                    </a:lnTo>
                    <a:lnTo>
                      <a:pt x="267" y="1771"/>
                    </a:lnTo>
                    <a:lnTo>
                      <a:pt x="267" y="1771"/>
                    </a:lnTo>
                    <a:lnTo>
                      <a:pt x="221" y="1819"/>
                    </a:lnTo>
                    <a:cubicBezTo>
                      <a:pt x="222" y="1822"/>
                      <a:pt x="224" y="1824"/>
                      <a:pt x="225" y="1827"/>
                    </a:cubicBezTo>
                    <a:lnTo>
                      <a:pt x="272" y="1778"/>
                    </a:lnTo>
                    <a:lnTo>
                      <a:pt x="271" y="1776"/>
                    </a:lnTo>
                    <a:lnTo>
                      <a:pt x="272" y="1778"/>
                    </a:lnTo>
                    <a:lnTo>
                      <a:pt x="272" y="1778"/>
                    </a:lnTo>
                    <a:lnTo>
                      <a:pt x="304" y="1745"/>
                    </a:lnTo>
                    <a:lnTo>
                      <a:pt x="444" y="1745"/>
                    </a:lnTo>
                    <a:lnTo>
                      <a:pt x="441" y="1740"/>
                    </a:lnTo>
                    <a:cubicBezTo>
                      <a:pt x="442" y="1741"/>
                      <a:pt x="443" y="1743"/>
                      <a:pt x="444" y="1745"/>
                    </a:cubicBezTo>
                    <a:lnTo>
                      <a:pt x="593" y="1745"/>
                    </a:lnTo>
                    <a:lnTo>
                      <a:pt x="629" y="1712"/>
                    </a:lnTo>
                    <a:cubicBezTo>
                      <a:pt x="651" y="1728"/>
                      <a:pt x="673" y="1744"/>
                      <a:pt x="696" y="1758"/>
                    </a:cubicBezTo>
                    <a:lnTo>
                      <a:pt x="617" y="1841"/>
                    </a:lnTo>
                    <a:lnTo>
                      <a:pt x="493" y="1841"/>
                    </a:lnTo>
                    <a:cubicBezTo>
                      <a:pt x="495" y="1844"/>
                      <a:pt x="496" y="1847"/>
                      <a:pt x="498" y="1850"/>
                    </a:cubicBezTo>
                    <a:lnTo>
                      <a:pt x="620" y="1850"/>
                    </a:lnTo>
                    <a:lnTo>
                      <a:pt x="704" y="1762"/>
                    </a:lnTo>
                    <a:cubicBezTo>
                      <a:pt x="712" y="1767"/>
                      <a:pt x="720" y="1772"/>
                      <a:pt x="729" y="1777"/>
                    </a:cubicBezTo>
                    <a:lnTo>
                      <a:pt x="632" y="1894"/>
                    </a:lnTo>
                    <a:lnTo>
                      <a:pt x="524" y="1894"/>
                    </a:lnTo>
                    <a:cubicBezTo>
                      <a:pt x="526" y="1897"/>
                      <a:pt x="527" y="1900"/>
                      <a:pt x="529" y="1903"/>
                    </a:cubicBezTo>
                    <a:lnTo>
                      <a:pt x="636" y="1903"/>
                    </a:lnTo>
                    <a:lnTo>
                      <a:pt x="636" y="1903"/>
                    </a:lnTo>
                    <a:lnTo>
                      <a:pt x="737" y="1781"/>
                    </a:lnTo>
                    <a:cubicBezTo>
                      <a:pt x="856" y="1845"/>
                      <a:pt x="992" y="1881"/>
                      <a:pt x="1137" y="1881"/>
                    </a:cubicBezTo>
                    <a:cubicBezTo>
                      <a:pt x="1371" y="1881"/>
                      <a:pt x="1583" y="1786"/>
                      <a:pt x="1736" y="1632"/>
                    </a:cubicBezTo>
                    <a:cubicBezTo>
                      <a:pt x="1890" y="1479"/>
                      <a:pt x="1985" y="1267"/>
                      <a:pt x="1985" y="1033"/>
                    </a:cubicBezTo>
                    <a:cubicBezTo>
                      <a:pt x="1985" y="855"/>
                      <a:pt x="1930" y="690"/>
                      <a:pt x="1837" y="554"/>
                    </a:cubicBezTo>
                    <a:lnTo>
                      <a:pt x="1939" y="448"/>
                    </a:lnTo>
                    <a:lnTo>
                      <a:pt x="1939" y="442"/>
                    </a:lnTo>
                    <a:lnTo>
                      <a:pt x="1908" y="475"/>
                    </a:lnTo>
                    <a:cubicBezTo>
                      <a:pt x="1908" y="474"/>
                      <a:pt x="1908" y="474"/>
                      <a:pt x="1907" y="474"/>
                    </a:cubicBezTo>
                    <a:lnTo>
                      <a:pt x="1908" y="475"/>
                    </a:lnTo>
                    <a:lnTo>
                      <a:pt x="1908" y="475"/>
                    </a:lnTo>
                    <a:lnTo>
                      <a:pt x="1939" y="442"/>
                    </a:lnTo>
                    <a:lnTo>
                      <a:pt x="1939" y="398"/>
                    </a:lnTo>
                    <a:lnTo>
                      <a:pt x="1939" y="398"/>
                    </a:lnTo>
                    <a:lnTo>
                      <a:pt x="1939" y="322"/>
                    </a:lnTo>
                    <a:close/>
                    <a:moveTo>
                      <a:pt x="1846" y="252"/>
                    </a:moveTo>
                    <a:cubicBezTo>
                      <a:pt x="1844" y="250"/>
                      <a:pt x="1841" y="248"/>
                      <a:pt x="1838" y="246"/>
                    </a:cubicBezTo>
                    <a:lnTo>
                      <a:pt x="1838" y="322"/>
                    </a:lnTo>
                    <a:cubicBezTo>
                      <a:pt x="1841" y="324"/>
                      <a:pt x="1844" y="326"/>
                      <a:pt x="1846" y="328"/>
                    </a:cubicBezTo>
                    <a:lnTo>
                      <a:pt x="1846" y="328"/>
                    </a:lnTo>
                    <a:lnTo>
                      <a:pt x="1846" y="252"/>
                    </a:lnTo>
                    <a:close/>
                    <a:moveTo>
                      <a:pt x="92" y="1340"/>
                    </a:moveTo>
                    <a:cubicBezTo>
                      <a:pt x="93" y="1343"/>
                      <a:pt x="93" y="1346"/>
                      <a:pt x="93" y="1349"/>
                    </a:cubicBezTo>
                    <a:lnTo>
                      <a:pt x="94" y="1349"/>
                    </a:lnTo>
                    <a:cubicBezTo>
                      <a:pt x="94" y="1346"/>
                      <a:pt x="93" y="1343"/>
                      <a:pt x="92" y="1340"/>
                    </a:cubicBezTo>
                    <a:close/>
                    <a:moveTo>
                      <a:pt x="270" y="1919"/>
                    </a:moveTo>
                    <a:cubicBezTo>
                      <a:pt x="271" y="1922"/>
                      <a:pt x="273" y="1924"/>
                      <a:pt x="274" y="1927"/>
                    </a:cubicBezTo>
                    <a:lnTo>
                      <a:pt x="336" y="1869"/>
                    </a:lnTo>
                    <a:lnTo>
                      <a:pt x="336" y="1869"/>
                    </a:lnTo>
                    <a:lnTo>
                      <a:pt x="336" y="1869"/>
                    </a:lnTo>
                    <a:lnTo>
                      <a:pt x="356" y="1850"/>
                    </a:lnTo>
                    <a:lnTo>
                      <a:pt x="498" y="1850"/>
                    </a:lnTo>
                    <a:cubicBezTo>
                      <a:pt x="496" y="1847"/>
                      <a:pt x="495" y="1844"/>
                      <a:pt x="493" y="1841"/>
                    </a:cubicBezTo>
                    <a:lnTo>
                      <a:pt x="353" y="1841"/>
                    </a:lnTo>
                    <a:lnTo>
                      <a:pt x="331" y="1862"/>
                    </a:lnTo>
                    <a:lnTo>
                      <a:pt x="332" y="1864"/>
                    </a:lnTo>
                    <a:lnTo>
                      <a:pt x="331" y="1862"/>
                    </a:lnTo>
                    <a:lnTo>
                      <a:pt x="270" y="1919"/>
                    </a:lnTo>
                    <a:close/>
                    <a:moveTo>
                      <a:pt x="1051" y="947"/>
                    </a:moveTo>
                    <a:cubicBezTo>
                      <a:pt x="1067" y="931"/>
                      <a:pt x="1088" y="919"/>
                      <a:pt x="1111" y="914"/>
                    </a:cubicBezTo>
                    <a:lnTo>
                      <a:pt x="1131" y="934"/>
                    </a:lnTo>
                    <a:lnTo>
                      <a:pt x="1131" y="934"/>
                    </a:lnTo>
                    <a:lnTo>
                      <a:pt x="1131" y="934"/>
                    </a:lnTo>
                    <a:cubicBezTo>
                      <a:pt x="1125" y="939"/>
                      <a:pt x="1121" y="946"/>
                      <a:pt x="1121" y="954"/>
                    </a:cubicBezTo>
                    <a:cubicBezTo>
                      <a:pt x="1121" y="968"/>
                      <a:pt x="1133" y="979"/>
                      <a:pt x="1147" y="979"/>
                    </a:cubicBezTo>
                    <a:lnTo>
                      <a:pt x="1147" y="979"/>
                    </a:lnTo>
                    <a:cubicBezTo>
                      <a:pt x="1161" y="979"/>
                      <a:pt x="1172" y="968"/>
                      <a:pt x="1172" y="954"/>
                    </a:cubicBezTo>
                    <a:cubicBezTo>
                      <a:pt x="1172" y="940"/>
                      <a:pt x="1161" y="929"/>
                      <a:pt x="1147" y="929"/>
                    </a:cubicBezTo>
                    <a:cubicBezTo>
                      <a:pt x="1144" y="929"/>
                      <a:pt x="1142" y="929"/>
                      <a:pt x="1139" y="930"/>
                    </a:cubicBezTo>
                    <a:lnTo>
                      <a:pt x="1139" y="930"/>
                    </a:lnTo>
                    <a:cubicBezTo>
                      <a:pt x="1136" y="931"/>
                      <a:pt x="1134" y="932"/>
                      <a:pt x="1132" y="934"/>
                    </a:cubicBezTo>
                    <a:cubicBezTo>
                      <a:pt x="1134" y="932"/>
                      <a:pt x="1136" y="931"/>
                      <a:pt x="1139" y="930"/>
                    </a:cubicBezTo>
                    <a:lnTo>
                      <a:pt x="1121" y="912"/>
                    </a:lnTo>
                    <a:cubicBezTo>
                      <a:pt x="1126" y="912"/>
                      <a:pt x="1131" y="911"/>
                      <a:pt x="1137" y="911"/>
                    </a:cubicBezTo>
                    <a:cubicBezTo>
                      <a:pt x="1170" y="911"/>
                      <a:pt x="1200" y="925"/>
                      <a:pt x="1222" y="947"/>
                    </a:cubicBezTo>
                    <a:cubicBezTo>
                      <a:pt x="1244" y="969"/>
                      <a:pt x="1258" y="999"/>
                      <a:pt x="1258" y="1033"/>
                    </a:cubicBezTo>
                    <a:cubicBezTo>
                      <a:pt x="1258" y="1066"/>
                      <a:pt x="1244" y="1097"/>
                      <a:pt x="1222" y="1118"/>
                    </a:cubicBezTo>
                    <a:cubicBezTo>
                      <a:pt x="1200" y="1140"/>
                      <a:pt x="1170" y="1154"/>
                      <a:pt x="1137" y="1154"/>
                    </a:cubicBezTo>
                    <a:cubicBezTo>
                      <a:pt x="1103" y="1154"/>
                      <a:pt x="1073" y="1140"/>
                      <a:pt x="1051" y="1118"/>
                    </a:cubicBezTo>
                    <a:cubicBezTo>
                      <a:pt x="1045" y="1113"/>
                      <a:pt x="1040" y="1107"/>
                      <a:pt x="1036" y="1100"/>
                    </a:cubicBezTo>
                    <a:cubicBezTo>
                      <a:pt x="1039" y="1096"/>
                      <a:pt x="1040" y="1091"/>
                      <a:pt x="1040" y="1086"/>
                    </a:cubicBezTo>
                    <a:cubicBezTo>
                      <a:pt x="1040" y="1073"/>
                      <a:pt x="1031" y="1063"/>
                      <a:pt x="1019" y="1061"/>
                    </a:cubicBezTo>
                    <a:cubicBezTo>
                      <a:pt x="1017" y="1052"/>
                      <a:pt x="1015" y="1042"/>
                      <a:pt x="1015" y="1033"/>
                    </a:cubicBezTo>
                    <a:cubicBezTo>
                      <a:pt x="1015" y="999"/>
                      <a:pt x="1029" y="969"/>
                      <a:pt x="1051" y="947"/>
                    </a:cubicBezTo>
                    <a:close/>
                    <a:moveTo>
                      <a:pt x="845" y="1349"/>
                    </a:moveTo>
                    <a:lnTo>
                      <a:pt x="845" y="1349"/>
                    </a:lnTo>
                    <a:lnTo>
                      <a:pt x="835" y="1349"/>
                    </a:lnTo>
                    <a:lnTo>
                      <a:pt x="832" y="1345"/>
                    </a:lnTo>
                    <a:cubicBezTo>
                      <a:pt x="833" y="1347"/>
                      <a:pt x="834" y="1348"/>
                      <a:pt x="834" y="1349"/>
                    </a:cubicBezTo>
                    <a:lnTo>
                      <a:pt x="834" y="1349"/>
                    </a:lnTo>
                    <a:lnTo>
                      <a:pt x="728" y="1349"/>
                    </a:lnTo>
                    <a:cubicBezTo>
                      <a:pt x="744" y="1370"/>
                      <a:pt x="762" y="1389"/>
                      <a:pt x="780" y="1406"/>
                    </a:cubicBezTo>
                    <a:lnTo>
                      <a:pt x="836" y="1406"/>
                    </a:lnTo>
                    <a:cubicBezTo>
                      <a:pt x="832" y="1403"/>
                      <a:pt x="829" y="1400"/>
                      <a:pt x="825" y="1397"/>
                    </a:cubicBezTo>
                    <a:lnTo>
                      <a:pt x="852" y="1367"/>
                    </a:lnTo>
                    <a:cubicBezTo>
                      <a:pt x="847" y="1362"/>
                      <a:pt x="845" y="1356"/>
                      <a:pt x="845" y="1350"/>
                    </a:cubicBezTo>
                    <a:cubicBezTo>
                      <a:pt x="845" y="1349"/>
                      <a:pt x="845" y="1349"/>
                      <a:pt x="845" y="1349"/>
                    </a:cubicBezTo>
                    <a:close/>
                    <a:moveTo>
                      <a:pt x="666" y="1349"/>
                    </a:moveTo>
                    <a:lnTo>
                      <a:pt x="595" y="1349"/>
                    </a:lnTo>
                    <a:lnTo>
                      <a:pt x="595" y="1349"/>
                    </a:lnTo>
                    <a:lnTo>
                      <a:pt x="595" y="1349"/>
                    </a:lnTo>
                    <a:lnTo>
                      <a:pt x="513" y="1349"/>
                    </a:lnTo>
                    <a:cubicBezTo>
                      <a:pt x="512" y="1348"/>
                      <a:pt x="512" y="1346"/>
                      <a:pt x="511" y="1344"/>
                    </a:cubicBezTo>
                    <a:cubicBezTo>
                      <a:pt x="512" y="1346"/>
                      <a:pt x="512" y="1347"/>
                      <a:pt x="513" y="1349"/>
                    </a:cubicBezTo>
                    <a:lnTo>
                      <a:pt x="500" y="1349"/>
                    </a:lnTo>
                    <a:lnTo>
                      <a:pt x="444" y="1415"/>
                    </a:lnTo>
                    <a:lnTo>
                      <a:pt x="437" y="1415"/>
                    </a:lnTo>
                    <a:cubicBezTo>
                      <a:pt x="450" y="1439"/>
                      <a:pt x="465" y="1463"/>
                      <a:pt x="480" y="1485"/>
                    </a:cubicBezTo>
                    <a:lnTo>
                      <a:pt x="481" y="1485"/>
                    </a:lnTo>
                    <a:lnTo>
                      <a:pt x="541" y="1422"/>
                    </a:lnTo>
                    <a:lnTo>
                      <a:pt x="541" y="1422"/>
                    </a:lnTo>
                    <a:lnTo>
                      <a:pt x="541" y="1422"/>
                    </a:lnTo>
                    <a:lnTo>
                      <a:pt x="555" y="1406"/>
                    </a:lnTo>
                    <a:lnTo>
                      <a:pt x="619" y="1406"/>
                    </a:lnTo>
                    <a:lnTo>
                      <a:pt x="619" y="1406"/>
                    </a:lnTo>
                    <a:lnTo>
                      <a:pt x="710" y="1406"/>
                    </a:lnTo>
                    <a:cubicBezTo>
                      <a:pt x="694" y="1388"/>
                      <a:pt x="679" y="1369"/>
                      <a:pt x="666" y="1349"/>
                    </a:cubicBezTo>
                    <a:close/>
                    <a:moveTo>
                      <a:pt x="432" y="1406"/>
                    </a:moveTo>
                    <a:lnTo>
                      <a:pt x="440" y="1406"/>
                    </a:lnTo>
                    <a:lnTo>
                      <a:pt x="496" y="1340"/>
                    </a:lnTo>
                    <a:lnTo>
                      <a:pt x="510" y="1340"/>
                    </a:lnTo>
                    <a:lnTo>
                      <a:pt x="510" y="1340"/>
                    </a:lnTo>
                    <a:lnTo>
                      <a:pt x="592" y="1340"/>
                    </a:lnTo>
                    <a:cubicBezTo>
                      <a:pt x="593" y="1343"/>
                      <a:pt x="594" y="1345"/>
                      <a:pt x="595" y="1348"/>
                    </a:cubicBezTo>
                    <a:lnTo>
                      <a:pt x="592" y="1340"/>
                    </a:lnTo>
                    <a:lnTo>
                      <a:pt x="660" y="1340"/>
                    </a:lnTo>
                    <a:cubicBezTo>
                      <a:pt x="655" y="1333"/>
                      <a:pt x="650" y="1325"/>
                      <a:pt x="645" y="1316"/>
                    </a:cubicBezTo>
                    <a:cubicBezTo>
                      <a:pt x="636" y="1301"/>
                      <a:pt x="628" y="1286"/>
                      <a:pt x="621" y="1270"/>
                    </a:cubicBezTo>
                    <a:lnTo>
                      <a:pt x="571" y="1270"/>
                    </a:lnTo>
                    <a:lnTo>
                      <a:pt x="570" y="1268"/>
                    </a:lnTo>
                    <a:lnTo>
                      <a:pt x="571" y="1270"/>
                    </a:lnTo>
                    <a:lnTo>
                      <a:pt x="571" y="1270"/>
                    </a:lnTo>
                    <a:lnTo>
                      <a:pt x="491" y="1270"/>
                    </a:lnTo>
                    <a:lnTo>
                      <a:pt x="491" y="1270"/>
                    </a:lnTo>
                    <a:lnTo>
                      <a:pt x="464" y="1270"/>
                    </a:lnTo>
                    <a:lnTo>
                      <a:pt x="410" y="1349"/>
                    </a:lnTo>
                    <a:lnTo>
                      <a:pt x="405" y="1349"/>
                    </a:lnTo>
                    <a:cubicBezTo>
                      <a:pt x="413" y="1369"/>
                      <a:pt x="422" y="1388"/>
                      <a:pt x="432" y="1406"/>
                    </a:cubicBezTo>
                    <a:close/>
                    <a:moveTo>
                      <a:pt x="722" y="1340"/>
                    </a:moveTo>
                    <a:lnTo>
                      <a:pt x="830" y="1340"/>
                    </a:lnTo>
                    <a:lnTo>
                      <a:pt x="830" y="1340"/>
                    </a:lnTo>
                    <a:lnTo>
                      <a:pt x="846" y="1340"/>
                    </a:lnTo>
                    <a:lnTo>
                      <a:pt x="846" y="1340"/>
                    </a:lnTo>
                    <a:cubicBezTo>
                      <a:pt x="850" y="1331"/>
                      <a:pt x="859" y="1324"/>
                      <a:pt x="870" y="1324"/>
                    </a:cubicBezTo>
                    <a:cubicBezTo>
                      <a:pt x="884" y="1324"/>
                      <a:pt x="895" y="1336"/>
                      <a:pt x="895" y="1350"/>
                    </a:cubicBezTo>
                    <a:cubicBezTo>
                      <a:pt x="895" y="1361"/>
                      <a:pt x="887" y="1371"/>
                      <a:pt x="877" y="1374"/>
                    </a:cubicBezTo>
                    <a:cubicBezTo>
                      <a:pt x="892" y="1386"/>
                      <a:pt x="908" y="1397"/>
                      <a:pt x="924" y="1406"/>
                    </a:cubicBezTo>
                    <a:lnTo>
                      <a:pt x="981" y="1406"/>
                    </a:lnTo>
                    <a:lnTo>
                      <a:pt x="981" y="1406"/>
                    </a:lnTo>
                    <a:lnTo>
                      <a:pt x="1072" y="1406"/>
                    </a:lnTo>
                    <a:lnTo>
                      <a:pt x="1124" y="1461"/>
                    </a:lnTo>
                    <a:cubicBezTo>
                      <a:pt x="1179" y="1462"/>
                      <a:pt x="1235" y="1451"/>
                      <a:pt x="1287" y="1429"/>
                    </a:cubicBezTo>
                    <a:lnTo>
                      <a:pt x="1307" y="1476"/>
                    </a:lnTo>
                    <a:cubicBezTo>
                      <a:pt x="1262" y="1495"/>
                      <a:pt x="1214" y="1506"/>
                      <a:pt x="1167" y="1510"/>
                    </a:cubicBezTo>
                    <a:cubicBezTo>
                      <a:pt x="1162" y="1516"/>
                      <a:pt x="1155" y="1520"/>
                      <a:pt x="1147" y="1520"/>
                    </a:cubicBezTo>
                    <a:lnTo>
                      <a:pt x="1147" y="1520"/>
                    </a:lnTo>
                    <a:cubicBezTo>
                      <a:pt x="1140" y="1520"/>
                      <a:pt x="1133" y="1517"/>
                      <a:pt x="1128" y="1512"/>
                    </a:cubicBezTo>
                    <a:cubicBezTo>
                      <a:pt x="1104" y="1512"/>
                      <a:pt x="1079" y="1510"/>
                      <a:pt x="1055" y="1506"/>
                    </a:cubicBezTo>
                    <a:cubicBezTo>
                      <a:pt x="980" y="1494"/>
                      <a:pt x="908" y="1463"/>
                      <a:pt x="847" y="1415"/>
                    </a:cubicBezTo>
                    <a:lnTo>
                      <a:pt x="789" y="1415"/>
                    </a:lnTo>
                    <a:cubicBezTo>
                      <a:pt x="812" y="1436"/>
                      <a:pt x="837" y="1454"/>
                      <a:pt x="863" y="1470"/>
                    </a:cubicBezTo>
                    <a:cubicBezTo>
                      <a:pt x="865" y="1470"/>
                      <a:pt x="867" y="1469"/>
                      <a:pt x="870" y="1469"/>
                    </a:cubicBezTo>
                    <a:cubicBezTo>
                      <a:pt x="882" y="1469"/>
                      <a:pt x="892" y="1478"/>
                      <a:pt x="895" y="1489"/>
                    </a:cubicBezTo>
                    <a:cubicBezTo>
                      <a:pt x="899" y="1491"/>
                      <a:pt x="903" y="1493"/>
                      <a:pt x="907" y="1495"/>
                    </a:cubicBezTo>
                    <a:cubicBezTo>
                      <a:pt x="998" y="1540"/>
                      <a:pt x="1101" y="1558"/>
                      <a:pt x="1202" y="1546"/>
                    </a:cubicBezTo>
                    <a:lnTo>
                      <a:pt x="1208" y="1596"/>
                    </a:lnTo>
                    <a:cubicBezTo>
                      <a:pt x="1097" y="1610"/>
                      <a:pt x="984" y="1590"/>
                      <a:pt x="884" y="1540"/>
                    </a:cubicBezTo>
                    <a:cubicBezTo>
                      <a:pt x="858" y="1527"/>
                      <a:pt x="832" y="1512"/>
                      <a:pt x="807" y="1494"/>
                    </a:cubicBezTo>
                    <a:lnTo>
                      <a:pt x="606" y="1494"/>
                    </a:lnTo>
                    <a:lnTo>
                      <a:pt x="547" y="1570"/>
                    </a:lnTo>
                    <a:cubicBezTo>
                      <a:pt x="556" y="1579"/>
                      <a:pt x="564" y="1588"/>
                      <a:pt x="573" y="1597"/>
                    </a:cubicBezTo>
                    <a:cubicBezTo>
                      <a:pt x="582" y="1606"/>
                      <a:pt x="592" y="1615"/>
                      <a:pt x="602" y="1624"/>
                    </a:cubicBezTo>
                    <a:lnTo>
                      <a:pt x="634" y="1591"/>
                    </a:lnTo>
                    <a:lnTo>
                      <a:pt x="951" y="1591"/>
                    </a:lnTo>
                    <a:lnTo>
                      <a:pt x="1011" y="1635"/>
                    </a:lnTo>
                    <a:cubicBezTo>
                      <a:pt x="1015" y="1630"/>
                      <a:pt x="1021" y="1627"/>
                      <a:pt x="1028" y="1627"/>
                    </a:cubicBezTo>
                    <a:cubicBezTo>
                      <a:pt x="1042" y="1627"/>
                      <a:pt x="1053" y="1639"/>
                      <a:pt x="1053" y="1653"/>
                    </a:cubicBezTo>
                    <a:cubicBezTo>
                      <a:pt x="1053" y="1667"/>
                      <a:pt x="1042" y="1678"/>
                      <a:pt x="1028" y="1678"/>
                    </a:cubicBezTo>
                    <a:lnTo>
                      <a:pt x="1028" y="1678"/>
                    </a:lnTo>
                    <a:cubicBezTo>
                      <a:pt x="1014" y="1678"/>
                      <a:pt x="1003" y="1667"/>
                      <a:pt x="1003" y="1653"/>
                    </a:cubicBezTo>
                    <a:cubicBezTo>
                      <a:pt x="1003" y="1649"/>
                      <a:pt x="1004" y="1645"/>
                      <a:pt x="1005" y="1642"/>
                    </a:cubicBezTo>
                    <a:lnTo>
                      <a:pt x="1005" y="1642"/>
                    </a:lnTo>
                    <a:cubicBezTo>
                      <a:pt x="1006" y="1641"/>
                      <a:pt x="1006" y="1640"/>
                      <a:pt x="1007" y="1639"/>
                    </a:cubicBezTo>
                    <a:cubicBezTo>
                      <a:pt x="1006" y="1640"/>
                      <a:pt x="1006" y="1641"/>
                      <a:pt x="1005" y="1642"/>
                    </a:cubicBezTo>
                    <a:lnTo>
                      <a:pt x="948" y="1600"/>
                    </a:lnTo>
                    <a:lnTo>
                      <a:pt x="638" y="1600"/>
                    </a:lnTo>
                    <a:lnTo>
                      <a:pt x="608" y="1630"/>
                    </a:lnTo>
                    <a:cubicBezTo>
                      <a:pt x="625" y="1645"/>
                      <a:pt x="642" y="1659"/>
                      <a:pt x="660" y="1672"/>
                    </a:cubicBezTo>
                    <a:lnTo>
                      <a:pt x="692" y="1644"/>
                    </a:lnTo>
                    <a:lnTo>
                      <a:pt x="774" y="1644"/>
                    </a:lnTo>
                    <a:lnTo>
                      <a:pt x="774" y="1644"/>
                    </a:lnTo>
                    <a:lnTo>
                      <a:pt x="785" y="1644"/>
                    </a:lnTo>
                    <a:cubicBezTo>
                      <a:pt x="788" y="1647"/>
                      <a:pt x="791" y="1649"/>
                      <a:pt x="794" y="1652"/>
                    </a:cubicBezTo>
                    <a:lnTo>
                      <a:pt x="794" y="1652"/>
                    </a:lnTo>
                    <a:lnTo>
                      <a:pt x="765" y="1652"/>
                    </a:lnTo>
                    <a:lnTo>
                      <a:pt x="765" y="1652"/>
                    </a:lnTo>
                    <a:lnTo>
                      <a:pt x="695" y="1652"/>
                    </a:lnTo>
                    <a:lnTo>
                      <a:pt x="667" y="1677"/>
                    </a:lnTo>
                    <a:cubicBezTo>
                      <a:pt x="688" y="1693"/>
                      <a:pt x="710" y="1707"/>
                      <a:pt x="732" y="1720"/>
                    </a:cubicBezTo>
                    <a:lnTo>
                      <a:pt x="742" y="1710"/>
                    </a:lnTo>
                    <a:lnTo>
                      <a:pt x="742" y="1710"/>
                    </a:lnTo>
                    <a:lnTo>
                      <a:pt x="755" y="1696"/>
                    </a:lnTo>
                    <a:lnTo>
                      <a:pt x="843" y="1696"/>
                    </a:lnTo>
                    <a:lnTo>
                      <a:pt x="843" y="1696"/>
                    </a:lnTo>
                    <a:lnTo>
                      <a:pt x="936" y="1696"/>
                    </a:lnTo>
                    <a:lnTo>
                      <a:pt x="999" y="1752"/>
                    </a:lnTo>
                    <a:cubicBezTo>
                      <a:pt x="996" y="1754"/>
                      <a:pt x="995" y="1756"/>
                      <a:pt x="993" y="1759"/>
                    </a:cubicBezTo>
                    <a:lnTo>
                      <a:pt x="993" y="1759"/>
                    </a:lnTo>
                    <a:lnTo>
                      <a:pt x="933" y="1705"/>
                    </a:lnTo>
                    <a:lnTo>
                      <a:pt x="854" y="1705"/>
                    </a:lnTo>
                    <a:cubicBezTo>
                      <a:pt x="852" y="1704"/>
                      <a:pt x="850" y="1702"/>
                      <a:pt x="848" y="1700"/>
                    </a:cubicBezTo>
                    <a:cubicBezTo>
                      <a:pt x="850" y="1702"/>
                      <a:pt x="852" y="1704"/>
                      <a:pt x="854" y="1705"/>
                    </a:cubicBezTo>
                    <a:lnTo>
                      <a:pt x="759" y="1705"/>
                    </a:lnTo>
                    <a:lnTo>
                      <a:pt x="748" y="1716"/>
                    </a:lnTo>
                    <a:lnTo>
                      <a:pt x="748" y="1716"/>
                    </a:lnTo>
                    <a:lnTo>
                      <a:pt x="747" y="1715"/>
                    </a:lnTo>
                    <a:lnTo>
                      <a:pt x="748" y="1716"/>
                    </a:lnTo>
                    <a:lnTo>
                      <a:pt x="740" y="1724"/>
                    </a:lnTo>
                    <a:cubicBezTo>
                      <a:pt x="755" y="1733"/>
                      <a:pt x="770" y="1741"/>
                      <a:pt x="786" y="1749"/>
                    </a:cubicBezTo>
                    <a:lnTo>
                      <a:pt x="845" y="1749"/>
                    </a:lnTo>
                    <a:cubicBezTo>
                      <a:pt x="845" y="1748"/>
                      <a:pt x="845" y="1746"/>
                      <a:pt x="845" y="1745"/>
                    </a:cubicBezTo>
                    <a:cubicBezTo>
                      <a:pt x="845" y="1731"/>
                      <a:pt x="856" y="1720"/>
                      <a:pt x="870" y="1720"/>
                    </a:cubicBezTo>
                    <a:cubicBezTo>
                      <a:pt x="871" y="1720"/>
                      <a:pt x="873" y="1720"/>
                      <a:pt x="874" y="1720"/>
                    </a:cubicBezTo>
                    <a:cubicBezTo>
                      <a:pt x="876" y="1721"/>
                      <a:pt x="877" y="1723"/>
                      <a:pt x="879" y="1724"/>
                    </a:cubicBezTo>
                    <a:cubicBezTo>
                      <a:pt x="877" y="1723"/>
                      <a:pt x="876" y="1721"/>
                      <a:pt x="874" y="1720"/>
                    </a:cubicBezTo>
                    <a:cubicBezTo>
                      <a:pt x="882" y="1721"/>
                      <a:pt x="889" y="1726"/>
                      <a:pt x="892" y="1733"/>
                    </a:cubicBezTo>
                    <a:lnTo>
                      <a:pt x="892" y="1733"/>
                    </a:lnTo>
                    <a:lnTo>
                      <a:pt x="890" y="1732"/>
                    </a:lnTo>
                    <a:lnTo>
                      <a:pt x="892" y="1733"/>
                    </a:lnTo>
                    <a:cubicBezTo>
                      <a:pt x="894" y="1737"/>
                      <a:pt x="895" y="1741"/>
                      <a:pt x="895" y="1745"/>
                    </a:cubicBezTo>
                    <a:cubicBezTo>
                      <a:pt x="895" y="1759"/>
                      <a:pt x="884" y="1770"/>
                      <a:pt x="870" y="1770"/>
                    </a:cubicBezTo>
                    <a:lnTo>
                      <a:pt x="870" y="1770"/>
                    </a:lnTo>
                    <a:cubicBezTo>
                      <a:pt x="861" y="1770"/>
                      <a:pt x="852" y="1765"/>
                      <a:pt x="848" y="1758"/>
                    </a:cubicBezTo>
                    <a:lnTo>
                      <a:pt x="877" y="1758"/>
                    </a:lnTo>
                    <a:lnTo>
                      <a:pt x="877" y="1749"/>
                    </a:lnTo>
                    <a:lnTo>
                      <a:pt x="877" y="1749"/>
                    </a:lnTo>
                    <a:lnTo>
                      <a:pt x="877" y="1758"/>
                    </a:lnTo>
                    <a:lnTo>
                      <a:pt x="877" y="1758"/>
                    </a:lnTo>
                    <a:lnTo>
                      <a:pt x="848" y="1758"/>
                    </a:lnTo>
                    <a:lnTo>
                      <a:pt x="848" y="1758"/>
                    </a:lnTo>
                    <a:lnTo>
                      <a:pt x="848" y="1758"/>
                    </a:lnTo>
                    <a:lnTo>
                      <a:pt x="804" y="1758"/>
                    </a:lnTo>
                    <a:cubicBezTo>
                      <a:pt x="906" y="1804"/>
                      <a:pt x="1018" y="1830"/>
                      <a:pt x="1137" y="1830"/>
                    </a:cubicBezTo>
                    <a:cubicBezTo>
                      <a:pt x="1357" y="1830"/>
                      <a:pt x="1556" y="1741"/>
                      <a:pt x="1700" y="1597"/>
                    </a:cubicBezTo>
                    <a:cubicBezTo>
                      <a:pt x="1845" y="1452"/>
                      <a:pt x="1934" y="1253"/>
                      <a:pt x="1934" y="1033"/>
                    </a:cubicBezTo>
                    <a:cubicBezTo>
                      <a:pt x="1934" y="869"/>
                      <a:pt x="1885" y="718"/>
                      <a:pt x="1801" y="591"/>
                    </a:cubicBezTo>
                    <a:lnTo>
                      <a:pt x="1716" y="679"/>
                    </a:lnTo>
                    <a:lnTo>
                      <a:pt x="1578" y="679"/>
                    </a:lnTo>
                    <a:lnTo>
                      <a:pt x="1578" y="680"/>
                    </a:lnTo>
                    <a:cubicBezTo>
                      <a:pt x="1578" y="694"/>
                      <a:pt x="1567" y="705"/>
                      <a:pt x="1553" y="705"/>
                    </a:cubicBezTo>
                    <a:lnTo>
                      <a:pt x="1553" y="705"/>
                    </a:lnTo>
                    <a:cubicBezTo>
                      <a:pt x="1539" y="705"/>
                      <a:pt x="1528" y="694"/>
                      <a:pt x="1528" y="680"/>
                    </a:cubicBezTo>
                    <a:cubicBezTo>
                      <a:pt x="1528" y="666"/>
                      <a:pt x="1539" y="655"/>
                      <a:pt x="1553" y="655"/>
                    </a:cubicBezTo>
                    <a:cubicBezTo>
                      <a:pt x="1564" y="655"/>
                      <a:pt x="1573" y="661"/>
                      <a:pt x="1576" y="671"/>
                    </a:cubicBezTo>
                    <a:lnTo>
                      <a:pt x="1712" y="671"/>
                    </a:lnTo>
                    <a:lnTo>
                      <a:pt x="1796" y="584"/>
                    </a:lnTo>
                    <a:cubicBezTo>
                      <a:pt x="1783" y="566"/>
                      <a:pt x="1770" y="548"/>
                      <a:pt x="1756" y="531"/>
                    </a:cubicBezTo>
                    <a:lnTo>
                      <a:pt x="1699" y="586"/>
                    </a:lnTo>
                    <a:lnTo>
                      <a:pt x="1698" y="585"/>
                    </a:lnTo>
                    <a:lnTo>
                      <a:pt x="1699" y="586"/>
                    </a:lnTo>
                    <a:lnTo>
                      <a:pt x="1644" y="640"/>
                    </a:lnTo>
                    <a:lnTo>
                      <a:pt x="1644" y="640"/>
                    </a:lnTo>
                    <a:lnTo>
                      <a:pt x="1625" y="640"/>
                    </a:lnTo>
                    <a:cubicBezTo>
                      <a:pt x="1622" y="638"/>
                      <a:pt x="1619" y="636"/>
                      <a:pt x="1616" y="634"/>
                    </a:cubicBezTo>
                    <a:cubicBezTo>
                      <a:pt x="1619" y="636"/>
                      <a:pt x="1622" y="638"/>
                      <a:pt x="1625" y="640"/>
                    </a:cubicBezTo>
                    <a:lnTo>
                      <a:pt x="1400" y="640"/>
                    </a:lnTo>
                    <a:cubicBezTo>
                      <a:pt x="1427" y="657"/>
                      <a:pt x="1451" y="677"/>
                      <a:pt x="1473" y="699"/>
                    </a:cubicBezTo>
                    <a:cubicBezTo>
                      <a:pt x="1556" y="782"/>
                      <a:pt x="1607" y="897"/>
                      <a:pt x="1607" y="1023"/>
                    </a:cubicBezTo>
                    <a:cubicBezTo>
                      <a:pt x="1607" y="1067"/>
                      <a:pt x="1601" y="1111"/>
                      <a:pt x="1589" y="1152"/>
                    </a:cubicBezTo>
                    <a:cubicBezTo>
                      <a:pt x="1576" y="1194"/>
                      <a:pt x="1558" y="1234"/>
                      <a:pt x="1535" y="1270"/>
                    </a:cubicBezTo>
                    <a:lnTo>
                      <a:pt x="1492" y="1243"/>
                    </a:lnTo>
                    <a:cubicBezTo>
                      <a:pt x="1513" y="1210"/>
                      <a:pt x="1529" y="1175"/>
                      <a:pt x="1540" y="1138"/>
                    </a:cubicBezTo>
                    <a:cubicBezTo>
                      <a:pt x="1551" y="1101"/>
                      <a:pt x="1556" y="1063"/>
                      <a:pt x="1556" y="1023"/>
                    </a:cubicBezTo>
                    <a:cubicBezTo>
                      <a:pt x="1556" y="911"/>
                      <a:pt x="1511" y="809"/>
                      <a:pt x="1437" y="735"/>
                    </a:cubicBezTo>
                    <a:cubicBezTo>
                      <a:pt x="1404" y="702"/>
                      <a:pt x="1365" y="674"/>
                      <a:pt x="1321" y="654"/>
                    </a:cubicBezTo>
                    <a:lnTo>
                      <a:pt x="1300" y="671"/>
                    </a:lnTo>
                    <a:cubicBezTo>
                      <a:pt x="1299" y="668"/>
                      <a:pt x="1298" y="666"/>
                      <a:pt x="1296" y="664"/>
                    </a:cubicBezTo>
                    <a:cubicBezTo>
                      <a:pt x="1298" y="666"/>
                      <a:pt x="1299" y="668"/>
                      <a:pt x="1300" y="671"/>
                    </a:cubicBezTo>
                    <a:cubicBezTo>
                      <a:pt x="1301" y="674"/>
                      <a:pt x="1301" y="677"/>
                      <a:pt x="1301" y="680"/>
                    </a:cubicBezTo>
                    <a:cubicBezTo>
                      <a:pt x="1301" y="694"/>
                      <a:pt x="1290" y="705"/>
                      <a:pt x="1276" y="705"/>
                    </a:cubicBezTo>
                    <a:lnTo>
                      <a:pt x="1276" y="705"/>
                    </a:lnTo>
                    <a:cubicBezTo>
                      <a:pt x="1262" y="705"/>
                      <a:pt x="1251" y="694"/>
                      <a:pt x="1251" y="680"/>
                    </a:cubicBezTo>
                    <a:cubicBezTo>
                      <a:pt x="1251" y="666"/>
                      <a:pt x="1262" y="655"/>
                      <a:pt x="1276" y="655"/>
                    </a:cubicBezTo>
                    <a:cubicBezTo>
                      <a:pt x="1284" y="655"/>
                      <a:pt x="1290" y="658"/>
                      <a:pt x="1295" y="663"/>
                    </a:cubicBezTo>
                    <a:lnTo>
                      <a:pt x="1295" y="663"/>
                    </a:lnTo>
                    <a:lnTo>
                      <a:pt x="1312" y="650"/>
                    </a:lnTo>
                    <a:cubicBezTo>
                      <a:pt x="1263" y="628"/>
                      <a:pt x="1207" y="616"/>
                      <a:pt x="1150" y="616"/>
                    </a:cubicBezTo>
                    <a:cubicBezTo>
                      <a:pt x="1126" y="616"/>
                      <a:pt x="1103" y="618"/>
                      <a:pt x="1081" y="622"/>
                    </a:cubicBezTo>
                    <a:cubicBezTo>
                      <a:pt x="1070" y="624"/>
                      <a:pt x="1060" y="626"/>
                      <a:pt x="1050" y="628"/>
                    </a:cubicBezTo>
                    <a:lnTo>
                      <a:pt x="1086" y="628"/>
                    </a:lnTo>
                    <a:lnTo>
                      <a:pt x="1128" y="661"/>
                    </a:lnTo>
                    <a:cubicBezTo>
                      <a:pt x="1132" y="655"/>
                      <a:pt x="1139" y="652"/>
                      <a:pt x="1147" y="652"/>
                    </a:cubicBezTo>
                    <a:cubicBezTo>
                      <a:pt x="1159" y="652"/>
                      <a:pt x="1169" y="660"/>
                      <a:pt x="1171" y="672"/>
                    </a:cubicBezTo>
                    <a:cubicBezTo>
                      <a:pt x="1175" y="672"/>
                      <a:pt x="1178" y="672"/>
                      <a:pt x="1182" y="673"/>
                    </a:cubicBezTo>
                    <a:cubicBezTo>
                      <a:pt x="1197" y="675"/>
                      <a:pt x="1212" y="677"/>
                      <a:pt x="1226" y="681"/>
                    </a:cubicBezTo>
                    <a:lnTo>
                      <a:pt x="1214" y="730"/>
                    </a:lnTo>
                    <a:cubicBezTo>
                      <a:pt x="1201" y="727"/>
                      <a:pt x="1188" y="725"/>
                      <a:pt x="1176" y="723"/>
                    </a:cubicBezTo>
                    <a:cubicBezTo>
                      <a:pt x="1164" y="721"/>
                      <a:pt x="1151" y="721"/>
                      <a:pt x="1137" y="721"/>
                    </a:cubicBezTo>
                    <a:cubicBezTo>
                      <a:pt x="1076" y="721"/>
                      <a:pt x="1019" y="739"/>
                      <a:pt x="972" y="769"/>
                    </a:cubicBezTo>
                    <a:lnTo>
                      <a:pt x="994" y="794"/>
                    </a:lnTo>
                    <a:cubicBezTo>
                      <a:pt x="999" y="788"/>
                      <a:pt x="1006" y="784"/>
                      <a:pt x="1015" y="784"/>
                    </a:cubicBezTo>
                    <a:cubicBezTo>
                      <a:pt x="1029" y="784"/>
                      <a:pt x="1040" y="795"/>
                      <a:pt x="1040" y="809"/>
                    </a:cubicBezTo>
                    <a:cubicBezTo>
                      <a:pt x="1040" y="823"/>
                      <a:pt x="1029" y="834"/>
                      <a:pt x="1015" y="834"/>
                    </a:cubicBezTo>
                    <a:lnTo>
                      <a:pt x="1015" y="834"/>
                    </a:lnTo>
                    <a:cubicBezTo>
                      <a:pt x="1001" y="834"/>
                      <a:pt x="990" y="823"/>
                      <a:pt x="990" y="809"/>
                    </a:cubicBezTo>
                    <a:cubicBezTo>
                      <a:pt x="990" y="807"/>
                      <a:pt x="990" y="805"/>
                      <a:pt x="990" y="803"/>
                    </a:cubicBezTo>
                    <a:lnTo>
                      <a:pt x="990" y="803"/>
                    </a:lnTo>
                    <a:cubicBezTo>
                      <a:pt x="991" y="802"/>
                      <a:pt x="991" y="802"/>
                      <a:pt x="991" y="801"/>
                    </a:cubicBezTo>
                    <a:cubicBezTo>
                      <a:pt x="991" y="802"/>
                      <a:pt x="991" y="802"/>
                      <a:pt x="990" y="803"/>
                    </a:cubicBezTo>
                    <a:lnTo>
                      <a:pt x="964" y="774"/>
                    </a:lnTo>
                    <a:cubicBezTo>
                      <a:pt x="961" y="777"/>
                      <a:pt x="958" y="779"/>
                      <a:pt x="954" y="781"/>
                    </a:cubicBezTo>
                    <a:cubicBezTo>
                      <a:pt x="920" y="807"/>
                      <a:pt x="891" y="841"/>
                      <a:pt x="870" y="879"/>
                    </a:cubicBezTo>
                    <a:lnTo>
                      <a:pt x="886" y="879"/>
                    </a:lnTo>
                    <a:lnTo>
                      <a:pt x="886" y="879"/>
                    </a:lnTo>
                    <a:lnTo>
                      <a:pt x="1059" y="879"/>
                    </a:lnTo>
                    <a:cubicBezTo>
                      <a:pt x="1083" y="867"/>
                      <a:pt x="1109" y="861"/>
                      <a:pt x="1137" y="861"/>
                    </a:cubicBezTo>
                    <a:cubicBezTo>
                      <a:pt x="1184" y="861"/>
                      <a:pt x="1227" y="880"/>
                      <a:pt x="1258" y="911"/>
                    </a:cubicBezTo>
                    <a:cubicBezTo>
                      <a:pt x="1289" y="942"/>
                      <a:pt x="1309" y="985"/>
                      <a:pt x="1309" y="1033"/>
                    </a:cubicBezTo>
                    <a:cubicBezTo>
                      <a:pt x="1309" y="1080"/>
                      <a:pt x="1289" y="1123"/>
                      <a:pt x="1258" y="1154"/>
                    </a:cubicBezTo>
                    <a:cubicBezTo>
                      <a:pt x="1227" y="1185"/>
                      <a:pt x="1184" y="1205"/>
                      <a:pt x="1137" y="1205"/>
                    </a:cubicBezTo>
                    <a:cubicBezTo>
                      <a:pt x="1132" y="1205"/>
                      <a:pt x="1127" y="1205"/>
                      <a:pt x="1122" y="1204"/>
                    </a:cubicBezTo>
                    <a:lnTo>
                      <a:pt x="1129" y="1212"/>
                    </a:lnTo>
                    <a:cubicBezTo>
                      <a:pt x="1127" y="1215"/>
                      <a:pt x="1126" y="1217"/>
                      <a:pt x="1124" y="1220"/>
                    </a:cubicBezTo>
                    <a:lnTo>
                      <a:pt x="1108" y="1202"/>
                    </a:lnTo>
                    <a:cubicBezTo>
                      <a:pt x="1085" y="1199"/>
                      <a:pt x="1063" y="1190"/>
                      <a:pt x="1044" y="1178"/>
                    </a:cubicBezTo>
                    <a:lnTo>
                      <a:pt x="874" y="1178"/>
                    </a:lnTo>
                    <a:cubicBezTo>
                      <a:pt x="892" y="1209"/>
                      <a:pt x="915" y="1236"/>
                      <a:pt x="943" y="1259"/>
                    </a:cubicBezTo>
                    <a:cubicBezTo>
                      <a:pt x="995" y="1303"/>
                      <a:pt x="1063" y="1329"/>
                      <a:pt x="1137" y="1329"/>
                    </a:cubicBezTo>
                    <a:cubicBezTo>
                      <a:pt x="1221" y="1329"/>
                      <a:pt x="1297" y="1295"/>
                      <a:pt x="1352" y="1240"/>
                    </a:cubicBezTo>
                    <a:cubicBezTo>
                      <a:pt x="1407" y="1185"/>
                      <a:pt x="1441" y="1109"/>
                      <a:pt x="1441" y="1025"/>
                    </a:cubicBezTo>
                    <a:cubicBezTo>
                      <a:pt x="1441" y="1005"/>
                      <a:pt x="1439" y="986"/>
                      <a:pt x="1436" y="968"/>
                    </a:cubicBezTo>
                    <a:cubicBezTo>
                      <a:pt x="1432" y="949"/>
                      <a:pt x="1427" y="931"/>
                      <a:pt x="1420" y="913"/>
                    </a:cubicBezTo>
                    <a:lnTo>
                      <a:pt x="1467" y="895"/>
                    </a:lnTo>
                    <a:cubicBezTo>
                      <a:pt x="1475" y="915"/>
                      <a:pt x="1482" y="936"/>
                      <a:pt x="1486" y="958"/>
                    </a:cubicBezTo>
                    <a:cubicBezTo>
                      <a:pt x="1490" y="980"/>
                      <a:pt x="1492" y="1002"/>
                      <a:pt x="1492" y="1025"/>
                    </a:cubicBezTo>
                    <a:cubicBezTo>
                      <a:pt x="1492" y="1123"/>
                      <a:pt x="1452" y="1212"/>
                      <a:pt x="1388" y="1276"/>
                    </a:cubicBezTo>
                    <a:cubicBezTo>
                      <a:pt x="1324" y="1340"/>
                      <a:pt x="1235" y="1380"/>
                      <a:pt x="1137" y="1380"/>
                    </a:cubicBezTo>
                    <a:cubicBezTo>
                      <a:pt x="1105" y="1380"/>
                      <a:pt x="1075" y="1376"/>
                      <a:pt x="1046" y="1368"/>
                    </a:cubicBezTo>
                    <a:cubicBezTo>
                      <a:pt x="1041" y="1372"/>
                      <a:pt x="1035" y="1375"/>
                      <a:pt x="1028" y="1375"/>
                    </a:cubicBezTo>
                    <a:lnTo>
                      <a:pt x="1028" y="1375"/>
                    </a:lnTo>
                    <a:cubicBezTo>
                      <a:pt x="1016" y="1375"/>
                      <a:pt x="1005" y="1366"/>
                      <a:pt x="1003" y="1354"/>
                    </a:cubicBezTo>
                    <a:cubicBezTo>
                      <a:pt x="969" y="1340"/>
                      <a:pt x="938" y="1321"/>
                      <a:pt x="910" y="1298"/>
                    </a:cubicBezTo>
                    <a:cubicBezTo>
                      <a:pt x="900" y="1289"/>
                      <a:pt x="890" y="1280"/>
                      <a:pt x="880" y="1270"/>
                    </a:cubicBezTo>
                    <a:lnTo>
                      <a:pt x="799" y="1270"/>
                    </a:lnTo>
                    <a:lnTo>
                      <a:pt x="799" y="1270"/>
                    </a:lnTo>
                    <a:lnTo>
                      <a:pt x="765" y="1270"/>
                    </a:lnTo>
                    <a:lnTo>
                      <a:pt x="737" y="1289"/>
                    </a:lnTo>
                    <a:cubicBezTo>
                      <a:pt x="732" y="1283"/>
                      <a:pt x="728" y="1276"/>
                      <a:pt x="724" y="1270"/>
                    </a:cubicBezTo>
                    <a:lnTo>
                      <a:pt x="677" y="1270"/>
                    </a:lnTo>
                    <a:cubicBezTo>
                      <a:pt x="681" y="1277"/>
                      <a:pt x="685" y="1284"/>
                      <a:pt x="689" y="1291"/>
                    </a:cubicBezTo>
                    <a:cubicBezTo>
                      <a:pt x="699" y="1308"/>
                      <a:pt x="710" y="1325"/>
                      <a:pt x="722" y="1340"/>
                    </a:cubicBezTo>
                    <a:close/>
                    <a:moveTo>
                      <a:pt x="864" y="1340"/>
                    </a:moveTo>
                    <a:lnTo>
                      <a:pt x="864" y="1349"/>
                    </a:lnTo>
                    <a:lnTo>
                      <a:pt x="864" y="1349"/>
                    </a:lnTo>
                    <a:lnTo>
                      <a:pt x="864" y="1340"/>
                    </a:lnTo>
                    <a:close/>
                    <a:moveTo>
                      <a:pt x="845" y="1349"/>
                    </a:moveTo>
                    <a:lnTo>
                      <a:pt x="864" y="1349"/>
                    </a:lnTo>
                    <a:moveTo>
                      <a:pt x="846" y="1235"/>
                    </a:moveTo>
                    <a:lnTo>
                      <a:pt x="846" y="1235"/>
                    </a:lnTo>
                    <a:lnTo>
                      <a:pt x="846" y="1235"/>
                    </a:lnTo>
                    <a:cubicBezTo>
                      <a:pt x="847" y="1234"/>
                      <a:pt x="847" y="1232"/>
                      <a:pt x="848" y="1231"/>
                    </a:cubicBezTo>
                    <a:cubicBezTo>
                      <a:pt x="836" y="1214"/>
                      <a:pt x="826" y="1196"/>
                      <a:pt x="817" y="1178"/>
                    </a:cubicBezTo>
                    <a:lnTo>
                      <a:pt x="774" y="1178"/>
                    </a:lnTo>
                    <a:lnTo>
                      <a:pt x="774" y="1178"/>
                    </a:lnTo>
                    <a:lnTo>
                      <a:pt x="735" y="1178"/>
                    </a:lnTo>
                    <a:cubicBezTo>
                      <a:pt x="742" y="1197"/>
                      <a:pt x="752" y="1216"/>
                      <a:pt x="762" y="1235"/>
                    </a:cubicBezTo>
                    <a:lnTo>
                      <a:pt x="787" y="1235"/>
                    </a:lnTo>
                    <a:lnTo>
                      <a:pt x="787" y="1235"/>
                    </a:lnTo>
                    <a:lnTo>
                      <a:pt x="846" y="1235"/>
                    </a:lnTo>
                    <a:close/>
                    <a:moveTo>
                      <a:pt x="401" y="1340"/>
                    </a:moveTo>
                    <a:lnTo>
                      <a:pt x="405" y="1340"/>
                    </a:lnTo>
                    <a:lnTo>
                      <a:pt x="459" y="1261"/>
                    </a:lnTo>
                    <a:lnTo>
                      <a:pt x="489" y="1261"/>
                    </a:lnTo>
                    <a:lnTo>
                      <a:pt x="489" y="1261"/>
                    </a:lnTo>
                    <a:lnTo>
                      <a:pt x="568" y="1261"/>
                    </a:lnTo>
                    <a:lnTo>
                      <a:pt x="568" y="1262"/>
                    </a:lnTo>
                    <a:lnTo>
                      <a:pt x="568" y="1261"/>
                    </a:lnTo>
                    <a:lnTo>
                      <a:pt x="617" y="1261"/>
                    </a:lnTo>
                    <a:cubicBezTo>
                      <a:pt x="614" y="1255"/>
                      <a:pt x="612" y="1249"/>
                      <a:pt x="610" y="1244"/>
                    </a:cubicBezTo>
                    <a:lnTo>
                      <a:pt x="564" y="1244"/>
                    </a:lnTo>
                    <a:lnTo>
                      <a:pt x="564" y="1244"/>
                    </a:lnTo>
                    <a:lnTo>
                      <a:pt x="485" y="1244"/>
                    </a:lnTo>
                    <a:cubicBezTo>
                      <a:pt x="484" y="1241"/>
                      <a:pt x="484" y="1238"/>
                      <a:pt x="483" y="1235"/>
                    </a:cubicBezTo>
                    <a:lnTo>
                      <a:pt x="562" y="1235"/>
                    </a:lnTo>
                    <a:lnTo>
                      <a:pt x="562" y="1235"/>
                    </a:lnTo>
                    <a:lnTo>
                      <a:pt x="606" y="1235"/>
                    </a:lnTo>
                    <a:cubicBezTo>
                      <a:pt x="599" y="1216"/>
                      <a:pt x="593" y="1197"/>
                      <a:pt x="588" y="1178"/>
                    </a:cubicBezTo>
                    <a:lnTo>
                      <a:pt x="553" y="1178"/>
                    </a:lnTo>
                    <a:cubicBezTo>
                      <a:pt x="552" y="1175"/>
                      <a:pt x="552" y="1172"/>
                      <a:pt x="551" y="1170"/>
                    </a:cubicBezTo>
                    <a:cubicBezTo>
                      <a:pt x="552" y="1172"/>
                      <a:pt x="552" y="1175"/>
                      <a:pt x="553" y="1178"/>
                    </a:cubicBezTo>
                    <a:lnTo>
                      <a:pt x="553" y="1178"/>
                    </a:lnTo>
                    <a:lnTo>
                      <a:pt x="474" y="1178"/>
                    </a:lnTo>
                    <a:lnTo>
                      <a:pt x="474" y="1178"/>
                    </a:lnTo>
                    <a:lnTo>
                      <a:pt x="474" y="1178"/>
                    </a:lnTo>
                    <a:lnTo>
                      <a:pt x="352" y="1178"/>
                    </a:lnTo>
                    <a:cubicBezTo>
                      <a:pt x="356" y="1197"/>
                      <a:pt x="360" y="1216"/>
                      <a:pt x="365" y="1235"/>
                    </a:cubicBezTo>
                    <a:lnTo>
                      <a:pt x="483" y="1235"/>
                    </a:lnTo>
                    <a:cubicBezTo>
                      <a:pt x="484" y="1238"/>
                      <a:pt x="484" y="1241"/>
                      <a:pt x="485" y="1244"/>
                    </a:cubicBezTo>
                    <a:lnTo>
                      <a:pt x="485" y="1244"/>
                    </a:lnTo>
                    <a:lnTo>
                      <a:pt x="368" y="1244"/>
                    </a:lnTo>
                    <a:cubicBezTo>
                      <a:pt x="377" y="1277"/>
                      <a:pt x="388" y="1309"/>
                      <a:pt x="401" y="1340"/>
                    </a:cubicBezTo>
                    <a:close/>
                    <a:moveTo>
                      <a:pt x="673" y="1261"/>
                    </a:moveTo>
                    <a:lnTo>
                      <a:pt x="719" y="1261"/>
                    </a:lnTo>
                    <a:cubicBezTo>
                      <a:pt x="716" y="1255"/>
                      <a:pt x="712" y="1250"/>
                      <a:pt x="709" y="1244"/>
                    </a:cubicBezTo>
                    <a:lnTo>
                      <a:pt x="665" y="1244"/>
                    </a:lnTo>
                    <a:cubicBezTo>
                      <a:pt x="667" y="1249"/>
                      <a:pt x="670" y="1255"/>
                      <a:pt x="673" y="1261"/>
                    </a:cubicBezTo>
                    <a:close/>
                    <a:moveTo>
                      <a:pt x="778" y="1261"/>
                    </a:moveTo>
                    <a:lnTo>
                      <a:pt x="796" y="1261"/>
                    </a:lnTo>
                    <a:cubicBezTo>
                      <a:pt x="796" y="1263"/>
                      <a:pt x="797" y="1265"/>
                      <a:pt x="798" y="1266"/>
                    </a:cubicBezTo>
                    <a:lnTo>
                      <a:pt x="796" y="1261"/>
                    </a:lnTo>
                    <a:lnTo>
                      <a:pt x="851" y="1261"/>
                    </a:lnTo>
                    <a:cubicBezTo>
                      <a:pt x="847" y="1257"/>
                      <a:pt x="845" y="1251"/>
                      <a:pt x="845" y="1244"/>
                    </a:cubicBezTo>
                    <a:cubicBezTo>
                      <a:pt x="845" y="1244"/>
                      <a:pt x="845" y="1244"/>
                      <a:pt x="845" y="1244"/>
                    </a:cubicBezTo>
                    <a:lnTo>
                      <a:pt x="790" y="1244"/>
                    </a:lnTo>
                    <a:lnTo>
                      <a:pt x="789" y="1241"/>
                    </a:lnTo>
                    <a:lnTo>
                      <a:pt x="790" y="1244"/>
                    </a:lnTo>
                    <a:lnTo>
                      <a:pt x="767" y="1244"/>
                    </a:lnTo>
                    <a:cubicBezTo>
                      <a:pt x="771" y="1249"/>
                      <a:pt x="775" y="1255"/>
                      <a:pt x="779" y="1261"/>
                    </a:cubicBezTo>
                    <a:lnTo>
                      <a:pt x="778" y="1261"/>
                    </a:lnTo>
                    <a:close/>
                    <a:moveTo>
                      <a:pt x="661" y="1235"/>
                    </a:moveTo>
                    <a:lnTo>
                      <a:pt x="705" y="1235"/>
                    </a:lnTo>
                    <a:cubicBezTo>
                      <a:pt x="695" y="1216"/>
                      <a:pt x="687" y="1197"/>
                      <a:pt x="681" y="1178"/>
                    </a:cubicBezTo>
                    <a:lnTo>
                      <a:pt x="640" y="1178"/>
                    </a:lnTo>
                    <a:cubicBezTo>
                      <a:pt x="646" y="1197"/>
                      <a:pt x="653" y="1216"/>
                      <a:pt x="661" y="1235"/>
                    </a:cubicBezTo>
                    <a:close/>
                    <a:moveTo>
                      <a:pt x="878" y="1268"/>
                    </a:moveTo>
                    <a:lnTo>
                      <a:pt x="878" y="1268"/>
                    </a:lnTo>
                    <a:cubicBezTo>
                      <a:pt x="878" y="1268"/>
                      <a:pt x="878" y="1268"/>
                      <a:pt x="878" y="1268"/>
                    </a:cubicBezTo>
                    <a:close/>
                    <a:moveTo>
                      <a:pt x="351" y="1169"/>
                    </a:moveTo>
                    <a:lnTo>
                      <a:pt x="473" y="1169"/>
                    </a:lnTo>
                    <a:cubicBezTo>
                      <a:pt x="473" y="1170"/>
                      <a:pt x="473" y="1171"/>
                      <a:pt x="474" y="1172"/>
                    </a:cubicBezTo>
                    <a:lnTo>
                      <a:pt x="473" y="1169"/>
                    </a:lnTo>
                    <a:lnTo>
                      <a:pt x="551" y="1169"/>
                    </a:lnTo>
                    <a:lnTo>
                      <a:pt x="551" y="1169"/>
                    </a:lnTo>
                    <a:lnTo>
                      <a:pt x="585" y="1169"/>
                    </a:lnTo>
                    <a:cubicBezTo>
                      <a:pt x="585" y="1166"/>
                      <a:pt x="584" y="1163"/>
                      <a:pt x="583" y="1160"/>
                    </a:cubicBezTo>
                    <a:cubicBezTo>
                      <a:pt x="578" y="1135"/>
                      <a:pt x="574" y="1110"/>
                      <a:pt x="571" y="1085"/>
                    </a:cubicBezTo>
                    <a:lnTo>
                      <a:pt x="341" y="1085"/>
                    </a:lnTo>
                    <a:cubicBezTo>
                      <a:pt x="343" y="1114"/>
                      <a:pt x="346" y="1142"/>
                      <a:pt x="351" y="1169"/>
                    </a:cubicBezTo>
                    <a:close/>
                    <a:moveTo>
                      <a:pt x="638" y="1169"/>
                    </a:moveTo>
                    <a:lnTo>
                      <a:pt x="678" y="1169"/>
                    </a:lnTo>
                    <a:cubicBezTo>
                      <a:pt x="669" y="1142"/>
                      <a:pt x="663" y="1114"/>
                      <a:pt x="660" y="1085"/>
                    </a:cubicBezTo>
                    <a:lnTo>
                      <a:pt x="622" y="1085"/>
                    </a:lnTo>
                    <a:cubicBezTo>
                      <a:pt x="624" y="1107"/>
                      <a:pt x="628" y="1128"/>
                      <a:pt x="633" y="1149"/>
                    </a:cubicBezTo>
                    <a:cubicBezTo>
                      <a:pt x="634" y="1155"/>
                      <a:pt x="636" y="1162"/>
                      <a:pt x="638" y="1169"/>
                    </a:cubicBezTo>
                    <a:close/>
                    <a:moveTo>
                      <a:pt x="732" y="1169"/>
                    </a:moveTo>
                    <a:lnTo>
                      <a:pt x="772" y="1169"/>
                    </a:lnTo>
                    <a:lnTo>
                      <a:pt x="772" y="1169"/>
                    </a:lnTo>
                    <a:lnTo>
                      <a:pt x="813" y="1169"/>
                    </a:lnTo>
                    <a:cubicBezTo>
                      <a:pt x="801" y="1144"/>
                      <a:pt x="793" y="1118"/>
                      <a:pt x="788" y="1090"/>
                    </a:cubicBezTo>
                    <a:lnTo>
                      <a:pt x="813" y="1085"/>
                    </a:lnTo>
                    <a:lnTo>
                      <a:pt x="711" y="1085"/>
                    </a:lnTo>
                    <a:cubicBezTo>
                      <a:pt x="715" y="1114"/>
                      <a:pt x="722" y="1142"/>
                      <a:pt x="732" y="1169"/>
                    </a:cubicBezTo>
                    <a:close/>
                    <a:moveTo>
                      <a:pt x="869" y="1169"/>
                    </a:moveTo>
                    <a:lnTo>
                      <a:pt x="1032" y="1169"/>
                    </a:lnTo>
                    <a:cubicBezTo>
                      <a:pt x="1026" y="1164"/>
                      <a:pt x="1020" y="1160"/>
                      <a:pt x="1015" y="1154"/>
                    </a:cubicBezTo>
                    <a:cubicBezTo>
                      <a:pt x="987" y="1126"/>
                      <a:pt x="968" y="1088"/>
                      <a:pt x="965" y="1045"/>
                    </a:cubicBezTo>
                    <a:lnTo>
                      <a:pt x="939" y="1019"/>
                    </a:lnTo>
                    <a:lnTo>
                      <a:pt x="708" y="1019"/>
                    </a:lnTo>
                    <a:cubicBezTo>
                      <a:pt x="707" y="1039"/>
                      <a:pt x="708" y="1058"/>
                      <a:pt x="710" y="1077"/>
                    </a:cubicBezTo>
                    <a:lnTo>
                      <a:pt x="846" y="1077"/>
                    </a:lnTo>
                    <a:cubicBezTo>
                      <a:pt x="850" y="1067"/>
                      <a:pt x="859" y="1061"/>
                      <a:pt x="870" y="1061"/>
                    </a:cubicBezTo>
                    <a:cubicBezTo>
                      <a:pt x="884" y="1061"/>
                      <a:pt x="895" y="1072"/>
                      <a:pt x="895" y="1086"/>
                    </a:cubicBezTo>
                    <a:cubicBezTo>
                      <a:pt x="895" y="1100"/>
                      <a:pt x="884" y="1111"/>
                      <a:pt x="870" y="1111"/>
                    </a:cubicBezTo>
                    <a:lnTo>
                      <a:pt x="870" y="1111"/>
                    </a:lnTo>
                    <a:cubicBezTo>
                      <a:pt x="856" y="1111"/>
                      <a:pt x="845" y="1100"/>
                      <a:pt x="845" y="1086"/>
                    </a:cubicBezTo>
                    <a:lnTo>
                      <a:pt x="845" y="1085"/>
                    </a:lnTo>
                    <a:lnTo>
                      <a:pt x="839" y="1085"/>
                    </a:lnTo>
                    <a:cubicBezTo>
                      <a:pt x="845" y="1115"/>
                      <a:pt x="855" y="1143"/>
                      <a:pt x="869" y="1169"/>
                    </a:cubicBezTo>
                    <a:close/>
                    <a:moveTo>
                      <a:pt x="773" y="1175"/>
                    </a:moveTo>
                    <a:cubicBezTo>
                      <a:pt x="773" y="1174"/>
                      <a:pt x="773" y="1172"/>
                      <a:pt x="772" y="1171"/>
                    </a:cubicBezTo>
                    <a:cubicBezTo>
                      <a:pt x="773" y="1172"/>
                      <a:pt x="773" y="1174"/>
                      <a:pt x="773" y="1175"/>
                    </a:cubicBezTo>
                    <a:close/>
                    <a:moveTo>
                      <a:pt x="989" y="1415"/>
                    </a:moveTo>
                    <a:lnTo>
                      <a:pt x="940" y="1415"/>
                    </a:lnTo>
                    <a:cubicBezTo>
                      <a:pt x="979" y="1435"/>
                      <a:pt x="1020" y="1449"/>
                      <a:pt x="1063" y="1456"/>
                    </a:cubicBezTo>
                    <a:cubicBezTo>
                      <a:pt x="1079" y="1458"/>
                      <a:pt x="1095" y="1460"/>
                      <a:pt x="1112" y="1461"/>
                    </a:cubicBezTo>
                    <a:lnTo>
                      <a:pt x="1068" y="1415"/>
                    </a:lnTo>
                    <a:lnTo>
                      <a:pt x="989" y="1415"/>
                    </a:lnTo>
                    <a:lnTo>
                      <a:pt x="989" y="1415"/>
                    </a:lnTo>
                    <a:close/>
                    <a:moveTo>
                      <a:pt x="718" y="1415"/>
                    </a:moveTo>
                    <a:lnTo>
                      <a:pt x="623" y="1415"/>
                    </a:lnTo>
                    <a:lnTo>
                      <a:pt x="623" y="1415"/>
                    </a:lnTo>
                    <a:lnTo>
                      <a:pt x="559" y="1415"/>
                    </a:lnTo>
                    <a:lnTo>
                      <a:pt x="545" y="1430"/>
                    </a:lnTo>
                    <a:lnTo>
                      <a:pt x="545" y="1430"/>
                    </a:lnTo>
                    <a:lnTo>
                      <a:pt x="486" y="1493"/>
                    </a:lnTo>
                    <a:cubicBezTo>
                      <a:pt x="503" y="1518"/>
                      <a:pt x="522" y="1541"/>
                      <a:pt x="541" y="1563"/>
                    </a:cubicBezTo>
                    <a:lnTo>
                      <a:pt x="601" y="1485"/>
                    </a:lnTo>
                    <a:lnTo>
                      <a:pt x="795" y="1485"/>
                    </a:lnTo>
                    <a:cubicBezTo>
                      <a:pt x="767" y="1465"/>
                      <a:pt x="741" y="1441"/>
                      <a:pt x="718" y="1415"/>
                    </a:cubicBezTo>
                    <a:close/>
                    <a:moveTo>
                      <a:pt x="863" y="954"/>
                    </a:moveTo>
                    <a:lnTo>
                      <a:pt x="863" y="954"/>
                    </a:lnTo>
                    <a:lnTo>
                      <a:pt x="863" y="954"/>
                    </a:lnTo>
                    <a:lnTo>
                      <a:pt x="853" y="954"/>
                    </a:lnTo>
                    <a:lnTo>
                      <a:pt x="845" y="954"/>
                    </a:lnTo>
                    <a:lnTo>
                      <a:pt x="845" y="953"/>
                    </a:lnTo>
                    <a:lnTo>
                      <a:pt x="845" y="953"/>
                    </a:lnTo>
                    <a:lnTo>
                      <a:pt x="845" y="953"/>
                    </a:lnTo>
                    <a:lnTo>
                      <a:pt x="845" y="953"/>
                    </a:lnTo>
                    <a:lnTo>
                      <a:pt x="845" y="953"/>
                    </a:lnTo>
                    <a:lnTo>
                      <a:pt x="845" y="953"/>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2"/>
                    </a:lnTo>
                    <a:lnTo>
                      <a:pt x="845" y="951"/>
                    </a:lnTo>
                    <a:lnTo>
                      <a:pt x="845" y="951"/>
                    </a:lnTo>
                    <a:cubicBezTo>
                      <a:pt x="845" y="949"/>
                      <a:pt x="846" y="947"/>
                      <a:pt x="846" y="945"/>
                    </a:cubicBezTo>
                    <a:lnTo>
                      <a:pt x="846" y="945"/>
                    </a:lnTo>
                    <a:lnTo>
                      <a:pt x="865" y="945"/>
                    </a:lnTo>
                    <a:lnTo>
                      <a:pt x="865" y="945"/>
                    </a:lnTo>
                    <a:lnTo>
                      <a:pt x="865" y="945"/>
                    </a:lnTo>
                    <a:cubicBezTo>
                      <a:pt x="864" y="947"/>
                      <a:pt x="864" y="948"/>
                      <a:pt x="863" y="950"/>
                    </a:cubicBezTo>
                    <a:lnTo>
                      <a:pt x="863" y="950"/>
                    </a:lnTo>
                    <a:lnTo>
                      <a:pt x="863" y="951"/>
                    </a:lnTo>
                    <a:lnTo>
                      <a:pt x="863" y="951"/>
                    </a:lnTo>
                    <a:lnTo>
                      <a:pt x="863" y="951"/>
                    </a:lnTo>
                    <a:lnTo>
                      <a:pt x="863" y="951"/>
                    </a:lnTo>
                    <a:lnTo>
                      <a:pt x="863" y="951"/>
                    </a:lnTo>
                    <a:lnTo>
                      <a:pt x="863" y="951"/>
                    </a:lnTo>
                    <a:lnTo>
                      <a:pt x="863" y="951"/>
                    </a:lnTo>
                    <a:lnTo>
                      <a:pt x="863" y="951"/>
                    </a:lnTo>
                    <a:lnTo>
                      <a:pt x="863" y="952"/>
                    </a:lnTo>
                    <a:lnTo>
                      <a:pt x="863" y="952"/>
                    </a:lnTo>
                    <a:lnTo>
                      <a:pt x="863" y="952"/>
                    </a:lnTo>
                    <a:lnTo>
                      <a:pt x="863" y="952"/>
                    </a:lnTo>
                    <a:lnTo>
                      <a:pt x="863" y="952"/>
                    </a:lnTo>
                    <a:lnTo>
                      <a:pt x="863" y="952"/>
                    </a:lnTo>
                    <a:lnTo>
                      <a:pt x="863" y="952"/>
                    </a:lnTo>
                    <a:lnTo>
                      <a:pt x="863" y="952"/>
                    </a:lnTo>
                    <a:lnTo>
                      <a:pt x="863" y="953"/>
                    </a:lnTo>
                    <a:lnTo>
                      <a:pt x="863" y="953"/>
                    </a:lnTo>
                    <a:lnTo>
                      <a:pt x="863" y="953"/>
                    </a:lnTo>
                    <a:lnTo>
                      <a:pt x="863" y="953"/>
                    </a:lnTo>
                    <a:lnTo>
                      <a:pt x="863" y="953"/>
                    </a:lnTo>
                    <a:lnTo>
                      <a:pt x="863" y="953"/>
                    </a:lnTo>
                    <a:lnTo>
                      <a:pt x="863" y="953"/>
                    </a:lnTo>
                    <a:lnTo>
                      <a:pt x="863" y="953"/>
                    </a:lnTo>
                    <a:lnTo>
                      <a:pt x="863" y="953"/>
                    </a:lnTo>
                    <a:lnTo>
                      <a:pt x="863" y="953"/>
                    </a:lnTo>
                    <a:lnTo>
                      <a:pt x="863" y="954"/>
                    </a:lnTo>
                    <a:lnTo>
                      <a:pt x="863" y="954"/>
                    </a:lnTo>
                    <a:close/>
                    <a:moveTo>
                      <a:pt x="860" y="966"/>
                    </a:moveTo>
                    <a:lnTo>
                      <a:pt x="846" y="963"/>
                    </a:lnTo>
                    <a:cubicBezTo>
                      <a:pt x="845" y="961"/>
                      <a:pt x="845" y="957"/>
                      <a:pt x="845" y="954"/>
                    </a:cubicBezTo>
                    <a:lnTo>
                      <a:pt x="845" y="954"/>
                    </a:lnTo>
                    <a:lnTo>
                      <a:pt x="797" y="954"/>
                    </a:lnTo>
                    <a:lnTo>
                      <a:pt x="797" y="954"/>
                    </a:lnTo>
                    <a:lnTo>
                      <a:pt x="715" y="954"/>
                    </a:lnTo>
                    <a:moveTo>
                      <a:pt x="663" y="954"/>
                    </a:moveTo>
                    <a:lnTo>
                      <a:pt x="480" y="954"/>
                    </a:lnTo>
                    <a:lnTo>
                      <a:pt x="360" y="852"/>
                    </a:lnTo>
                    <a:moveTo>
                      <a:pt x="339" y="742"/>
                    </a:moveTo>
                    <a:lnTo>
                      <a:pt x="338" y="741"/>
                    </a:lnTo>
                    <a:cubicBezTo>
                      <a:pt x="338" y="739"/>
                      <a:pt x="339" y="737"/>
                      <a:pt x="339" y="736"/>
                    </a:cubicBezTo>
                    <a:cubicBezTo>
                      <a:pt x="339" y="737"/>
                      <a:pt x="338" y="739"/>
                      <a:pt x="338" y="741"/>
                    </a:cubicBezTo>
                    <a:lnTo>
                      <a:pt x="338" y="741"/>
                    </a:lnTo>
                    <a:lnTo>
                      <a:pt x="203" y="602"/>
                    </a:lnTo>
                    <a:moveTo>
                      <a:pt x="208" y="593"/>
                    </a:moveTo>
                    <a:lnTo>
                      <a:pt x="340" y="731"/>
                    </a:lnTo>
                    <a:lnTo>
                      <a:pt x="340" y="731"/>
                    </a:lnTo>
                    <a:lnTo>
                      <a:pt x="343" y="733"/>
                    </a:lnTo>
                    <a:moveTo>
                      <a:pt x="362" y="843"/>
                    </a:moveTo>
                    <a:lnTo>
                      <a:pt x="483" y="945"/>
                    </a:lnTo>
                    <a:lnTo>
                      <a:pt x="665" y="945"/>
                    </a:lnTo>
                    <a:moveTo>
                      <a:pt x="717" y="945"/>
                    </a:moveTo>
                    <a:lnTo>
                      <a:pt x="776" y="945"/>
                    </a:lnTo>
                    <a:cubicBezTo>
                      <a:pt x="775" y="946"/>
                      <a:pt x="775" y="948"/>
                      <a:pt x="775" y="949"/>
                    </a:cubicBezTo>
                    <a:lnTo>
                      <a:pt x="792" y="952"/>
                    </a:lnTo>
                    <a:lnTo>
                      <a:pt x="775" y="949"/>
                    </a:lnTo>
                    <a:cubicBezTo>
                      <a:pt x="775" y="948"/>
                      <a:pt x="775" y="946"/>
                      <a:pt x="776" y="945"/>
                    </a:cubicBezTo>
                    <a:lnTo>
                      <a:pt x="846" y="945"/>
                    </a:lnTo>
                    <a:cubicBezTo>
                      <a:pt x="846" y="947"/>
                      <a:pt x="845" y="949"/>
                      <a:pt x="845" y="951"/>
                    </a:cubicBezTo>
                    <a:moveTo>
                      <a:pt x="863" y="954"/>
                    </a:moveTo>
                    <a:lnTo>
                      <a:pt x="862" y="955"/>
                    </a:lnTo>
                    <a:lnTo>
                      <a:pt x="863" y="954"/>
                    </a:lnTo>
                    <a:moveTo>
                      <a:pt x="865" y="945"/>
                    </a:moveTo>
                    <a:lnTo>
                      <a:pt x="865" y="945"/>
                    </a:lnTo>
                    <a:lnTo>
                      <a:pt x="865" y="945"/>
                    </a:lnTo>
                    <a:lnTo>
                      <a:pt x="865" y="945"/>
                    </a:lnTo>
                    <a:lnTo>
                      <a:pt x="865" y="944"/>
                    </a:lnTo>
                    <a:lnTo>
                      <a:pt x="865" y="944"/>
                    </a:lnTo>
                    <a:lnTo>
                      <a:pt x="865" y="944"/>
                    </a:lnTo>
                    <a:lnTo>
                      <a:pt x="865" y="944"/>
                    </a:lnTo>
                    <a:lnTo>
                      <a:pt x="865" y="944"/>
                    </a:lnTo>
                    <a:lnTo>
                      <a:pt x="865" y="943"/>
                    </a:lnTo>
                    <a:lnTo>
                      <a:pt x="865" y="943"/>
                    </a:lnTo>
                    <a:lnTo>
                      <a:pt x="865" y="943"/>
                    </a:lnTo>
                    <a:lnTo>
                      <a:pt x="865" y="943"/>
                    </a:lnTo>
                    <a:lnTo>
                      <a:pt x="865" y="943"/>
                    </a:lnTo>
                    <a:lnTo>
                      <a:pt x="865" y="943"/>
                    </a:lnTo>
                    <a:lnTo>
                      <a:pt x="865" y="943"/>
                    </a:lnTo>
                    <a:lnTo>
                      <a:pt x="865" y="942"/>
                    </a:lnTo>
                    <a:lnTo>
                      <a:pt x="865" y="942"/>
                    </a:lnTo>
                    <a:lnTo>
                      <a:pt x="865" y="942"/>
                    </a:lnTo>
                    <a:lnTo>
                      <a:pt x="865" y="942"/>
                    </a:lnTo>
                    <a:lnTo>
                      <a:pt x="865" y="942"/>
                    </a:lnTo>
                    <a:lnTo>
                      <a:pt x="865" y="942"/>
                    </a:lnTo>
                    <a:lnTo>
                      <a:pt x="865" y="942"/>
                    </a:lnTo>
                    <a:lnTo>
                      <a:pt x="866" y="941"/>
                    </a:lnTo>
                    <a:lnTo>
                      <a:pt x="866" y="941"/>
                    </a:lnTo>
                    <a:lnTo>
                      <a:pt x="866" y="941"/>
                    </a:lnTo>
                    <a:lnTo>
                      <a:pt x="866" y="941"/>
                    </a:lnTo>
                    <a:lnTo>
                      <a:pt x="866" y="941"/>
                    </a:lnTo>
                    <a:lnTo>
                      <a:pt x="866" y="941"/>
                    </a:lnTo>
                    <a:lnTo>
                      <a:pt x="866" y="941"/>
                    </a:lnTo>
                    <a:lnTo>
                      <a:pt x="866" y="941"/>
                    </a:lnTo>
                    <a:lnTo>
                      <a:pt x="866" y="940"/>
                    </a:lnTo>
                    <a:lnTo>
                      <a:pt x="866" y="940"/>
                    </a:lnTo>
                    <a:lnTo>
                      <a:pt x="866" y="940"/>
                    </a:lnTo>
                    <a:lnTo>
                      <a:pt x="866" y="940"/>
                    </a:lnTo>
                    <a:lnTo>
                      <a:pt x="866" y="940"/>
                    </a:lnTo>
                    <a:lnTo>
                      <a:pt x="866" y="940"/>
                    </a:lnTo>
                    <a:lnTo>
                      <a:pt x="866" y="940"/>
                    </a:lnTo>
                    <a:lnTo>
                      <a:pt x="866" y="940"/>
                    </a:lnTo>
                    <a:lnTo>
                      <a:pt x="866" y="939"/>
                    </a:lnTo>
                    <a:lnTo>
                      <a:pt x="866" y="939"/>
                    </a:lnTo>
                    <a:lnTo>
                      <a:pt x="866" y="939"/>
                    </a:lnTo>
                    <a:lnTo>
                      <a:pt x="866" y="939"/>
                    </a:lnTo>
                    <a:lnTo>
                      <a:pt x="866" y="939"/>
                    </a:lnTo>
                    <a:lnTo>
                      <a:pt x="866" y="939"/>
                    </a:lnTo>
                    <a:lnTo>
                      <a:pt x="867" y="938"/>
                    </a:lnTo>
                    <a:lnTo>
                      <a:pt x="867" y="938"/>
                    </a:lnTo>
                    <a:lnTo>
                      <a:pt x="867" y="937"/>
                    </a:lnTo>
                    <a:lnTo>
                      <a:pt x="867" y="937"/>
                    </a:lnTo>
                    <a:lnTo>
                      <a:pt x="867" y="937"/>
                    </a:lnTo>
                    <a:lnTo>
                      <a:pt x="867" y="937"/>
                    </a:lnTo>
                    <a:lnTo>
                      <a:pt x="867" y="937"/>
                    </a:lnTo>
                    <a:lnTo>
                      <a:pt x="867" y="936"/>
                    </a:lnTo>
                    <a:lnTo>
                      <a:pt x="867" y="936"/>
                    </a:lnTo>
                    <a:lnTo>
                      <a:pt x="867" y="936"/>
                    </a:lnTo>
                    <a:lnTo>
                      <a:pt x="867" y="935"/>
                    </a:lnTo>
                    <a:lnTo>
                      <a:pt x="867" y="935"/>
                    </a:lnTo>
                    <a:lnTo>
                      <a:pt x="867" y="935"/>
                    </a:lnTo>
                    <a:lnTo>
                      <a:pt x="867" y="935"/>
                    </a:lnTo>
                    <a:lnTo>
                      <a:pt x="867" y="935"/>
                    </a:lnTo>
                    <a:lnTo>
                      <a:pt x="867" y="935"/>
                    </a:lnTo>
                    <a:lnTo>
                      <a:pt x="867" y="934"/>
                    </a:lnTo>
                    <a:lnTo>
                      <a:pt x="867" y="934"/>
                    </a:lnTo>
                    <a:lnTo>
                      <a:pt x="868" y="934"/>
                    </a:lnTo>
                    <a:lnTo>
                      <a:pt x="868" y="934"/>
                    </a:lnTo>
                    <a:lnTo>
                      <a:pt x="868" y="933"/>
                    </a:lnTo>
                    <a:lnTo>
                      <a:pt x="868" y="933"/>
                    </a:lnTo>
                    <a:lnTo>
                      <a:pt x="868" y="933"/>
                    </a:lnTo>
                    <a:lnTo>
                      <a:pt x="868" y="933"/>
                    </a:lnTo>
                    <a:lnTo>
                      <a:pt x="868" y="933"/>
                    </a:lnTo>
                    <a:lnTo>
                      <a:pt x="868" y="933"/>
                    </a:lnTo>
                    <a:lnTo>
                      <a:pt x="868" y="933"/>
                    </a:lnTo>
                    <a:lnTo>
                      <a:pt x="868" y="933"/>
                    </a:lnTo>
                    <a:lnTo>
                      <a:pt x="868" y="932"/>
                    </a:lnTo>
                    <a:lnTo>
                      <a:pt x="868" y="932"/>
                    </a:lnTo>
                    <a:lnTo>
                      <a:pt x="868" y="932"/>
                    </a:lnTo>
                    <a:lnTo>
                      <a:pt x="868" y="932"/>
                    </a:lnTo>
                    <a:lnTo>
                      <a:pt x="868" y="932"/>
                    </a:lnTo>
                    <a:lnTo>
                      <a:pt x="868" y="932"/>
                    </a:lnTo>
                    <a:lnTo>
                      <a:pt x="868" y="932"/>
                    </a:lnTo>
                    <a:lnTo>
                      <a:pt x="868" y="931"/>
                    </a:lnTo>
                    <a:lnTo>
                      <a:pt x="868" y="931"/>
                    </a:lnTo>
                    <a:lnTo>
                      <a:pt x="868" y="931"/>
                    </a:lnTo>
                    <a:lnTo>
                      <a:pt x="868" y="931"/>
                    </a:lnTo>
                    <a:lnTo>
                      <a:pt x="868" y="931"/>
                    </a:lnTo>
                    <a:lnTo>
                      <a:pt x="868" y="931"/>
                    </a:lnTo>
                    <a:lnTo>
                      <a:pt x="868" y="930"/>
                    </a:lnTo>
                    <a:lnTo>
                      <a:pt x="869" y="930"/>
                    </a:lnTo>
                    <a:lnTo>
                      <a:pt x="869" y="930"/>
                    </a:lnTo>
                    <a:lnTo>
                      <a:pt x="869" y="930"/>
                    </a:lnTo>
                    <a:lnTo>
                      <a:pt x="869" y="930"/>
                    </a:lnTo>
                    <a:lnTo>
                      <a:pt x="869" y="929"/>
                    </a:lnTo>
                    <a:lnTo>
                      <a:pt x="869" y="929"/>
                    </a:lnTo>
                    <a:lnTo>
                      <a:pt x="869" y="929"/>
                    </a:lnTo>
                    <a:lnTo>
                      <a:pt x="869" y="929"/>
                    </a:lnTo>
                    <a:lnTo>
                      <a:pt x="869" y="929"/>
                    </a:lnTo>
                    <a:lnTo>
                      <a:pt x="869" y="929"/>
                    </a:lnTo>
                    <a:cubicBezTo>
                      <a:pt x="859" y="929"/>
                      <a:pt x="850" y="936"/>
                      <a:pt x="846" y="945"/>
                    </a:cubicBezTo>
                    <a:moveTo>
                      <a:pt x="861" y="959"/>
                    </a:moveTo>
                    <a:cubicBezTo>
                      <a:pt x="861" y="961"/>
                      <a:pt x="860" y="964"/>
                      <a:pt x="860" y="966"/>
                    </a:cubicBezTo>
                    <a:moveTo>
                      <a:pt x="856" y="808"/>
                    </a:moveTo>
                    <a:lnTo>
                      <a:pt x="845" y="808"/>
                    </a:lnTo>
                    <a:lnTo>
                      <a:pt x="845" y="808"/>
                    </a:lnTo>
                    <a:lnTo>
                      <a:pt x="845" y="808"/>
                    </a:lnTo>
                    <a:lnTo>
                      <a:pt x="845" y="808"/>
                    </a:lnTo>
                    <a:lnTo>
                      <a:pt x="822" y="808"/>
                    </a:lnTo>
                    <a:cubicBezTo>
                      <a:pt x="824" y="806"/>
                      <a:pt x="825" y="803"/>
                      <a:pt x="827" y="800"/>
                    </a:cubicBezTo>
                    <a:lnTo>
                      <a:pt x="846" y="800"/>
                    </a:lnTo>
                    <a:lnTo>
                      <a:pt x="846" y="800"/>
                    </a:lnTo>
                    <a:lnTo>
                      <a:pt x="846" y="800"/>
                    </a:lnTo>
                    <a:lnTo>
                      <a:pt x="846" y="800"/>
                    </a:lnTo>
                    <a:cubicBezTo>
                      <a:pt x="850" y="790"/>
                      <a:pt x="859" y="784"/>
                      <a:pt x="870" y="784"/>
                    </a:cubicBezTo>
                    <a:cubicBezTo>
                      <a:pt x="872" y="784"/>
                      <a:pt x="874" y="784"/>
                      <a:pt x="876" y="784"/>
                    </a:cubicBezTo>
                    <a:cubicBezTo>
                      <a:pt x="885" y="774"/>
                      <a:pt x="895" y="765"/>
                      <a:pt x="906" y="756"/>
                    </a:cubicBezTo>
                    <a:lnTo>
                      <a:pt x="852" y="756"/>
                    </a:lnTo>
                    <a:lnTo>
                      <a:pt x="852" y="756"/>
                    </a:lnTo>
                    <a:lnTo>
                      <a:pt x="852" y="756"/>
                    </a:lnTo>
                    <a:lnTo>
                      <a:pt x="814" y="756"/>
                    </a:lnTo>
                    <a:cubicBezTo>
                      <a:pt x="801" y="770"/>
                      <a:pt x="790" y="785"/>
                      <a:pt x="779" y="800"/>
                    </a:cubicBezTo>
                    <a:lnTo>
                      <a:pt x="827" y="800"/>
                    </a:lnTo>
                    <a:cubicBezTo>
                      <a:pt x="825" y="803"/>
                      <a:pt x="824" y="806"/>
                      <a:pt x="822" y="808"/>
                    </a:cubicBezTo>
                    <a:lnTo>
                      <a:pt x="822" y="808"/>
                    </a:lnTo>
                    <a:lnTo>
                      <a:pt x="773" y="808"/>
                    </a:lnTo>
                    <a:cubicBezTo>
                      <a:pt x="759" y="831"/>
                      <a:pt x="746" y="855"/>
                      <a:pt x="737" y="879"/>
                    </a:cubicBezTo>
                    <a:lnTo>
                      <a:pt x="794" y="879"/>
                    </a:lnTo>
                    <a:lnTo>
                      <a:pt x="793" y="880"/>
                    </a:lnTo>
                    <a:lnTo>
                      <a:pt x="794" y="879"/>
                    </a:lnTo>
                    <a:lnTo>
                      <a:pt x="813" y="879"/>
                    </a:lnTo>
                    <a:cubicBezTo>
                      <a:pt x="823" y="858"/>
                      <a:pt x="834" y="838"/>
                      <a:pt x="847" y="820"/>
                    </a:cubicBezTo>
                    <a:cubicBezTo>
                      <a:pt x="846" y="817"/>
                      <a:pt x="845" y="813"/>
                      <a:pt x="845" y="809"/>
                    </a:cubicBezTo>
                    <a:cubicBezTo>
                      <a:pt x="845" y="809"/>
                      <a:pt x="845" y="809"/>
                      <a:pt x="845" y="808"/>
                    </a:cubicBezTo>
                    <a:lnTo>
                      <a:pt x="856" y="808"/>
                    </a:lnTo>
                    <a:close/>
                    <a:moveTo>
                      <a:pt x="749" y="756"/>
                    </a:moveTo>
                    <a:lnTo>
                      <a:pt x="700" y="756"/>
                    </a:lnTo>
                    <a:cubicBezTo>
                      <a:pt x="691" y="770"/>
                      <a:pt x="683" y="785"/>
                      <a:pt x="675" y="800"/>
                    </a:cubicBezTo>
                    <a:lnTo>
                      <a:pt x="719" y="800"/>
                    </a:lnTo>
                    <a:cubicBezTo>
                      <a:pt x="728" y="785"/>
                      <a:pt x="738" y="770"/>
                      <a:pt x="749" y="756"/>
                    </a:cubicBezTo>
                    <a:close/>
                    <a:moveTo>
                      <a:pt x="647" y="746"/>
                    </a:moveTo>
                    <a:lnTo>
                      <a:pt x="483" y="577"/>
                    </a:lnTo>
                    <a:cubicBezTo>
                      <a:pt x="466" y="601"/>
                      <a:pt x="450" y="625"/>
                      <a:pt x="436" y="651"/>
                    </a:cubicBezTo>
                    <a:lnTo>
                      <a:pt x="485" y="708"/>
                    </a:lnTo>
                    <a:lnTo>
                      <a:pt x="547" y="708"/>
                    </a:lnTo>
                    <a:lnTo>
                      <a:pt x="621" y="796"/>
                    </a:lnTo>
                    <a:cubicBezTo>
                      <a:pt x="629" y="779"/>
                      <a:pt x="638" y="762"/>
                      <a:pt x="647" y="746"/>
                    </a:cubicBezTo>
                    <a:close/>
                    <a:moveTo>
                      <a:pt x="488" y="569"/>
                    </a:moveTo>
                    <a:lnTo>
                      <a:pt x="652" y="738"/>
                    </a:lnTo>
                    <a:cubicBezTo>
                      <a:pt x="666" y="714"/>
                      <a:pt x="683" y="691"/>
                      <a:pt x="701" y="670"/>
                    </a:cubicBezTo>
                    <a:lnTo>
                      <a:pt x="540" y="503"/>
                    </a:lnTo>
                    <a:cubicBezTo>
                      <a:pt x="522" y="524"/>
                      <a:pt x="504" y="546"/>
                      <a:pt x="488" y="569"/>
                    </a:cubicBezTo>
                    <a:close/>
                    <a:moveTo>
                      <a:pt x="706" y="747"/>
                    </a:moveTo>
                    <a:lnTo>
                      <a:pt x="755" y="747"/>
                    </a:lnTo>
                    <a:cubicBezTo>
                      <a:pt x="774" y="723"/>
                      <a:pt x="795" y="701"/>
                      <a:pt x="820" y="681"/>
                    </a:cubicBezTo>
                    <a:lnTo>
                      <a:pt x="852" y="720"/>
                    </a:lnTo>
                    <a:cubicBezTo>
                      <a:pt x="842" y="728"/>
                      <a:pt x="832" y="738"/>
                      <a:pt x="823" y="747"/>
                    </a:cubicBezTo>
                    <a:lnTo>
                      <a:pt x="857" y="747"/>
                    </a:lnTo>
                    <a:lnTo>
                      <a:pt x="857" y="747"/>
                    </a:lnTo>
                    <a:lnTo>
                      <a:pt x="916" y="747"/>
                    </a:lnTo>
                    <a:cubicBezTo>
                      <a:pt x="919" y="745"/>
                      <a:pt x="921" y="743"/>
                      <a:pt x="924" y="741"/>
                    </a:cubicBezTo>
                    <a:cubicBezTo>
                      <a:pt x="980" y="699"/>
                      <a:pt x="1048" y="673"/>
                      <a:pt x="1122" y="670"/>
                    </a:cubicBezTo>
                    <a:cubicBezTo>
                      <a:pt x="1123" y="669"/>
                      <a:pt x="1123" y="669"/>
                      <a:pt x="1123" y="668"/>
                    </a:cubicBezTo>
                    <a:lnTo>
                      <a:pt x="1126" y="670"/>
                    </a:lnTo>
                    <a:lnTo>
                      <a:pt x="1126" y="670"/>
                    </a:lnTo>
                    <a:lnTo>
                      <a:pt x="1123" y="668"/>
                    </a:lnTo>
                    <a:cubicBezTo>
                      <a:pt x="1124" y="667"/>
                      <a:pt x="1124" y="666"/>
                      <a:pt x="1125" y="664"/>
                    </a:cubicBezTo>
                    <a:cubicBezTo>
                      <a:pt x="1124" y="666"/>
                      <a:pt x="1124" y="667"/>
                      <a:pt x="1123" y="668"/>
                    </a:cubicBezTo>
                    <a:lnTo>
                      <a:pt x="1123" y="668"/>
                    </a:lnTo>
                    <a:lnTo>
                      <a:pt x="1083" y="637"/>
                    </a:lnTo>
                    <a:lnTo>
                      <a:pt x="1020" y="637"/>
                    </a:lnTo>
                    <a:cubicBezTo>
                      <a:pt x="1018" y="638"/>
                      <a:pt x="1017" y="638"/>
                      <a:pt x="1015" y="639"/>
                    </a:cubicBezTo>
                    <a:lnTo>
                      <a:pt x="1014" y="637"/>
                    </a:lnTo>
                    <a:lnTo>
                      <a:pt x="805" y="637"/>
                    </a:lnTo>
                    <a:cubicBezTo>
                      <a:pt x="793" y="647"/>
                      <a:pt x="782" y="657"/>
                      <a:pt x="771" y="668"/>
                    </a:cubicBezTo>
                    <a:lnTo>
                      <a:pt x="846" y="668"/>
                    </a:lnTo>
                    <a:cubicBezTo>
                      <a:pt x="850" y="659"/>
                      <a:pt x="859" y="652"/>
                      <a:pt x="870" y="652"/>
                    </a:cubicBezTo>
                    <a:cubicBezTo>
                      <a:pt x="884" y="652"/>
                      <a:pt x="895" y="663"/>
                      <a:pt x="895" y="677"/>
                    </a:cubicBezTo>
                    <a:cubicBezTo>
                      <a:pt x="895" y="691"/>
                      <a:pt x="884" y="702"/>
                      <a:pt x="870" y="702"/>
                    </a:cubicBezTo>
                    <a:lnTo>
                      <a:pt x="870" y="702"/>
                    </a:lnTo>
                    <a:cubicBezTo>
                      <a:pt x="856" y="702"/>
                      <a:pt x="845" y="691"/>
                      <a:pt x="845" y="677"/>
                    </a:cubicBezTo>
                    <a:lnTo>
                      <a:pt x="845" y="677"/>
                    </a:lnTo>
                    <a:lnTo>
                      <a:pt x="845" y="677"/>
                    </a:lnTo>
                    <a:lnTo>
                      <a:pt x="845" y="677"/>
                    </a:lnTo>
                    <a:lnTo>
                      <a:pt x="763" y="677"/>
                    </a:lnTo>
                    <a:cubicBezTo>
                      <a:pt x="742" y="698"/>
                      <a:pt x="723" y="722"/>
                      <a:pt x="706" y="747"/>
                    </a:cubicBezTo>
                    <a:close/>
                    <a:moveTo>
                      <a:pt x="883" y="888"/>
                    </a:moveTo>
                    <a:lnTo>
                      <a:pt x="865" y="888"/>
                    </a:lnTo>
                    <a:cubicBezTo>
                      <a:pt x="857" y="904"/>
                      <a:pt x="850" y="922"/>
                      <a:pt x="845" y="940"/>
                    </a:cubicBezTo>
                    <a:lnTo>
                      <a:pt x="796" y="926"/>
                    </a:lnTo>
                    <a:cubicBezTo>
                      <a:pt x="800" y="913"/>
                      <a:pt x="804" y="900"/>
                      <a:pt x="810" y="888"/>
                    </a:cubicBezTo>
                    <a:lnTo>
                      <a:pt x="791" y="888"/>
                    </a:lnTo>
                    <a:lnTo>
                      <a:pt x="791" y="888"/>
                    </a:lnTo>
                    <a:lnTo>
                      <a:pt x="733" y="888"/>
                    </a:lnTo>
                    <a:cubicBezTo>
                      <a:pt x="726" y="906"/>
                      <a:pt x="721" y="925"/>
                      <a:pt x="717" y="945"/>
                    </a:cubicBezTo>
                    <a:cubicBezTo>
                      <a:pt x="716" y="948"/>
                      <a:pt x="715" y="951"/>
                      <a:pt x="715" y="954"/>
                    </a:cubicBezTo>
                    <a:cubicBezTo>
                      <a:pt x="713" y="961"/>
                      <a:pt x="712" y="968"/>
                      <a:pt x="711" y="976"/>
                    </a:cubicBezTo>
                    <a:cubicBezTo>
                      <a:pt x="710" y="987"/>
                      <a:pt x="708" y="999"/>
                      <a:pt x="708" y="1011"/>
                    </a:cubicBezTo>
                    <a:lnTo>
                      <a:pt x="942" y="1011"/>
                    </a:lnTo>
                    <a:lnTo>
                      <a:pt x="965" y="1033"/>
                    </a:lnTo>
                    <a:lnTo>
                      <a:pt x="965" y="1033"/>
                    </a:lnTo>
                    <a:cubicBezTo>
                      <a:pt x="965" y="985"/>
                      <a:pt x="984" y="942"/>
                      <a:pt x="1015" y="911"/>
                    </a:cubicBezTo>
                    <a:cubicBezTo>
                      <a:pt x="1024" y="902"/>
                      <a:pt x="1034" y="894"/>
                      <a:pt x="1044" y="888"/>
                    </a:cubicBezTo>
                    <a:lnTo>
                      <a:pt x="883" y="888"/>
                    </a:lnTo>
                    <a:cubicBezTo>
                      <a:pt x="884" y="885"/>
                      <a:pt x="885" y="882"/>
                      <a:pt x="886" y="879"/>
                    </a:cubicBezTo>
                    <a:cubicBezTo>
                      <a:pt x="885" y="882"/>
                      <a:pt x="884" y="885"/>
                      <a:pt x="883" y="888"/>
                    </a:cubicBezTo>
                    <a:close/>
                    <a:moveTo>
                      <a:pt x="680" y="888"/>
                    </a:moveTo>
                    <a:lnTo>
                      <a:pt x="457" y="888"/>
                    </a:lnTo>
                    <a:lnTo>
                      <a:pt x="379" y="816"/>
                    </a:lnTo>
                    <a:lnTo>
                      <a:pt x="379" y="785"/>
                    </a:lnTo>
                    <a:cubicBezTo>
                      <a:pt x="372" y="804"/>
                      <a:pt x="367" y="823"/>
                      <a:pt x="362" y="843"/>
                    </a:cubicBezTo>
                    <a:cubicBezTo>
                      <a:pt x="361" y="846"/>
                      <a:pt x="361" y="849"/>
                      <a:pt x="360" y="852"/>
                    </a:cubicBezTo>
                    <a:cubicBezTo>
                      <a:pt x="351" y="889"/>
                      <a:pt x="345" y="927"/>
                      <a:pt x="342" y="966"/>
                    </a:cubicBezTo>
                    <a:lnTo>
                      <a:pt x="393" y="1011"/>
                    </a:lnTo>
                    <a:lnTo>
                      <a:pt x="569" y="1011"/>
                    </a:lnTo>
                    <a:cubicBezTo>
                      <a:pt x="570" y="1004"/>
                      <a:pt x="570" y="998"/>
                      <a:pt x="571" y="992"/>
                    </a:cubicBezTo>
                    <a:lnTo>
                      <a:pt x="621" y="995"/>
                    </a:lnTo>
                    <a:cubicBezTo>
                      <a:pt x="621" y="1000"/>
                      <a:pt x="620" y="1006"/>
                      <a:pt x="620" y="1011"/>
                    </a:cubicBezTo>
                    <a:lnTo>
                      <a:pt x="657" y="1011"/>
                    </a:lnTo>
                    <a:cubicBezTo>
                      <a:pt x="658" y="997"/>
                      <a:pt x="659" y="983"/>
                      <a:pt x="661" y="969"/>
                    </a:cubicBezTo>
                    <a:cubicBezTo>
                      <a:pt x="662" y="964"/>
                      <a:pt x="662" y="959"/>
                      <a:pt x="663" y="954"/>
                    </a:cubicBezTo>
                    <a:cubicBezTo>
                      <a:pt x="664" y="951"/>
                      <a:pt x="664" y="948"/>
                      <a:pt x="665" y="945"/>
                    </a:cubicBezTo>
                    <a:cubicBezTo>
                      <a:pt x="669" y="925"/>
                      <a:pt x="673" y="906"/>
                      <a:pt x="680" y="888"/>
                    </a:cubicBezTo>
                    <a:close/>
                    <a:moveTo>
                      <a:pt x="387" y="760"/>
                    </a:moveTo>
                    <a:lnTo>
                      <a:pt x="387" y="812"/>
                    </a:lnTo>
                    <a:lnTo>
                      <a:pt x="461" y="879"/>
                    </a:lnTo>
                    <a:lnTo>
                      <a:pt x="683" y="879"/>
                    </a:lnTo>
                    <a:cubicBezTo>
                      <a:pt x="691" y="855"/>
                      <a:pt x="702" y="831"/>
                      <a:pt x="714" y="808"/>
                    </a:cubicBezTo>
                    <a:lnTo>
                      <a:pt x="671" y="808"/>
                    </a:lnTo>
                    <a:cubicBezTo>
                      <a:pt x="667" y="816"/>
                      <a:pt x="663" y="824"/>
                      <a:pt x="660" y="833"/>
                    </a:cubicBezTo>
                    <a:lnTo>
                      <a:pt x="613" y="813"/>
                    </a:lnTo>
                    <a:cubicBezTo>
                      <a:pt x="614" y="810"/>
                      <a:pt x="616" y="807"/>
                      <a:pt x="617" y="805"/>
                    </a:cubicBezTo>
                    <a:lnTo>
                      <a:pt x="543" y="716"/>
                    </a:lnTo>
                    <a:lnTo>
                      <a:pt x="481" y="716"/>
                    </a:lnTo>
                    <a:lnTo>
                      <a:pt x="432" y="659"/>
                    </a:lnTo>
                    <a:cubicBezTo>
                      <a:pt x="415" y="692"/>
                      <a:pt x="400" y="725"/>
                      <a:pt x="387" y="760"/>
                    </a:cubicBezTo>
                    <a:close/>
                    <a:moveTo>
                      <a:pt x="1553" y="587"/>
                    </a:moveTo>
                    <a:cubicBezTo>
                      <a:pt x="1539" y="587"/>
                      <a:pt x="1528" y="575"/>
                      <a:pt x="1528" y="561"/>
                    </a:cubicBezTo>
                    <a:cubicBezTo>
                      <a:pt x="1528" y="547"/>
                      <a:pt x="1539" y="536"/>
                      <a:pt x="1553" y="536"/>
                    </a:cubicBezTo>
                    <a:cubicBezTo>
                      <a:pt x="1564" y="536"/>
                      <a:pt x="1573" y="543"/>
                      <a:pt x="1576" y="552"/>
                    </a:cubicBezTo>
                    <a:lnTo>
                      <a:pt x="1622" y="552"/>
                    </a:lnTo>
                    <a:lnTo>
                      <a:pt x="1630" y="543"/>
                    </a:lnTo>
                    <a:lnTo>
                      <a:pt x="1630" y="543"/>
                    </a:lnTo>
                    <a:lnTo>
                      <a:pt x="1699" y="467"/>
                    </a:lnTo>
                    <a:cubicBezTo>
                      <a:pt x="1683" y="451"/>
                      <a:pt x="1666" y="436"/>
                      <a:pt x="1648" y="421"/>
                    </a:cubicBezTo>
                    <a:lnTo>
                      <a:pt x="1584" y="482"/>
                    </a:lnTo>
                    <a:lnTo>
                      <a:pt x="1475" y="482"/>
                    </a:lnTo>
                    <a:lnTo>
                      <a:pt x="1470" y="486"/>
                    </a:lnTo>
                    <a:cubicBezTo>
                      <a:pt x="1467" y="486"/>
                      <a:pt x="1463" y="485"/>
                      <a:pt x="1460" y="484"/>
                    </a:cubicBezTo>
                    <a:lnTo>
                      <a:pt x="1472" y="473"/>
                    </a:lnTo>
                    <a:lnTo>
                      <a:pt x="1581" y="473"/>
                    </a:lnTo>
                    <a:lnTo>
                      <a:pt x="1641" y="415"/>
                    </a:lnTo>
                    <a:cubicBezTo>
                      <a:pt x="1577" y="363"/>
                      <a:pt x="1504" y="320"/>
                      <a:pt x="1425" y="289"/>
                    </a:cubicBezTo>
                    <a:cubicBezTo>
                      <a:pt x="1421" y="294"/>
                      <a:pt x="1415" y="296"/>
                      <a:pt x="1408" y="296"/>
                    </a:cubicBezTo>
                    <a:lnTo>
                      <a:pt x="1408" y="296"/>
                    </a:lnTo>
                    <a:cubicBezTo>
                      <a:pt x="1395" y="296"/>
                      <a:pt x="1384" y="287"/>
                      <a:pt x="1383" y="274"/>
                    </a:cubicBezTo>
                    <a:cubicBezTo>
                      <a:pt x="1305" y="249"/>
                      <a:pt x="1223" y="235"/>
                      <a:pt x="1137" y="235"/>
                    </a:cubicBezTo>
                    <a:cubicBezTo>
                      <a:pt x="1097" y="235"/>
                      <a:pt x="1059" y="238"/>
                      <a:pt x="1021" y="244"/>
                    </a:cubicBezTo>
                    <a:cubicBezTo>
                      <a:pt x="1021" y="244"/>
                      <a:pt x="1022" y="244"/>
                      <a:pt x="1023" y="244"/>
                    </a:cubicBezTo>
                    <a:lnTo>
                      <a:pt x="1023" y="245"/>
                    </a:lnTo>
                    <a:lnTo>
                      <a:pt x="1023" y="244"/>
                    </a:lnTo>
                    <a:cubicBezTo>
                      <a:pt x="1033" y="248"/>
                      <a:pt x="1040" y="257"/>
                      <a:pt x="1040" y="268"/>
                    </a:cubicBezTo>
                    <a:cubicBezTo>
                      <a:pt x="1040" y="282"/>
                      <a:pt x="1029" y="294"/>
                      <a:pt x="1015" y="294"/>
                    </a:cubicBezTo>
                    <a:lnTo>
                      <a:pt x="1015" y="294"/>
                    </a:lnTo>
                    <a:cubicBezTo>
                      <a:pt x="1001" y="294"/>
                      <a:pt x="990" y="282"/>
                      <a:pt x="990" y="268"/>
                    </a:cubicBezTo>
                    <a:cubicBezTo>
                      <a:pt x="990" y="265"/>
                      <a:pt x="991" y="261"/>
                      <a:pt x="992" y="258"/>
                    </a:cubicBezTo>
                    <a:lnTo>
                      <a:pt x="997" y="256"/>
                    </a:lnTo>
                    <a:lnTo>
                      <a:pt x="992" y="258"/>
                    </a:lnTo>
                    <a:cubicBezTo>
                      <a:pt x="994" y="253"/>
                      <a:pt x="998" y="249"/>
                      <a:pt x="1002" y="247"/>
                    </a:cubicBezTo>
                    <a:cubicBezTo>
                      <a:pt x="909" y="263"/>
                      <a:pt x="822" y="294"/>
                      <a:pt x="743" y="339"/>
                    </a:cubicBezTo>
                    <a:lnTo>
                      <a:pt x="743" y="376"/>
                    </a:lnTo>
                    <a:lnTo>
                      <a:pt x="769" y="401"/>
                    </a:lnTo>
                    <a:lnTo>
                      <a:pt x="769" y="401"/>
                    </a:lnTo>
                    <a:lnTo>
                      <a:pt x="769" y="401"/>
                    </a:lnTo>
                    <a:lnTo>
                      <a:pt x="826" y="455"/>
                    </a:lnTo>
                    <a:lnTo>
                      <a:pt x="826" y="455"/>
                    </a:lnTo>
                    <a:lnTo>
                      <a:pt x="842" y="470"/>
                    </a:lnTo>
                    <a:lnTo>
                      <a:pt x="951" y="470"/>
                    </a:lnTo>
                    <a:lnTo>
                      <a:pt x="972" y="490"/>
                    </a:lnTo>
                    <a:cubicBezTo>
                      <a:pt x="1024" y="474"/>
                      <a:pt x="1079" y="465"/>
                      <a:pt x="1137" y="465"/>
                    </a:cubicBezTo>
                    <a:cubicBezTo>
                      <a:pt x="1195" y="465"/>
                      <a:pt x="1250" y="474"/>
                      <a:pt x="1303" y="490"/>
                    </a:cubicBezTo>
                    <a:cubicBezTo>
                      <a:pt x="1332" y="499"/>
                      <a:pt x="1359" y="510"/>
                      <a:pt x="1386" y="523"/>
                    </a:cubicBezTo>
                    <a:cubicBezTo>
                      <a:pt x="1390" y="515"/>
                      <a:pt x="1398" y="510"/>
                      <a:pt x="1408" y="510"/>
                    </a:cubicBezTo>
                    <a:cubicBezTo>
                      <a:pt x="1415" y="510"/>
                      <a:pt x="1421" y="512"/>
                      <a:pt x="1426" y="517"/>
                    </a:cubicBezTo>
                    <a:lnTo>
                      <a:pt x="1460" y="484"/>
                    </a:lnTo>
                    <a:cubicBezTo>
                      <a:pt x="1463" y="485"/>
                      <a:pt x="1467" y="486"/>
                      <a:pt x="1470" y="486"/>
                    </a:cubicBezTo>
                    <a:lnTo>
                      <a:pt x="1431" y="524"/>
                    </a:lnTo>
                    <a:lnTo>
                      <a:pt x="1431" y="524"/>
                    </a:lnTo>
                    <a:cubicBezTo>
                      <a:pt x="1432" y="528"/>
                      <a:pt x="1433" y="531"/>
                      <a:pt x="1433" y="535"/>
                    </a:cubicBezTo>
                    <a:cubicBezTo>
                      <a:pt x="1433" y="539"/>
                      <a:pt x="1432" y="543"/>
                      <a:pt x="1430" y="547"/>
                    </a:cubicBezTo>
                    <a:cubicBezTo>
                      <a:pt x="1439" y="552"/>
                      <a:pt x="1447" y="558"/>
                      <a:pt x="1455" y="563"/>
                    </a:cubicBezTo>
                    <a:lnTo>
                      <a:pt x="1427" y="605"/>
                    </a:lnTo>
                    <a:cubicBezTo>
                      <a:pt x="1385" y="576"/>
                      <a:pt x="1338" y="554"/>
                      <a:pt x="1288" y="538"/>
                    </a:cubicBezTo>
                    <a:cubicBezTo>
                      <a:pt x="1240" y="524"/>
                      <a:pt x="1189" y="516"/>
                      <a:pt x="1137" y="516"/>
                    </a:cubicBezTo>
                    <a:cubicBezTo>
                      <a:pt x="1103" y="516"/>
                      <a:pt x="1071" y="519"/>
                      <a:pt x="1039" y="525"/>
                    </a:cubicBezTo>
                    <a:cubicBezTo>
                      <a:pt x="1040" y="528"/>
                      <a:pt x="1040" y="530"/>
                      <a:pt x="1040" y="532"/>
                    </a:cubicBezTo>
                    <a:cubicBezTo>
                      <a:pt x="1040" y="546"/>
                      <a:pt x="1029" y="557"/>
                      <a:pt x="1015" y="557"/>
                    </a:cubicBezTo>
                    <a:lnTo>
                      <a:pt x="1015" y="557"/>
                    </a:lnTo>
                    <a:cubicBezTo>
                      <a:pt x="1003" y="557"/>
                      <a:pt x="993" y="549"/>
                      <a:pt x="990" y="537"/>
                    </a:cubicBezTo>
                    <a:cubicBezTo>
                      <a:pt x="940" y="552"/>
                      <a:pt x="894" y="574"/>
                      <a:pt x="851" y="603"/>
                    </a:cubicBezTo>
                    <a:cubicBezTo>
                      <a:pt x="839" y="611"/>
                      <a:pt x="827" y="619"/>
                      <a:pt x="816" y="628"/>
                    </a:cubicBezTo>
                    <a:lnTo>
                      <a:pt x="1011" y="628"/>
                    </a:lnTo>
                    <a:lnTo>
                      <a:pt x="998" y="591"/>
                    </a:lnTo>
                    <a:cubicBezTo>
                      <a:pt x="1022" y="583"/>
                      <a:pt x="1047" y="576"/>
                      <a:pt x="1073" y="572"/>
                    </a:cubicBezTo>
                    <a:cubicBezTo>
                      <a:pt x="1098" y="567"/>
                      <a:pt x="1124" y="565"/>
                      <a:pt x="1150" y="565"/>
                    </a:cubicBezTo>
                    <a:cubicBezTo>
                      <a:pt x="1236" y="565"/>
                      <a:pt x="1317" y="589"/>
                      <a:pt x="1386" y="631"/>
                    </a:cubicBezTo>
                    <a:lnTo>
                      <a:pt x="1610" y="631"/>
                    </a:lnTo>
                    <a:lnTo>
                      <a:pt x="1610" y="631"/>
                    </a:lnTo>
                    <a:lnTo>
                      <a:pt x="1640" y="631"/>
                    </a:lnTo>
                    <a:lnTo>
                      <a:pt x="1692" y="581"/>
                    </a:lnTo>
                    <a:lnTo>
                      <a:pt x="1692" y="581"/>
                    </a:lnTo>
                    <a:lnTo>
                      <a:pt x="1750" y="524"/>
                    </a:lnTo>
                    <a:cubicBezTo>
                      <a:pt x="1736" y="506"/>
                      <a:pt x="1721" y="490"/>
                      <a:pt x="1705" y="473"/>
                    </a:cubicBezTo>
                    <a:lnTo>
                      <a:pt x="1638" y="547"/>
                    </a:lnTo>
                    <a:lnTo>
                      <a:pt x="1638" y="547"/>
                    </a:lnTo>
                    <a:lnTo>
                      <a:pt x="1626" y="561"/>
                    </a:lnTo>
                    <a:lnTo>
                      <a:pt x="1626" y="561"/>
                    </a:lnTo>
                    <a:lnTo>
                      <a:pt x="1578" y="561"/>
                    </a:lnTo>
                    <a:lnTo>
                      <a:pt x="1578" y="560"/>
                    </a:lnTo>
                    <a:lnTo>
                      <a:pt x="1578" y="561"/>
                    </a:lnTo>
                    <a:cubicBezTo>
                      <a:pt x="1578" y="561"/>
                      <a:pt x="1578" y="561"/>
                      <a:pt x="1578" y="561"/>
                    </a:cubicBezTo>
                    <a:cubicBezTo>
                      <a:pt x="1578" y="575"/>
                      <a:pt x="1567" y="587"/>
                      <a:pt x="1553" y="587"/>
                    </a:cubicBezTo>
                    <a:close/>
                    <a:moveTo>
                      <a:pt x="1578" y="555"/>
                    </a:moveTo>
                    <a:cubicBezTo>
                      <a:pt x="1578" y="557"/>
                      <a:pt x="1578" y="559"/>
                      <a:pt x="1578" y="560"/>
                    </a:cubicBezTo>
                    <a:cubicBezTo>
                      <a:pt x="1578" y="559"/>
                      <a:pt x="1578" y="557"/>
                      <a:pt x="1578" y="555"/>
                    </a:cubicBezTo>
                    <a:close/>
                    <a:moveTo>
                      <a:pt x="1426" y="518"/>
                    </a:moveTo>
                    <a:cubicBezTo>
                      <a:pt x="1428" y="519"/>
                      <a:pt x="1429" y="521"/>
                      <a:pt x="1430" y="523"/>
                    </a:cubicBezTo>
                    <a:cubicBezTo>
                      <a:pt x="1429" y="521"/>
                      <a:pt x="1428" y="519"/>
                      <a:pt x="1426" y="518"/>
                    </a:cubicBezTo>
                    <a:close/>
                    <a:moveTo>
                      <a:pt x="563" y="1237"/>
                    </a:moveTo>
                    <a:lnTo>
                      <a:pt x="564" y="1240"/>
                    </a:lnTo>
                    <a:cubicBezTo>
                      <a:pt x="563" y="1239"/>
                      <a:pt x="563" y="1238"/>
                      <a:pt x="563" y="1237"/>
                    </a:cubicBezTo>
                    <a:close/>
                    <a:moveTo>
                      <a:pt x="490" y="1269"/>
                    </a:moveTo>
                    <a:cubicBezTo>
                      <a:pt x="490" y="1267"/>
                      <a:pt x="489" y="1265"/>
                      <a:pt x="489" y="1263"/>
                    </a:cubicBezTo>
                    <a:cubicBezTo>
                      <a:pt x="489" y="1265"/>
                      <a:pt x="490" y="1267"/>
                      <a:pt x="490" y="1269"/>
                    </a:cubicBezTo>
                    <a:close/>
                    <a:moveTo>
                      <a:pt x="1020" y="270"/>
                    </a:moveTo>
                    <a:lnTo>
                      <a:pt x="1011" y="270"/>
                    </a:lnTo>
                    <a:lnTo>
                      <a:pt x="1011" y="249"/>
                    </a:lnTo>
                    <a:lnTo>
                      <a:pt x="1011" y="249"/>
                    </a:lnTo>
                    <a:lnTo>
                      <a:pt x="1011" y="270"/>
                    </a:lnTo>
                    <a:lnTo>
                      <a:pt x="1020" y="270"/>
                    </a:lnTo>
                    <a:close/>
                    <a:moveTo>
                      <a:pt x="1019" y="246"/>
                    </a:moveTo>
                    <a:lnTo>
                      <a:pt x="1020" y="246"/>
                    </a:lnTo>
                    <a:lnTo>
                      <a:pt x="1020" y="246"/>
                    </a:lnTo>
                    <a:lnTo>
                      <a:pt x="1019" y="246"/>
                    </a:lnTo>
                    <a:close/>
                    <a:moveTo>
                      <a:pt x="1020" y="244"/>
                    </a:moveTo>
                    <a:lnTo>
                      <a:pt x="1020" y="246"/>
                    </a:lnTo>
                    <a:lnTo>
                      <a:pt x="1020" y="246"/>
                    </a:lnTo>
                    <a:lnTo>
                      <a:pt x="1020" y="244"/>
                    </a:lnTo>
                    <a:close/>
                    <a:moveTo>
                      <a:pt x="819" y="460"/>
                    </a:moveTo>
                    <a:lnTo>
                      <a:pt x="763" y="407"/>
                    </a:lnTo>
                    <a:lnTo>
                      <a:pt x="765" y="405"/>
                    </a:lnTo>
                    <a:cubicBezTo>
                      <a:pt x="764" y="405"/>
                      <a:pt x="764" y="406"/>
                      <a:pt x="763" y="407"/>
                    </a:cubicBezTo>
                    <a:lnTo>
                      <a:pt x="763" y="407"/>
                    </a:lnTo>
                    <a:lnTo>
                      <a:pt x="735" y="380"/>
                    </a:lnTo>
                    <a:lnTo>
                      <a:pt x="735" y="344"/>
                    </a:lnTo>
                    <a:cubicBezTo>
                      <a:pt x="715" y="356"/>
                      <a:pt x="696" y="368"/>
                      <a:pt x="677" y="381"/>
                    </a:cubicBezTo>
                    <a:lnTo>
                      <a:pt x="677" y="413"/>
                    </a:lnTo>
                    <a:lnTo>
                      <a:pt x="714" y="454"/>
                    </a:lnTo>
                    <a:lnTo>
                      <a:pt x="714" y="454"/>
                    </a:lnTo>
                    <a:lnTo>
                      <a:pt x="767" y="511"/>
                    </a:lnTo>
                    <a:cubicBezTo>
                      <a:pt x="765" y="513"/>
                      <a:pt x="764" y="514"/>
                      <a:pt x="763" y="516"/>
                    </a:cubicBezTo>
                    <a:lnTo>
                      <a:pt x="763" y="516"/>
                    </a:lnTo>
                    <a:cubicBezTo>
                      <a:pt x="764" y="514"/>
                      <a:pt x="765" y="513"/>
                      <a:pt x="767" y="511"/>
                    </a:cubicBezTo>
                    <a:lnTo>
                      <a:pt x="801" y="549"/>
                    </a:lnTo>
                    <a:lnTo>
                      <a:pt x="840" y="549"/>
                    </a:lnTo>
                    <a:cubicBezTo>
                      <a:pt x="843" y="548"/>
                      <a:pt x="846" y="546"/>
                      <a:pt x="849" y="544"/>
                    </a:cubicBezTo>
                    <a:cubicBezTo>
                      <a:pt x="853" y="538"/>
                      <a:pt x="860" y="534"/>
                      <a:pt x="868" y="533"/>
                    </a:cubicBezTo>
                    <a:cubicBezTo>
                      <a:pt x="898" y="517"/>
                      <a:pt x="930" y="504"/>
                      <a:pt x="962" y="493"/>
                    </a:cubicBezTo>
                    <a:lnTo>
                      <a:pt x="948" y="479"/>
                    </a:lnTo>
                    <a:lnTo>
                      <a:pt x="838" y="479"/>
                    </a:lnTo>
                    <a:lnTo>
                      <a:pt x="819" y="460"/>
                    </a:lnTo>
                    <a:lnTo>
                      <a:pt x="819" y="460"/>
                    </a:lnTo>
                    <a:close/>
                    <a:moveTo>
                      <a:pt x="759" y="512"/>
                    </a:moveTo>
                    <a:lnTo>
                      <a:pt x="737" y="492"/>
                    </a:lnTo>
                    <a:lnTo>
                      <a:pt x="708" y="460"/>
                    </a:lnTo>
                    <a:lnTo>
                      <a:pt x="708" y="460"/>
                    </a:lnTo>
                    <a:lnTo>
                      <a:pt x="708" y="460"/>
                    </a:lnTo>
                    <a:lnTo>
                      <a:pt x="669" y="416"/>
                    </a:lnTo>
                    <a:lnTo>
                      <a:pt x="669" y="387"/>
                    </a:lnTo>
                    <a:cubicBezTo>
                      <a:pt x="643" y="406"/>
                      <a:pt x="619" y="425"/>
                      <a:pt x="596" y="447"/>
                    </a:cubicBezTo>
                    <a:lnTo>
                      <a:pt x="761" y="608"/>
                    </a:lnTo>
                    <a:cubicBezTo>
                      <a:pt x="781" y="591"/>
                      <a:pt x="802" y="575"/>
                      <a:pt x="823" y="560"/>
                    </a:cubicBezTo>
                    <a:lnTo>
                      <a:pt x="827" y="558"/>
                    </a:lnTo>
                    <a:lnTo>
                      <a:pt x="797" y="558"/>
                    </a:lnTo>
                    <a:lnTo>
                      <a:pt x="737" y="492"/>
                    </a:lnTo>
                    <a:lnTo>
                      <a:pt x="759" y="512"/>
                    </a:lnTo>
                    <a:close/>
                    <a:moveTo>
                      <a:pt x="710" y="459"/>
                    </a:moveTo>
                    <a:cubicBezTo>
                      <a:pt x="711" y="457"/>
                      <a:pt x="712" y="456"/>
                      <a:pt x="713" y="455"/>
                    </a:cubicBezTo>
                    <a:cubicBezTo>
                      <a:pt x="712" y="456"/>
                      <a:pt x="711" y="457"/>
                      <a:pt x="710" y="459"/>
                    </a:cubicBezTo>
                    <a:close/>
                    <a:moveTo>
                      <a:pt x="1403" y="227"/>
                    </a:moveTo>
                    <a:lnTo>
                      <a:pt x="1403" y="88"/>
                    </a:lnTo>
                    <a:moveTo>
                      <a:pt x="1411" y="90"/>
                    </a:moveTo>
                    <a:lnTo>
                      <a:pt x="1411" y="230"/>
                    </a:lnTo>
                    <a:moveTo>
                      <a:pt x="845" y="1650"/>
                    </a:moveTo>
                    <a:cubicBezTo>
                      <a:pt x="845" y="1648"/>
                      <a:pt x="846" y="1646"/>
                      <a:pt x="846" y="1644"/>
                    </a:cubicBezTo>
                    <a:lnTo>
                      <a:pt x="877" y="1644"/>
                    </a:lnTo>
                    <a:lnTo>
                      <a:pt x="877" y="1652"/>
                    </a:lnTo>
                    <a:lnTo>
                      <a:pt x="877" y="1652"/>
                    </a:lnTo>
                    <a:lnTo>
                      <a:pt x="877" y="1644"/>
                    </a:lnTo>
                    <a:lnTo>
                      <a:pt x="846" y="1644"/>
                    </a:lnTo>
                    <a:cubicBezTo>
                      <a:pt x="850" y="1634"/>
                      <a:pt x="859" y="1627"/>
                      <a:pt x="870" y="1627"/>
                    </a:cubicBezTo>
                    <a:cubicBezTo>
                      <a:pt x="884" y="1627"/>
                      <a:pt x="895" y="1639"/>
                      <a:pt x="895" y="1653"/>
                    </a:cubicBezTo>
                    <a:cubicBezTo>
                      <a:pt x="895" y="1667"/>
                      <a:pt x="884" y="1678"/>
                      <a:pt x="870" y="1678"/>
                    </a:cubicBezTo>
                    <a:lnTo>
                      <a:pt x="870" y="1678"/>
                    </a:lnTo>
                    <a:cubicBezTo>
                      <a:pt x="856" y="1678"/>
                      <a:pt x="845" y="1667"/>
                      <a:pt x="845" y="1653"/>
                    </a:cubicBezTo>
                    <a:lnTo>
                      <a:pt x="845" y="1652"/>
                    </a:lnTo>
                    <a:lnTo>
                      <a:pt x="845" y="1652"/>
                    </a:lnTo>
                    <a:lnTo>
                      <a:pt x="794" y="1652"/>
                    </a:lnTo>
                    <a:cubicBezTo>
                      <a:pt x="791" y="1649"/>
                      <a:pt x="788" y="1647"/>
                      <a:pt x="785" y="1644"/>
                    </a:cubicBezTo>
                    <a:lnTo>
                      <a:pt x="846" y="1644"/>
                    </a:lnTo>
                    <a:cubicBezTo>
                      <a:pt x="845" y="1646"/>
                      <a:pt x="845" y="1648"/>
                      <a:pt x="845" y="1650"/>
                    </a:cubicBezTo>
                    <a:close/>
                    <a:moveTo>
                      <a:pt x="846" y="1077"/>
                    </a:moveTo>
                    <a:lnTo>
                      <a:pt x="877" y="1077"/>
                    </a:lnTo>
                    <a:lnTo>
                      <a:pt x="877" y="1085"/>
                    </a:lnTo>
                    <a:lnTo>
                      <a:pt x="877" y="1085"/>
                    </a:lnTo>
                    <a:lnTo>
                      <a:pt x="877" y="1077"/>
                    </a:lnTo>
                    <a:lnTo>
                      <a:pt x="846" y="1077"/>
                    </a:lnTo>
                    <a:close/>
                    <a:moveTo>
                      <a:pt x="341" y="1077"/>
                    </a:moveTo>
                    <a:lnTo>
                      <a:pt x="571" y="1077"/>
                    </a:lnTo>
                    <a:cubicBezTo>
                      <a:pt x="569" y="1058"/>
                      <a:pt x="569" y="1038"/>
                      <a:pt x="569" y="1019"/>
                    </a:cubicBezTo>
                    <a:lnTo>
                      <a:pt x="390" y="1019"/>
                    </a:lnTo>
                    <a:lnTo>
                      <a:pt x="341" y="977"/>
                    </a:lnTo>
                    <a:cubicBezTo>
                      <a:pt x="340" y="995"/>
                      <a:pt x="339" y="1014"/>
                      <a:pt x="339" y="1033"/>
                    </a:cubicBezTo>
                    <a:cubicBezTo>
                      <a:pt x="339" y="1047"/>
                      <a:pt x="340" y="1062"/>
                      <a:pt x="341" y="1077"/>
                    </a:cubicBezTo>
                    <a:close/>
                    <a:moveTo>
                      <a:pt x="622" y="1077"/>
                    </a:moveTo>
                    <a:lnTo>
                      <a:pt x="659" y="1077"/>
                    </a:lnTo>
                    <a:cubicBezTo>
                      <a:pt x="657" y="1058"/>
                      <a:pt x="656" y="1039"/>
                      <a:pt x="657" y="1019"/>
                    </a:cubicBezTo>
                    <a:lnTo>
                      <a:pt x="620" y="1019"/>
                    </a:lnTo>
                    <a:cubicBezTo>
                      <a:pt x="619" y="1038"/>
                      <a:pt x="620" y="1058"/>
                      <a:pt x="622" y="1077"/>
                    </a:cubicBezTo>
                    <a:close/>
                    <a:moveTo>
                      <a:pt x="1134" y="1230"/>
                    </a:moveTo>
                    <a:lnTo>
                      <a:pt x="1126" y="1222"/>
                    </a:lnTo>
                    <a:lnTo>
                      <a:pt x="1134" y="1230"/>
                    </a:lnTo>
                    <a:close/>
                    <a:moveTo>
                      <a:pt x="1124" y="1220"/>
                    </a:moveTo>
                    <a:lnTo>
                      <a:pt x="1124" y="1220"/>
                    </a:lnTo>
                    <a:cubicBezTo>
                      <a:pt x="1125" y="1217"/>
                      <a:pt x="1127" y="1215"/>
                      <a:pt x="1129" y="1212"/>
                    </a:cubicBezTo>
                    <a:lnTo>
                      <a:pt x="1129" y="1212"/>
                    </a:lnTo>
                    <a:cubicBezTo>
                      <a:pt x="1134" y="1208"/>
                      <a:pt x="1140" y="1206"/>
                      <a:pt x="1147" y="1206"/>
                    </a:cubicBezTo>
                    <a:cubicBezTo>
                      <a:pt x="1161" y="1206"/>
                      <a:pt x="1172" y="1217"/>
                      <a:pt x="1172" y="1231"/>
                    </a:cubicBezTo>
                    <a:cubicBezTo>
                      <a:pt x="1172" y="1245"/>
                      <a:pt x="1161" y="1256"/>
                      <a:pt x="1147" y="1256"/>
                    </a:cubicBezTo>
                    <a:lnTo>
                      <a:pt x="1147" y="1256"/>
                    </a:lnTo>
                    <a:cubicBezTo>
                      <a:pt x="1133" y="1256"/>
                      <a:pt x="1121" y="1245"/>
                      <a:pt x="1121" y="1231"/>
                    </a:cubicBezTo>
                    <a:cubicBezTo>
                      <a:pt x="1121" y="1227"/>
                      <a:pt x="1122" y="1223"/>
                      <a:pt x="1124" y="1220"/>
                    </a:cubicBezTo>
                    <a:close/>
                    <a:moveTo>
                      <a:pt x="1141" y="1225"/>
                    </a:moveTo>
                    <a:lnTo>
                      <a:pt x="1136" y="1228"/>
                    </a:lnTo>
                    <a:lnTo>
                      <a:pt x="1141" y="1225"/>
                    </a:lnTo>
                    <a:close/>
                    <a:moveTo>
                      <a:pt x="869" y="929"/>
                    </a:moveTo>
                    <a:lnTo>
                      <a:pt x="869" y="929"/>
                    </a:lnTo>
                    <a:cubicBezTo>
                      <a:pt x="869" y="929"/>
                      <a:pt x="870" y="929"/>
                      <a:pt x="870" y="929"/>
                    </a:cubicBezTo>
                    <a:cubicBezTo>
                      <a:pt x="884" y="929"/>
                      <a:pt x="895" y="940"/>
                      <a:pt x="895" y="954"/>
                    </a:cubicBezTo>
                    <a:cubicBezTo>
                      <a:pt x="895" y="968"/>
                      <a:pt x="884" y="979"/>
                      <a:pt x="870" y="979"/>
                    </a:cubicBezTo>
                    <a:lnTo>
                      <a:pt x="870" y="979"/>
                    </a:lnTo>
                    <a:cubicBezTo>
                      <a:pt x="859" y="979"/>
                      <a:pt x="850" y="973"/>
                      <a:pt x="846" y="964"/>
                    </a:cubicBezTo>
                    <a:lnTo>
                      <a:pt x="860" y="966"/>
                    </a:lnTo>
                    <a:cubicBezTo>
                      <a:pt x="860" y="964"/>
                      <a:pt x="861" y="961"/>
                      <a:pt x="861" y="959"/>
                    </a:cubicBezTo>
                    <a:moveTo>
                      <a:pt x="877" y="945"/>
                    </a:moveTo>
                    <a:lnTo>
                      <a:pt x="877" y="954"/>
                    </a:lnTo>
                    <a:lnTo>
                      <a:pt x="877" y="954"/>
                    </a:lnTo>
                    <a:lnTo>
                      <a:pt x="877" y="945"/>
                    </a:lnTo>
                    <a:close/>
                    <a:moveTo>
                      <a:pt x="546" y="497"/>
                    </a:moveTo>
                    <a:lnTo>
                      <a:pt x="706" y="664"/>
                    </a:lnTo>
                    <a:cubicBezTo>
                      <a:pt x="721" y="646"/>
                      <a:pt x="738" y="629"/>
                      <a:pt x="755" y="614"/>
                    </a:cubicBezTo>
                    <a:lnTo>
                      <a:pt x="590" y="453"/>
                    </a:lnTo>
                    <a:cubicBezTo>
                      <a:pt x="584" y="458"/>
                      <a:pt x="578" y="463"/>
                      <a:pt x="573" y="469"/>
                    </a:cubicBezTo>
                    <a:cubicBezTo>
                      <a:pt x="564" y="478"/>
                      <a:pt x="555" y="487"/>
                      <a:pt x="546" y="497"/>
                    </a:cubicBezTo>
                    <a:close/>
                    <a:moveTo>
                      <a:pt x="846" y="668"/>
                    </a:moveTo>
                    <a:lnTo>
                      <a:pt x="877" y="668"/>
                    </a:lnTo>
                    <a:lnTo>
                      <a:pt x="877" y="677"/>
                    </a:lnTo>
                    <a:lnTo>
                      <a:pt x="877" y="677"/>
                    </a:lnTo>
                    <a:lnTo>
                      <a:pt x="877" y="668"/>
                    </a:lnTo>
                    <a:lnTo>
                      <a:pt x="846" y="668"/>
                    </a:lnTo>
                    <a:close/>
                    <a:moveTo>
                      <a:pt x="1018" y="1651"/>
                    </a:moveTo>
                    <a:lnTo>
                      <a:pt x="1011" y="1645"/>
                    </a:lnTo>
                    <a:lnTo>
                      <a:pt x="1018" y="1651"/>
                    </a:lnTo>
                    <a:close/>
                    <a:moveTo>
                      <a:pt x="1023" y="1644"/>
                    </a:moveTo>
                    <a:lnTo>
                      <a:pt x="1019" y="1650"/>
                    </a:lnTo>
                    <a:lnTo>
                      <a:pt x="1023" y="1644"/>
                    </a:lnTo>
                    <a:close/>
                    <a:moveTo>
                      <a:pt x="996" y="1762"/>
                    </a:moveTo>
                    <a:lnTo>
                      <a:pt x="993" y="1759"/>
                    </a:lnTo>
                    <a:cubicBezTo>
                      <a:pt x="995" y="1756"/>
                      <a:pt x="996" y="1754"/>
                      <a:pt x="999" y="1752"/>
                    </a:cubicBezTo>
                    <a:lnTo>
                      <a:pt x="999" y="1752"/>
                    </a:lnTo>
                    <a:cubicBezTo>
                      <a:pt x="1003" y="1748"/>
                      <a:pt x="1009" y="1746"/>
                      <a:pt x="1015" y="1746"/>
                    </a:cubicBezTo>
                    <a:cubicBezTo>
                      <a:pt x="1029" y="1746"/>
                      <a:pt x="1040" y="1757"/>
                      <a:pt x="1040" y="1771"/>
                    </a:cubicBezTo>
                    <a:cubicBezTo>
                      <a:pt x="1040" y="1785"/>
                      <a:pt x="1029" y="1797"/>
                      <a:pt x="1015" y="1797"/>
                    </a:cubicBezTo>
                    <a:lnTo>
                      <a:pt x="1015" y="1797"/>
                    </a:lnTo>
                    <a:cubicBezTo>
                      <a:pt x="1001" y="1797"/>
                      <a:pt x="990" y="1785"/>
                      <a:pt x="990" y="1771"/>
                    </a:cubicBezTo>
                    <a:cubicBezTo>
                      <a:pt x="990" y="1767"/>
                      <a:pt x="991" y="1762"/>
                      <a:pt x="993" y="1759"/>
                    </a:cubicBezTo>
                    <a:lnTo>
                      <a:pt x="996" y="1762"/>
                    </a:lnTo>
                    <a:close/>
                    <a:moveTo>
                      <a:pt x="1009" y="1761"/>
                    </a:moveTo>
                    <a:lnTo>
                      <a:pt x="1013" y="1765"/>
                    </a:lnTo>
                    <a:lnTo>
                      <a:pt x="1013" y="1765"/>
                    </a:lnTo>
                    <a:lnTo>
                      <a:pt x="1013" y="1765"/>
                    </a:lnTo>
                    <a:lnTo>
                      <a:pt x="1009" y="1761"/>
                    </a:lnTo>
                    <a:close/>
                    <a:moveTo>
                      <a:pt x="1005" y="806"/>
                    </a:moveTo>
                    <a:lnTo>
                      <a:pt x="999" y="812"/>
                    </a:lnTo>
                    <a:lnTo>
                      <a:pt x="1005" y="806"/>
                    </a:lnTo>
                    <a:close/>
                    <a:moveTo>
                      <a:pt x="1014" y="531"/>
                    </a:moveTo>
                    <a:lnTo>
                      <a:pt x="1014" y="531"/>
                    </a:lnTo>
                    <a:lnTo>
                      <a:pt x="1014" y="531"/>
                    </a:lnTo>
                    <a:lnTo>
                      <a:pt x="1014" y="531"/>
                    </a:lnTo>
                    <a:close/>
                    <a:moveTo>
                      <a:pt x="352" y="1491"/>
                    </a:moveTo>
                    <a:cubicBezTo>
                      <a:pt x="352" y="1490"/>
                      <a:pt x="351" y="1488"/>
                      <a:pt x="351" y="1486"/>
                    </a:cubicBezTo>
                    <a:lnTo>
                      <a:pt x="352" y="1491"/>
                    </a:lnTo>
                    <a:close/>
                    <a:moveTo>
                      <a:pt x="1384" y="1544"/>
                    </a:moveTo>
                    <a:cubicBezTo>
                      <a:pt x="1434" y="1519"/>
                      <a:pt x="1482" y="1487"/>
                      <a:pt x="1524" y="1448"/>
                    </a:cubicBezTo>
                    <a:cubicBezTo>
                      <a:pt x="1564" y="1411"/>
                      <a:pt x="1599" y="1367"/>
                      <a:pt x="1628" y="1316"/>
                    </a:cubicBezTo>
                    <a:cubicBezTo>
                      <a:pt x="1686" y="1216"/>
                      <a:pt x="1709" y="1105"/>
                      <a:pt x="1702" y="997"/>
                    </a:cubicBezTo>
                    <a:cubicBezTo>
                      <a:pt x="1695" y="886"/>
                      <a:pt x="1656" y="779"/>
                      <a:pt x="1589" y="689"/>
                    </a:cubicBezTo>
                    <a:lnTo>
                      <a:pt x="1548" y="720"/>
                    </a:lnTo>
                    <a:cubicBezTo>
                      <a:pt x="1610" y="801"/>
                      <a:pt x="1645" y="899"/>
                      <a:pt x="1652" y="1001"/>
                    </a:cubicBezTo>
                    <a:cubicBezTo>
                      <a:pt x="1658" y="1099"/>
                      <a:pt x="1637" y="1200"/>
                      <a:pt x="1584" y="1291"/>
                    </a:cubicBezTo>
                    <a:cubicBezTo>
                      <a:pt x="1558" y="1337"/>
                      <a:pt x="1526" y="1377"/>
                      <a:pt x="1489" y="1411"/>
                    </a:cubicBezTo>
                    <a:cubicBezTo>
                      <a:pt x="1451" y="1447"/>
                      <a:pt x="1408" y="1476"/>
                      <a:pt x="1362" y="1498"/>
                    </a:cubicBezTo>
                    <a:lnTo>
                      <a:pt x="1384" y="15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grpSp>
    </p:spTree>
    <p:extLst>
      <p:ext uri="{BB962C8B-B14F-4D97-AF65-F5344CB8AC3E}">
        <p14:creationId xmlns:p14="http://schemas.microsoft.com/office/powerpoint/2010/main" val="2495787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3F5B6F1-13BA-766C-7BBE-48AD9BFB57E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8055" y="3597702"/>
            <a:ext cx="10766723" cy="1080120"/>
          </a:xfrm>
          <a:prstGeom prst="rect">
            <a:avLst/>
          </a:prstGeom>
        </p:spPr>
      </p:pic>
      <p:sp>
        <p:nvSpPr>
          <p:cNvPr id="23" name="Rectangle 22">
            <a:extLst>
              <a:ext uri="{FF2B5EF4-FFF2-40B4-BE49-F238E27FC236}">
                <a16:creationId xmlns:a16="http://schemas.microsoft.com/office/drawing/2014/main" id="{DD0A11FD-CEC6-2E5B-1DC8-868E122D69A6}"/>
              </a:ext>
            </a:extLst>
          </p:cNvPr>
          <p:cNvSpPr/>
          <p:nvPr/>
        </p:nvSpPr>
        <p:spPr>
          <a:xfrm>
            <a:off x="618055" y="3597702"/>
            <a:ext cx="10766723" cy="1080120"/>
          </a:xfrm>
          <a:prstGeom prst="rect">
            <a:avLst/>
          </a:prstGeom>
          <a:solidFill>
            <a:srgbClr val="384044">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Market Assumptions</a:t>
            </a:r>
          </a:p>
        </p:txBody>
      </p:sp>
      <p:pic>
        <p:nvPicPr>
          <p:cNvPr id="20" name="Picture 19">
            <a:extLst>
              <a:ext uri="{FF2B5EF4-FFF2-40B4-BE49-F238E27FC236}">
                <a16:creationId xmlns:a16="http://schemas.microsoft.com/office/drawing/2014/main" id="{672FADD6-0E98-304B-8EF2-A9D98BC852DB}"/>
              </a:ext>
            </a:extLst>
          </p:cNvPr>
          <p:cNvPicPr>
            <a:picLocks noChangeAspect="1"/>
          </p:cNvPicPr>
          <p:nvPr/>
        </p:nvPicPr>
        <p:blipFill>
          <a:blip r:embed="rId4"/>
          <a:stretch>
            <a:fillRect/>
          </a:stretch>
        </p:blipFill>
        <p:spPr>
          <a:xfrm>
            <a:off x="620025" y="980728"/>
            <a:ext cx="10766723" cy="2616974"/>
          </a:xfrm>
          <a:prstGeom prst="rect">
            <a:avLst/>
          </a:prstGeom>
        </p:spPr>
      </p:pic>
      <p:cxnSp>
        <p:nvCxnSpPr>
          <p:cNvPr id="26" name="Straight Connector 25">
            <a:extLst>
              <a:ext uri="{FF2B5EF4-FFF2-40B4-BE49-F238E27FC236}">
                <a16:creationId xmlns:a16="http://schemas.microsoft.com/office/drawing/2014/main" id="{D8246B1C-72EF-E02B-CCFA-18D3C67256DD}"/>
              </a:ext>
            </a:extLst>
          </p:cNvPr>
          <p:cNvCxnSpPr>
            <a:cxnSpLocks/>
          </p:cNvCxnSpPr>
          <p:nvPr/>
        </p:nvCxnSpPr>
        <p:spPr>
          <a:xfrm>
            <a:off x="8184232" y="4977288"/>
            <a:ext cx="0" cy="104400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A2D6CF2-745C-37D2-AF7B-604F4A41F6EC}"/>
              </a:ext>
            </a:extLst>
          </p:cNvPr>
          <p:cNvCxnSpPr>
            <a:cxnSpLocks/>
          </p:cNvCxnSpPr>
          <p:nvPr/>
        </p:nvCxnSpPr>
        <p:spPr>
          <a:xfrm>
            <a:off x="3863752" y="4928375"/>
            <a:ext cx="0" cy="104400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414851-B8D4-C9C4-C291-E7BC8B7C345D}"/>
              </a:ext>
            </a:extLst>
          </p:cNvPr>
          <p:cNvSpPr txBox="1"/>
          <p:nvPr/>
        </p:nvSpPr>
        <p:spPr>
          <a:xfrm>
            <a:off x="695400" y="4923745"/>
            <a:ext cx="3168351" cy="1169551"/>
          </a:xfrm>
          <a:prstGeom prst="rect">
            <a:avLst/>
          </a:prstGeom>
          <a:noFill/>
        </p:spPr>
        <p:txBody>
          <a:bodyPr wrap="square" numCol="1">
            <a:spAutoFit/>
          </a:bodyPr>
          <a:lstStyle/>
          <a:p>
            <a:r>
              <a:rPr lang="en-GB" sz="1400" dirty="0">
                <a:solidFill>
                  <a:srgbClr val="202124"/>
                </a:solidFill>
              </a:rPr>
              <a:t>The commodity prices for the business plan have been sourced from MEPS International, a leading international steel industry consultant, which overlays factors specific to Ostrava. </a:t>
            </a:r>
          </a:p>
        </p:txBody>
      </p:sp>
      <p:sp>
        <p:nvSpPr>
          <p:cNvPr id="32" name="TextBox 31">
            <a:extLst>
              <a:ext uri="{FF2B5EF4-FFF2-40B4-BE49-F238E27FC236}">
                <a16:creationId xmlns:a16="http://schemas.microsoft.com/office/drawing/2014/main" id="{FB1688F4-52C8-309D-C079-68239BC0AA0B}"/>
              </a:ext>
            </a:extLst>
          </p:cNvPr>
          <p:cNvSpPr txBox="1"/>
          <p:nvPr/>
        </p:nvSpPr>
        <p:spPr>
          <a:xfrm>
            <a:off x="3899755" y="4923745"/>
            <a:ext cx="4284472" cy="738664"/>
          </a:xfrm>
          <a:prstGeom prst="rect">
            <a:avLst/>
          </a:prstGeom>
          <a:noFill/>
        </p:spPr>
        <p:txBody>
          <a:bodyPr wrap="square" numCol="1">
            <a:spAutoFit/>
          </a:bodyPr>
          <a:lstStyle/>
          <a:p>
            <a:r>
              <a:rPr lang="en-GB" sz="1400" dirty="0">
                <a:solidFill>
                  <a:srgbClr val="202124"/>
                </a:solidFill>
              </a:rPr>
              <a:t>The prices have also been cross verified with forecasts from CRU Group (a commodity business intelligence firm).</a:t>
            </a:r>
          </a:p>
        </p:txBody>
      </p:sp>
      <p:sp>
        <p:nvSpPr>
          <p:cNvPr id="33" name="TextBox 32">
            <a:extLst>
              <a:ext uri="{FF2B5EF4-FFF2-40B4-BE49-F238E27FC236}">
                <a16:creationId xmlns:a16="http://schemas.microsoft.com/office/drawing/2014/main" id="{F83521C8-973B-DF5F-F77F-47FAA84DED47}"/>
              </a:ext>
            </a:extLst>
          </p:cNvPr>
          <p:cNvSpPr txBox="1"/>
          <p:nvPr/>
        </p:nvSpPr>
        <p:spPr>
          <a:xfrm>
            <a:off x="8328248" y="4923745"/>
            <a:ext cx="3168351" cy="738664"/>
          </a:xfrm>
          <a:prstGeom prst="rect">
            <a:avLst/>
          </a:prstGeom>
          <a:noFill/>
        </p:spPr>
        <p:txBody>
          <a:bodyPr wrap="square" numCol="1">
            <a:spAutoFit/>
          </a:bodyPr>
          <a:lstStyle/>
          <a:p>
            <a:r>
              <a:rPr lang="en-GB" sz="1400" dirty="0">
                <a:solidFill>
                  <a:srgbClr val="202124"/>
                </a:solidFill>
              </a:rPr>
              <a:t>The management views these forecasts as aligned to the market intelligence received from customers and suppliers.</a:t>
            </a:r>
          </a:p>
        </p:txBody>
      </p:sp>
      <p:sp>
        <p:nvSpPr>
          <p:cNvPr id="30" name="Oval 29">
            <a:extLst>
              <a:ext uri="{FF2B5EF4-FFF2-40B4-BE49-F238E27FC236}">
                <a16:creationId xmlns:a16="http://schemas.microsoft.com/office/drawing/2014/main" id="{152CA7DF-2BA2-961D-F5DE-77CCB39E5D01}"/>
              </a:ext>
            </a:extLst>
          </p:cNvPr>
          <p:cNvSpPr/>
          <p:nvPr/>
        </p:nvSpPr>
        <p:spPr>
          <a:xfrm>
            <a:off x="1848056" y="4437112"/>
            <a:ext cx="432048" cy="432048"/>
          </a:xfrm>
          <a:prstGeom prst="ellipse">
            <a:avLst/>
          </a:prstGeom>
          <a:solidFill>
            <a:srgbClr val="36B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entury Gothic"/>
                <a:ea typeface="+mn-ea"/>
                <a:cs typeface="+mn-cs"/>
              </a:rPr>
              <a:t>1</a:t>
            </a:r>
            <a:endParaRPr kumimoji="0" lang="en-AE" sz="24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4" name="Oval 33">
            <a:extLst>
              <a:ext uri="{FF2B5EF4-FFF2-40B4-BE49-F238E27FC236}">
                <a16:creationId xmlns:a16="http://schemas.microsoft.com/office/drawing/2014/main" id="{F227FAA1-0F28-731C-117F-29F91BEF008C}"/>
              </a:ext>
            </a:extLst>
          </p:cNvPr>
          <p:cNvSpPr/>
          <p:nvPr/>
        </p:nvSpPr>
        <p:spPr>
          <a:xfrm>
            <a:off x="5576582" y="4437112"/>
            <a:ext cx="432048" cy="432048"/>
          </a:xfrm>
          <a:prstGeom prst="ellipse">
            <a:avLst/>
          </a:prstGeom>
          <a:solidFill>
            <a:srgbClr val="36B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prstClr val="white"/>
                </a:solidFill>
                <a:latin typeface="Century Gothic"/>
              </a:rPr>
              <a:t>2</a:t>
            </a:r>
            <a:endParaRPr kumimoji="0" lang="en-AE" sz="24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5" name="Oval 34">
            <a:extLst>
              <a:ext uri="{FF2B5EF4-FFF2-40B4-BE49-F238E27FC236}">
                <a16:creationId xmlns:a16="http://schemas.microsoft.com/office/drawing/2014/main" id="{035531CD-910C-11DE-781E-654F7FFA784F}"/>
              </a:ext>
            </a:extLst>
          </p:cNvPr>
          <p:cNvSpPr/>
          <p:nvPr/>
        </p:nvSpPr>
        <p:spPr>
          <a:xfrm>
            <a:off x="9561014" y="4437112"/>
            <a:ext cx="432048" cy="432048"/>
          </a:xfrm>
          <a:prstGeom prst="ellipse">
            <a:avLst/>
          </a:prstGeom>
          <a:solidFill>
            <a:srgbClr val="36B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prstClr val="white"/>
                </a:solidFill>
                <a:latin typeface="Century Gothic"/>
              </a:rPr>
              <a:t>3</a:t>
            </a:r>
            <a:endParaRPr kumimoji="0" lang="en-AE" sz="2400"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2" name="Footer Placeholder 11">
            <a:extLst>
              <a:ext uri="{FF2B5EF4-FFF2-40B4-BE49-F238E27FC236}">
                <a16:creationId xmlns:a16="http://schemas.microsoft.com/office/drawing/2014/main" id="{F983BA7D-93AF-FCDF-27FA-8938BF25B9E3}"/>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spTree>
    <p:extLst>
      <p:ext uri="{BB962C8B-B14F-4D97-AF65-F5344CB8AC3E}">
        <p14:creationId xmlns:p14="http://schemas.microsoft.com/office/powerpoint/2010/main" val="2538955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103580F-DB46-4808-8334-D6A7A61E2AF6}"/>
              </a:ext>
            </a:extLst>
          </p:cNvPr>
          <p:cNvSpPr>
            <a:spLocks noGrp="1"/>
          </p:cNvSpPr>
          <p:nvPr>
            <p:ph type="body" sz="quarter" idx="10"/>
          </p:nvPr>
        </p:nvSpPr>
        <p:spPr>
          <a:xfrm>
            <a:off x="720982" y="227682"/>
            <a:ext cx="10766723" cy="681038"/>
          </a:xfrm>
        </p:spPr>
        <p:txBody>
          <a:bodyPr>
            <a:noAutofit/>
          </a:bodyPr>
          <a:lstStyle/>
          <a:p>
            <a:r>
              <a:rPr lang="en-GB" sz="3000" dirty="0">
                <a:solidFill>
                  <a:srgbClr val="323E48"/>
                </a:solidFill>
              </a:rPr>
              <a:t>Initial restart of Rolling Mills </a:t>
            </a:r>
          </a:p>
        </p:txBody>
      </p:sp>
      <p:sp>
        <p:nvSpPr>
          <p:cNvPr id="51" name="Footer Placeholder 11">
            <a:extLst>
              <a:ext uri="{FF2B5EF4-FFF2-40B4-BE49-F238E27FC236}">
                <a16:creationId xmlns:a16="http://schemas.microsoft.com/office/drawing/2014/main" id="{27AAE53C-C16F-2945-B99D-C5BD0608F3D8}"/>
              </a:ext>
            </a:extLst>
          </p:cNvPr>
          <p:cNvSpPr>
            <a:spLocks noGrp="1"/>
          </p:cNvSpPr>
          <p:nvPr>
            <p:ph type="ftr" sz="quarter" idx="3"/>
          </p:nvPr>
        </p:nvSpPr>
        <p:spPr>
          <a:xfrm>
            <a:off x="1158244" y="6417469"/>
            <a:ext cx="4061843" cy="396650"/>
          </a:xfrm>
          <a:prstGeom prst="rect">
            <a:avLst/>
          </a:prstGeom>
        </p:spPr>
        <p:txBody>
          <a:bodyPr vert="horz" lIns="91440" tIns="45720" rIns="91440" bIns="45720" rtlCol="0" anchor="ctr"/>
          <a:lstStyle>
            <a:lvl1pPr algn="l">
              <a:defRPr sz="900" b="1">
                <a:solidFill>
                  <a:schemeClr val="bg1"/>
                </a:solidFill>
                <a:latin typeface="Century Gothic" panose="020B0502020202020204" pitchFamily="34" charset="0"/>
              </a:defRPr>
            </a:lvl1pPr>
          </a:lstStyle>
          <a:p>
            <a:r>
              <a:rPr lang="en-US" dirty="0"/>
              <a:t>LIBERTY OSTRAVA</a:t>
            </a:r>
          </a:p>
        </p:txBody>
      </p:sp>
      <p:cxnSp>
        <p:nvCxnSpPr>
          <p:cNvPr id="233" name="Straight Connector 232">
            <a:extLst>
              <a:ext uri="{FF2B5EF4-FFF2-40B4-BE49-F238E27FC236}">
                <a16:creationId xmlns:a16="http://schemas.microsoft.com/office/drawing/2014/main" id="{9E2D9563-0C6F-DA8A-87AA-F8D4BAF5141A}"/>
              </a:ext>
            </a:extLst>
          </p:cNvPr>
          <p:cNvCxnSpPr/>
          <p:nvPr/>
        </p:nvCxnSpPr>
        <p:spPr bwMode="auto">
          <a:xfrm flipH="1">
            <a:off x="6652985" y="1496356"/>
            <a:ext cx="764634" cy="957811"/>
          </a:xfrm>
          <a:prstGeom prst="line">
            <a:avLst/>
          </a:prstGeom>
          <a:solidFill>
            <a:srgbClr val="315EA5"/>
          </a:solidFill>
          <a:ln w="9525" cap="flat" cmpd="sng" algn="ctr">
            <a:solidFill>
              <a:srgbClr val="323E48"/>
            </a:solidFill>
            <a:prstDash val="solid"/>
            <a:round/>
            <a:headEnd type="none" w="med" len="med"/>
            <a:tailEnd type="none" w="med" len="med"/>
          </a:ln>
          <a:effectLst/>
        </p:spPr>
      </p:cxnSp>
      <p:sp>
        <p:nvSpPr>
          <p:cNvPr id="234" name="Oval 233">
            <a:extLst>
              <a:ext uri="{FF2B5EF4-FFF2-40B4-BE49-F238E27FC236}">
                <a16:creationId xmlns:a16="http://schemas.microsoft.com/office/drawing/2014/main" id="{5B91EFA8-1482-CBBC-3258-B2B0B23E01E5}"/>
              </a:ext>
            </a:extLst>
          </p:cNvPr>
          <p:cNvSpPr/>
          <p:nvPr/>
        </p:nvSpPr>
        <p:spPr bwMode="auto">
          <a:xfrm flipH="1">
            <a:off x="10144005" y="1454206"/>
            <a:ext cx="74060" cy="74060"/>
          </a:xfrm>
          <a:prstGeom prst="ellipse">
            <a:avLst/>
          </a:prstGeom>
          <a:solidFill>
            <a:srgbClr val="323E48"/>
          </a:solidFill>
          <a:ln w="6350">
            <a:noFill/>
            <a:miter lim="800000"/>
            <a:headEnd/>
            <a:tailEnd/>
          </a:ln>
          <a:effectLst/>
        </p:spPr>
        <p:txBody>
          <a:bodyPr lIns="108000" tIns="108000" rIns="108000" bIns="108000" rtlCol="0" anchor="ctr">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Verdana" pitchFamily="34" charset="0"/>
              <a:cs typeface="Verdana" pitchFamily="34" charset="0"/>
            </a:endParaRPr>
          </a:p>
        </p:txBody>
      </p:sp>
      <p:cxnSp>
        <p:nvCxnSpPr>
          <p:cNvPr id="273" name="Straight Connector 272">
            <a:extLst>
              <a:ext uri="{FF2B5EF4-FFF2-40B4-BE49-F238E27FC236}">
                <a16:creationId xmlns:a16="http://schemas.microsoft.com/office/drawing/2014/main" id="{B0CE80D2-95FA-AD64-438F-2C2A32E04AF8}"/>
              </a:ext>
            </a:extLst>
          </p:cNvPr>
          <p:cNvCxnSpPr>
            <a:cxnSpLocks/>
          </p:cNvCxnSpPr>
          <p:nvPr/>
        </p:nvCxnSpPr>
        <p:spPr bwMode="auto">
          <a:xfrm flipH="1" flipV="1">
            <a:off x="6652985" y="4256221"/>
            <a:ext cx="763441" cy="1204923"/>
          </a:xfrm>
          <a:prstGeom prst="line">
            <a:avLst/>
          </a:prstGeom>
          <a:solidFill>
            <a:srgbClr val="315EA5"/>
          </a:solidFill>
          <a:ln w="9525" cap="flat" cmpd="sng" algn="ctr">
            <a:solidFill>
              <a:srgbClr val="36BCEE"/>
            </a:solidFill>
            <a:prstDash val="solid"/>
            <a:round/>
            <a:headEnd type="none" w="med" len="med"/>
            <a:tailEnd type="none" w="med" len="med"/>
          </a:ln>
          <a:effectLst/>
        </p:spPr>
      </p:cxnSp>
      <p:cxnSp>
        <p:nvCxnSpPr>
          <p:cNvPr id="274" name="Straight Connector 273">
            <a:extLst>
              <a:ext uri="{FF2B5EF4-FFF2-40B4-BE49-F238E27FC236}">
                <a16:creationId xmlns:a16="http://schemas.microsoft.com/office/drawing/2014/main" id="{E56CDD3C-F4F8-365E-0A4E-A5B8EE77750E}"/>
              </a:ext>
            </a:extLst>
          </p:cNvPr>
          <p:cNvCxnSpPr>
            <a:cxnSpLocks/>
          </p:cNvCxnSpPr>
          <p:nvPr/>
        </p:nvCxnSpPr>
        <p:spPr bwMode="auto">
          <a:xfrm flipH="1">
            <a:off x="7416426" y="5461551"/>
            <a:ext cx="2721824" cy="0"/>
          </a:xfrm>
          <a:prstGeom prst="line">
            <a:avLst/>
          </a:prstGeom>
          <a:solidFill>
            <a:srgbClr val="315EA5"/>
          </a:solidFill>
          <a:ln w="9525" cap="flat" cmpd="sng" algn="ctr">
            <a:solidFill>
              <a:srgbClr val="36BCEE"/>
            </a:solidFill>
            <a:prstDash val="solid"/>
            <a:round/>
            <a:headEnd type="none" w="med" len="med"/>
            <a:tailEnd type="none" w="med" len="med"/>
          </a:ln>
          <a:effectLst/>
        </p:spPr>
      </p:cxnSp>
      <p:cxnSp>
        <p:nvCxnSpPr>
          <p:cNvPr id="260" name="Straight Connector 259">
            <a:extLst>
              <a:ext uri="{FF2B5EF4-FFF2-40B4-BE49-F238E27FC236}">
                <a16:creationId xmlns:a16="http://schemas.microsoft.com/office/drawing/2014/main" id="{59830E6A-91B3-D4C4-1A6A-66C6FB6E396C}"/>
              </a:ext>
            </a:extLst>
          </p:cNvPr>
          <p:cNvCxnSpPr>
            <a:cxnSpLocks/>
          </p:cNvCxnSpPr>
          <p:nvPr/>
        </p:nvCxnSpPr>
        <p:spPr bwMode="auto">
          <a:xfrm flipV="1">
            <a:off x="4189116" y="4260334"/>
            <a:ext cx="749189" cy="1251257"/>
          </a:xfrm>
          <a:prstGeom prst="line">
            <a:avLst/>
          </a:prstGeom>
          <a:solidFill>
            <a:srgbClr val="47254B"/>
          </a:solidFill>
          <a:ln w="9525" cap="flat" cmpd="sng" algn="ctr">
            <a:solidFill>
              <a:srgbClr val="323E48"/>
            </a:solidFill>
            <a:prstDash val="solid"/>
            <a:round/>
            <a:headEnd type="none" w="med" len="med"/>
            <a:tailEnd type="none" w="med" len="med"/>
          </a:ln>
          <a:effectLst/>
        </p:spPr>
      </p:cxnSp>
      <p:cxnSp>
        <p:nvCxnSpPr>
          <p:cNvPr id="261" name="Straight Connector 260">
            <a:extLst>
              <a:ext uri="{FF2B5EF4-FFF2-40B4-BE49-F238E27FC236}">
                <a16:creationId xmlns:a16="http://schemas.microsoft.com/office/drawing/2014/main" id="{14205FD9-8282-4F1A-F5D4-9EFB74EF088E}"/>
              </a:ext>
            </a:extLst>
          </p:cNvPr>
          <p:cNvCxnSpPr>
            <a:cxnSpLocks/>
          </p:cNvCxnSpPr>
          <p:nvPr/>
        </p:nvCxnSpPr>
        <p:spPr bwMode="auto">
          <a:xfrm>
            <a:off x="1467290" y="5511591"/>
            <a:ext cx="2721826" cy="0"/>
          </a:xfrm>
          <a:prstGeom prst="line">
            <a:avLst/>
          </a:prstGeom>
          <a:solidFill>
            <a:srgbClr val="47254B"/>
          </a:solidFill>
          <a:ln w="9525" cap="flat" cmpd="sng" algn="ctr">
            <a:solidFill>
              <a:srgbClr val="323E48"/>
            </a:solidFill>
            <a:prstDash val="solid"/>
            <a:round/>
            <a:headEnd type="none" w="med" len="med"/>
            <a:tailEnd type="none" w="med" len="med"/>
          </a:ln>
          <a:effectLst/>
        </p:spPr>
      </p:cxnSp>
      <p:sp>
        <p:nvSpPr>
          <p:cNvPr id="262" name="Oval 261">
            <a:extLst>
              <a:ext uri="{FF2B5EF4-FFF2-40B4-BE49-F238E27FC236}">
                <a16:creationId xmlns:a16="http://schemas.microsoft.com/office/drawing/2014/main" id="{EA367340-05F1-8192-DF5F-14526CEC99AE}"/>
              </a:ext>
            </a:extLst>
          </p:cNvPr>
          <p:cNvSpPr/>
          <p:nvPr/>
        </p:nvSpPr>
        <p:spPr bwMode="auto">
          <a:xfrm flipV="1">
            <a:off x="1415549" y="5474561"/>
            <a:ext cx="74060" cy="74060"/>
          </a:xfrm>
          <a:prstGeom prst="ellipse">
            <a:avLst/>
          </a:prstGeom>
          <a:solidFill>
            <a:srgbClr val="323E48"/>
          </a:solidFill>
          <a:ln w="6350">
            <a:solidFill>
              <a:srgbClr val="323E48"/>
            </a:solidFill>
            <a:miter lim="800000"/>
            <a:headEnd/>
            <a:tailEnd/>
          </a:ln>
          <a:effectLst/>
        </p:spPr>
        <p:txBody>
          <a:bodyPr lIns="108000" tIns="108000" rIns="108000" bIns="108000" rtlCol="0" anchor="ctr">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Verdana" pitchFamily="34" charset="0"/>
              <a:cs typeface="Verdana" pitchFamily="34" charset="0"/>
            </a:endParaRPr>
          </a:p>
        </p:txBody>
      </p:sp>
      <p:sp>
        <p:nvSpPr>
          <p:cNvPr id="230" name="AutoShape 27">
            <a:extLst>
              <a:ext uri="{FF2B5EF4-FFF2-40B4-BE49-F238E27FC236}">
                <a16:creationId xmlns:a16="http://schemas.microsoft.com/office/drawing/2014/main" id="{25A15475-679A-A449-A331-ADC56B6AA612}"/>
              </a:ext>
            </a:extLst>
          </p:cNvPr>
          <p:cNvSpPr>
            <a:spLocks noChangeAspect="1" noChangeArrowheads="1" noTextEdit="1"/>
          </p:cNvSpPr>
          <p:nvPr/>
        </p:nvSpPr>
        <p:spPr bwMode="auto">
          <a:xfrm>
            <a:off x="4575010" y="2053382"/>
            <a:ext cx="2452733" cy="2491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ID" sz="2100" b="0" i="0" u="none" strike="noStrike" kern="0" cap="none" spc="0" normalizeH="0" baseline="0" noProof="0" dirty="0">
              <a:ln>
                <a:noFill/>
              </a:ln>
              <a:solidFill>
                <a:prstClr val="black"/>
              </a:solidFill>
              <a:effectLst/>
              <a:uLnTx/>
              <a:uFillTx/>
              <a:latin typeface="Arial" panose="020B0604020202020204"/>
            </a:endParaRPr>
          </a:p>
        </p:txBody>
      </p:sp>
      <p:sp>
        <p:nvSpPr>
          <p:cNvPr id="282" name="Freeform 8">
            <a:extLst>
              <a:ext uri="{FF2B5EF4-FFF2-40B4-BE49-F238E27FC236}">
                <a16:creationId xmlns:a16="http://schemas.microsoft.com/office/drawing/2014/main" id="{8C9F3CF2-1D17-4ACC-D7A8-98FED3B638B6}"/>
              </a:ext>
            </a:extLst>
          </p:cNvPr>
          <p:cNvSpPr>
            <a:spLocks/>
          </p:cNvSpPr>
          <p:nvPr/>
        </p:nvSpPr>
        <p:spPr bwMode="auto">
          <a:xfrm>
            <a:off x="5669400" y="2134740"/>
            <a:ext cx="1357848" cy="1218177"/>
          </a:xfrm>
          <a:custGeom>
            <a:avLst/>
            <a:gdLst>
              <a:gd name="connsiteX0" fmla="*/ 267834 w 2282371"/>
              <a:gd name="connsiteY0" fmla="*/ 0 h 2047603"/>
              <a:gd name="connsiteX1" fmla="*/ 406290 w 2282371"/>
              <a:gd name="connsiteY1" fmla="*/ 6894 h 2047603"/>
              <a:gd name="connsiteX2" fmla="*/ 544747 w 2282371"/>
              <a:gd name="connsiteY2" fmla="*/ 130992 h 2047603"/>
              <a:gd name="connsiteX3" fmla="*/ 828582 w 2282371"/>
              <a:gd name="connsiteY3" fmla="*/ 579120 h 2047603"/>
              <a:gd name="connsiteX4" fmla="*/ 1316640 w 2282371"/>
              <a:gd name="connsiteY4" fmla="*/ 486047 h 2047603"/>
              <a:gd name="connsiteX5" fmla="*/ 1520862 w 2282371"/>
              <a:gd name="connsiteY5" fmla="*/ 465365 h 2047603"/>
              <a:gd name="connsiteX6" fmla="*/ 1666241 w 2282371"/>
              <a:gd name="connsiteY6" fmla="*/ 596356 h 2047603"/>
              <a:gd name="connsiteX7" fmla="*/ 1818543 w 2282371"/>
              <a:gd name="connsiteY7" fmla="*/ 765266 h 2047603"/>
              <a:gd name="connsiteX8" fmla="*/ 1815082 w 2282371"/>
              <a:gd name="connsiteY8" fmla="*/ 941070 h 2047603"/>
              <a:gd name="connsiteX9" fmla="*/ 1687010 w 2282371"/>
              <a:gd name="connsiteY9" fmla="*/ 1430565 h 2047603"/>
              <a:gd name="connsiteX10" fmla="*/ 2130069 w 2282371"/>
              <a:gd name="connsiteY10" fmla="*/ 1751149 h 2047603"/>
              <a:gd name="connsiteX11" fmla="*/ 2268526 w 2282371"/>
              <a:gd name="connsiteY11" fmla="*/ 1837327 h 2047603"/>
              <a:gd name="connsiteX12" fmla="*/ 2282371 w 2282371"/>
              <a:gd name="connsiteY12" fmla="*/ 2047603 h 2047603"/>
              <a:gd name="connsiteX13" fmla="*/ 1919065 w 2282371"/>
              <a:gd name="connsiteY13" fmla="*/ 2047603 h 2047603"/>
              <a:gd name="connsiteX14" fmla="*/ 1838945 w 2282371"/>
              <a:gd name="connsiteY14" fmla="*/ 2047603 h 2047603"/>
              <a:gd name="connsiteX15" fmla="*/ 1830458 w 2282371"/>
              <a:gd name="connsiteY15" fmla="*/ 2020262 h 2047603"/>
              <a:gd name="connsiteX16" fmla="*/ 1615440 w 2282371"/>
              <a:gd name="connsiteY16" fmla="*/ 1877739 h 2047603"/>
              <a:gd name="connsiteX17" fmla="*/ 1400422 w 2282371"/>
              <a:gd name="connsiteY17" fmla="*/ 2020262 h 2047603"/>
              <a:gd name="connsiteX18" fmla="*/ 1391935 w 2282371"/>
              <a:gd name="connsiteY18" fmla="*/ 2047603 h 2047603"/>
              <a:gd name="connsiteX19" fmla="*/ 1361140 w 2282371"/>
              <a:gd name="connsiteY19" fmla="*/ 2047603 h 2047603"/>
              <a:gd name="connsiteX20" fmla="*/ 1164338 w 2282371"/>
              <a:gd name="connsiteY20" fmla="*/ 2047603 h 2047603"/>
              <a:gd name="connsiteX21" fmla="*/ 267834 w 2282371"/>
              <a:gd name="connsiteY21" fmla="*/ 1154793 h 2047603"/>
              <a:gd name="connsiteX22" fmla="*/ 267834 w 2282371"/>
              <a:gd name="connsiteY22" fmla="*/ 949265 h 2047603"/>
              <a:gd name="connsiteX23" fmla="*/ 267834 w 2282371"/>
              <a:gd name="connsiteY23" fmla="*/ 889822 h 2047603"/>
              <a:gd name="connsiteX24" fmla="*/ 252994 w 2282371"/>
              <a:gd name="connsiteY24" fmla="*/ 899827 h 2047603"/>
              <a:gd name="connsiteX25" fmla="*/ 182109 w 2282371"/>
              <a:gd name="connsiteY25" fmla="*/ 914138 h 2047603"/>
              <a:gd name="connsiteX26" fmla="*/ 0 w 2282371"/>
              <a:gd name="connsiteY26" fmla="*/ 732029 h 2047603"/>
              <a:gd name="connsiteX27" fmla="*/ 182109 w 2282371"/>
              <a:gd name="connsiteY27" fmla="*/ 549920 h 2047603"/>
              <a:gd name="connsiteX28" fmla="*/ 252994 w 2282371"/>
              <a:gd name="connsiteY28" fmla="*/ 564231 h 2047603"/>
              <a:gd name="connsiteX29" fmla="*/ 267834 w 2282371"/>
              <a:gd name="connsiteY29" fmla="*/ 574237 h 2047603"/>
              <a:gd name="connsiteX30" fmla="*/ 267834 w 2282371"/>
              <a:gd name="connsiteY30" fmla="*/ 535389 h 2047603"/>
              <a:gd name="connsiteX31" fmla="*/ 267834 w 2282371"/>
              <a:gd name="connsiteY31" fmla="*/ 0 h 204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82371" h="2047603">
                <a:moveTo>
                  <a:pt x="267834" y="0"/>
                </a:moveTo>
                <a:cubicBezTo>
                  <a:pt x="267834" y="0"/>
                  <a:pt x="267834" y="0"/>
                  <a:pt x="406290" y="6894"/>
                </a:cubicBezTo>
                <a:cubicBezTo>
                  <a:pt x="406290" y="6894"/>
                  <a:pt x="523978" y="-3447"/>
                  <a:pt x="544747" y="130992"/>
                </a:cubicBezTo>
                <a:cubicBezTo>
                  <a:pt x="565515" y="261983"/>
                  <a:pt x="586283" y="489495"/>
                  <a:pt x="828582" y="579120"/>
                </a:cubicBezTo>
                <a:cubicBezTo>
                  <a:pt x="828582" y="579120"/>
                  <a:pt x="1050111" y="689429"/>
                  <a:pt x="1316640" y="486047"/>
                </a:cubicBezTo>
                <a:cubicBezTo>
                  <a:pt x="1316640" y="486047"/>
                  <a:pt x="1392790" y="365397"/>
                  <a:pt x="1520862" y="465365"/>
                </a:cubicBezTo>
                <a:cubicBezTo>
                  <a:pt x="1558938" y="496389"/>
                  <a:pt x="1666241" y="596356"/>
                  <a:pt x="1666241" y="596356"/>
                </a:cubicBezTo>
                <a:cubicBezTo>
                  <a:pt x="1666241" y="596356"/>
                  <a:pt x="1773545" y="717006"/>
                  <a:pt x="1818543" y="765266"/>
                </a:cubicBezTo>
                <a:cubicBezTo>
                  <a:pt x="1901617" y="858339"/>
                  <a:pt x="1815082" y="941070"/>
                  <a:pt x="1815082" y="941070"/>
                </a:cubicBezTo>
                <a:cubicBezTo>
                  <a:pt x="1815082" y="941070"/>
                  <a:pt x="1621243" y="1068615"/>
                  <a:pt x="1687010" y="1430565"/>
                </a:cubicBezTo>
                <a:cubicBezTo>
                  <a:pt x="1687010" y="1430565"/>
                  <a:pt x="1749315" y="1702889"/>
                  <a:pt x="2130069" y="1751149"/>
                </a:cubicBezTo>
                <a:cubicBezTo>
                  <a:pt x="2130069" y="1751149"/>
                  <a:pt x="2244296" y="1737360"/>
                  <a:pt x="2268526" y="1837327"/>
                </a:cubicBezTo>
                <a:cubicBezTo>
                  <a:pt x="2278910" y="1882140"/>
                  <a:pt x="2282371" y="1985555"/>
                  <a:pt x="2282371" y="2047603"/>
                </a:cubicBezTo>
                <a:cubicBezTo>
                  <a:pt x="2282371" y="2047603"/>
                  <a:pt x="2282371" y="2047603"/>
                  <a:pt x="1919065" y="2047603"/>
                </a:cubicBezTo>
                <a:lnTo>
                  <a:pt x="1838945" y="2047603"/>
                </a:lnTo>
                <a:lnTo>
                  <a:pt x="1830458" y="2020262"/>
                </a:lnTo>
                <a:cubicBezTo>
                  <a:pt x="1795033" y="1936507"/>
                  <a:pt x="1712100" y="1877739"/>
                  <a:pt x="1615440" y="1877739"/>
                </a:cubicBezTo>
                <a:cubicBezTo>
                  <a:pt x="1518781" y="1877739"/>
                  <a:pt x="1435848" y="1936507"/>
                  <a:pt x="1400422" y="2020262"/>
                </a:cubicBezTo>
                <a:lnTo>
                  <a:pt x="1391935" y="2047603"/>
                </a:lnTo>
                <a:lnTo>
                  <a:pt x="1361140" y="2047603"/>
                </a:lnTo>
                <a:cubicBezTo>
                  <a:pt x="1299725" y="2047603"/>
                  <a:pt x="1234215" y="2047603"/>
                  <a:pt x="1164338" y="2047603"/>
                </a:cubicBezTo>
                <a:cubicBezTo>
                  <a:pt x="1140108" y="1565003"/>
                  <a:pt x="752431" y="1182370"/>
                  <a:pt x="267834" y="1154793"/>
                </a:cubicBezTo>
                <a:cubicBezTo>
                  <a:pt x="267834" y="1154793"/>
                  <a:pt x="267834" y="1154793"/>
                  <a:pt x="267834" y="949265"/>
                </a:cubicBezTo>
                <a:lnTo>
                  <a:pt x="267834" y="889822"/>
                </a:lnTo>
                <a:lnTo>
                  <a:pt x="252994" y="899827"/>
                </a:lnTo>
                <a:cubicBezTo>
                  <a:pt x="231207" y="909042"/>
                  <a:pt x="207253" y="914138"/>
                  <a:pt x="182109" y="914138"/>
                </a:cubicBezTo>
                <a:cubicBezTo>
                  <a:pt x="81533" y="914138"/>
                  <a:pt x="0" y="832605"/>
                  <a:pt x="0" y="732029"/>
                </a:cubicBezTo>
                <a:cubicBezTo>
                  <a:pt x="0" y="631453"/>
                  <a:pt x="81533" y="549920"/>
                  <a:pt x="182109" y="549920"/>
                </a:cubicBezTo>
                <a:cubicBezTo>
                  <a:pt x="207253" y="549920"/>
                  <a:pt x="231207" y="555016"/>
                  <a:pt x="252994" y="564231"/>
                </a:cubicBezTo>
                <a:lnTo>
                  <a:pt x="267834" y="574237"/>
                </a:lnTo>
                <a:lnTo>
                  <a:pt x="267834" y="535389"/>
                </a:lnTo>
                <a:cubicBezTo>
                  <a:pt x="267834" y="392449"/>
                  <a:pt x="267834" y="216524"/>
                  <a:pt x="267834" y="0"/>
                </a:cubicBezTo>
                <a:close/>
              </a:path>
            </a:pathLst>
          </a:custGeom>
          <a:solidFill>
            <a:srgbClr val="323E48"/>
          </a:solidFill>
          <a:ln>
            <a:noFill/>
          </a:ln>
        </p:spPr>
        <p:txBody>
          <a:bodyPr vert="horz" wrap="square" lIns="91440" tIns="45720" rIns="91440" bIns="45720" numCol="1" anchor="t" anchorCtr="0" compatLnSpc="1">
            <a:prstTxWarp prst="textNoShape">
              <a:avLst/>
            </a:prstTxWarp>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ID" sz="2100" b="0" i="0" u="none" strike="noStrike" kern="0" cap="none" spc="0" normalizeH="0" baseline="0" noProof="0" dirty="0">
              <a:ln>
                <a:noFill/>
              </a:ln>
              <a:solidFill>
                <a:prstClr val="black"/>
              </a:solidFill>
              <a:effectLst/>
              <a:uLnTx/>
              <a:uFillTx/>
              <a:latin typeface="Arial" panose="020B0604020202020204"/>
            </a:endParaRPr>
          </a:p>
        </p:txBody>
      </p:sp>
      <p:sp>
        <p:nvSpPr>
          <p:cNvPr id="276" name="Freeform 9">
            <a:extLst>
              <a:ext uri="{FF2B5EF4-FFF2-40B4-BE49-F238E27FC236}">
                <a16:creationId xmlns:a16="http://schemas.microsoft.com/office/drawing/2014/main" id="{834BDFF6-05B1-943C-C3BC-865E8EECBC80}"/>
              </a:ext>
            </a:extLst>
          </p:cNvPr>
          <p:cNvSpPr>
            <a:spLocks/>
          </p:cNvSpPr>
          <p:nvPr/>
        </p:nvSpPr>
        <p:spPr bwMode="auto">
          <a:xfrm>
            <a:off x="5828742" y="3287548"/>
            <a:ext cx="1198505" cy="1340215"/>
          </a:xfrm>
          <a:custGeom>
            <a:avLst/>
            <a:gdLst>
              <a:gd name="connsiteX0" fmla="*/ 1347333 w 2014537"/>
              <a:gd name="connsiteY0" fmla="*/ 0 h 2252734"/>
              <a:gd name="connsiteX1" fmla="*/ 1529442 w 2014537"/>
              <a:gd name="connsiteY1" fmla="*/ 182109 h 2252734"/>
              <a:gd name="connsiteX2" fmla="*/ 1526962 w 2014537"/>
              <a:gd name="connsiteY2" fmla="*/ 206715 h 2252734"/>
              <a:gd name="connsiteX3" fmla="*/ 1645499 w 2014537"/>
              <a:gd name="connsiteY3" fmla="*/ 206715 h 2252734"/>
              <a:gd name="connsiteX4" fmla="*/ 2014537 w 2014537"/>
              <a:gd name="connsiteY4" fmla="*/ 206715 h 2252734"/>
              <a:gd name="connsiteX5" fmla="*/ 2000692 w 2014537"/>
              <a:gd name="connsiteY5" fmla="*/ 416828 h 2252734"/>
              <a:gd name="connsiteX6" fmla="*/ 1862235 w 2014537"/>
              <a:gd name="connsiteY6" fmla="*/ 502940 h 2252734"/>
              <a:gd name="connsiteX7" fmla="*/ 1419176 w 2014537"/>
              <a:gd name="connsiteY7" fmla="*/ 823276 h 2252734"/>
              <a:gd name="connsiteX8" fmla="*/ 1547248 w 2014537"/>
              <a:gd name="connsiteY8" fmla="*/ 1312392 h 2252734"/>
              <a:gd name="connsiteX9" fmla="*/ 1550709 w 2014537"/>
              <a:gd name="connsiteY9" fmla="*/ 1488060 h 2252734"/>
              <a:gd name="connsiteX10" fmla="*/ 1398407 w 2014537"/>
              <a:gd name="connsiteY10" fmla="*/ 1656839 h 2252734"/>
              <a:gd name="connsiteX11" fmla="*/ 1253028 w 2014537"/>
              <a:gd name="connsiteY11" fmla="*/ 1787730 h 2252734"/>
              <a:gd name="connsiteX12" fmla="*/ 1048806 w 2014537"/>
              <a:gd name="connsiteY12" fmla="*/ 1767063 h 2252734"/>
              <a:gd name="connsiteX13" fmla="*/ 560748 w 2014537"/>
              <a:gd name="connsiteY13" fmla="*/ 1674062 h 2252734"/>
              <a:gd name="connsiteX14" fmla="*/ 276913 w 2014537"/>
              <a:gd name="connsiteY14" fmla="*/ 2121844 h 2252734"/>
              <a:gd name="connsiteX15" fmla="*/ 138456 w 2014537"/>
              <a:gd name="connsiteY15" fmla="*/ 2245845 h 2252734"/>
              <a:gd name="connsiteX16" fmla="*/ 0 w 2014537"/>
              <a:gd name="connsiteY16" fmla="*/ 2252734 h 2252734"/>
              <a:gd name="connsiteX17" fmla="*/ 0 w 2014537"/>
              <a:gd name="connsiteY17" fmla="*/ 1877773 h 2252734"/>
              <a:gd name="connsiteX18" fmla="*/ 0 w 2014537"/>
              <a:gd name="connsiteY18" fmla="*/ 1824022 h 2252734"/>
              <a:gd name="connsiteX19" fmla="*/ 27186 w 2014537"/>
              <a:gd name="connsiteY19" fmla="*/ 1821281 h 2252734"/>
              <a:gd name="connsiteX20" fmla="*/ 213512 w 2014537"/>
              <a:gd name="connsiteY20" fmla="*/ 1592666 h 2252734"/>
              <a:gd name="connsiteX21" fmla="*/ 27186 w 2014537"/>
              <a:gd name="connsiteY21" fmla="*/ 1364051 h 2252734"/>
              <a:gd name="connsiteX22" fmla="*/ 0 w 2014537"/>
              <a:gd name="connsiteY22" fmla="*/ 1361311 h 2252734"/>
              <a:gd name="connsiteX23" fmla="*/ 0 w 2014537"/>
              <a:gd name="connsiteY23" fmla="*/ 1301950 h 2252734"/>
              <a:gd name="connsiteX24" fmla="*/ 0 w 2014537"/>
              <a:gd name="connsiteY24" fmla="*/ 1098834 h 2252734"/>
              <a:gd name="connsiteX25" fmla="*/ 896504 w 2014537"/>
              <a:gd name="connsiteY25" fmla="*/ 206715 h 2252734"/>
              <a:gd name="connsiteX26" fmla="*/ 1095490 w 2014537"/>
              <a:gd name="connsiteY26" fmla="*/ 206715 h 2252734"/>
              <a:gd name="connsiteX27" fmla="*/ 1167705 w 2014537"/>
              <a:gd name="connsiteY27" fmla="*/ 206715 h 2252734"/>
              <a:gd name="connsiteX28" fmla="*/ 1165224 w 2014537"/>
              <a:gd name="connsiteY28" fmla="*/ 182109 h 2252734"/>
              <a:gd name="connsiteX29" fmla="*/ 1347333 w 2014537"/>
              <a:gd name="connsiteY29" fmla="*/ 0 h 225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14537" h="2252734">
                <a:moveTo>
                  <a:pt x="1347333" y="0"/>
                </a:moveTo>
                <a:cubicBezTo>
                  <a:pt x="1447909" y="0"/>
                  <a:pt x="1529442" y="81533"/>
                  <a:pt x="1529442" y="182109"/>
                </a:cubicBezTo>
                <a:lnTo>
                  <a:pt x="1526962" y="206715"/>
                </a:lnTo>
                <a:lnTo>
                  <a:pt x="1645499" y="206715"/>
                </a:lnTo>
                <a:cubicBezTo>
                  <a:pt x="1752498" y="206715"/>
                  <a:pt x="1874783" y="206715"/>
                  <a:pt x="2014537" y="206715"/>
                </a:cubicBezTo>
                <a:cubicBezTo>
                  <a:pt x="2014537" y="268716"/>
                  <a:pt x="2011076" y="372050"/>
                  <a:pt x="2000692" y="416828"/>
                </a:cubicBezTo>
                <a:cubicBezTo>
                  <a:pt x="1976462" y="516718"/>
                  <a:pt x="1862235" y="502940"/>
                  <a:pt x="1862235" y="502940"/>
                </a:cubicBezTo>
                <a:cubicBezTo>
                  <a:pt x="1481481" y="551163"/>
                  <a:pt x="1419176" y="823276"/>
                  <a:pt x="1419176" y="823276"/>
                </a:cubicBezTo>
                <a:cubicBezTo>
                  <a:pt x="1353409" y="1184946"/>
                  <a:pt x="1547248" y="1312392"/>
                  <a:pt x="1547248" y="1312392"/>
                </a:cubicBezTo>
                <a:cubicBezTo>
                  <a:pt x="1547248" y="1312392"/>
                  <a:pt x="1633783" y="1395059"/>
                  <a:pt x="1550709" y="1488060"/>
                </a:cubicBezTo>
                <a:cubicBezTo>
                  <a:pt x="1505711" y="1536283"/>
                  <a:pt x="1398407" y="1656839"/>
                  <a:pt x="1398407" y="1656839"/>
                </a:cubicBezTo>
                <a:cubicBezTo>
                  <a:pt x="1398407" y="1656839"/>
                  <a:pt x="1291104" y="1756729"/>
                  <a:pt x="1253028" y="1787730"/>
                </a:cubicBezTo>
                <a:cubicBezTo>
                  <a:pt x="1124956" y="1887619"/>
                  <a:pt x="1048806" y="1767063"/>
                  <a:pt x="1048806" y="1767063"/>
                </a:cubicBezTo>
                <a:cubicBezTo>
                  <a:pt x="782277" y="1563839"/>
                  <a:pt x="560748" y="1674062"/>
                  <a:pt x="560748" y="1674062"/>
                </a:cubicBezTo>
                <a:cubicBezTo>
                  <a:pt x="318449" y="1763618"/>
                  <a:pt x="297681" y="1990954"/>
                  <a:pt x="276913" y="2121844"/>
                </a:cubicBezTo>
                <a:cubicBezTo>
                  <a:pt x="256144" y="2256178"/>
                  <a:pt x="138456" y="2245845"/>
                  <a:pt x="138456" y="2245845"/>
                </a:cubicBezTo>
                <a:cubicBezTo>
                  <a:pt x="138456" y="2245845"/>
                  <a:pt x="138456" y="2245845"/>
                  <a:pt x="0" y="2252734"/>
                </a:cubicBezTo>
                <a:cubicBezTo>
                  <a:pt x="0" y="2252734"/>
                  <a:pt x="0" y="2252734"/>
                  <a:pt x="0" y="1877773"/>
                </a:cubicBezTo>
                <a:lnTo>
                  <a:pt x="0" y="1824022"/>
                </a:lnTo>
                <a:lnTo>
                  <a:pt x="27186" y="1821281"/>
                </a:lnTo>
                <a:cubicBezTo>
                  <a:pt x="133522" y="1799522"/>
                  <a:pt x="213512" y="1705435"/>
                  <a:pt x="213512" y="1592666"/>
                </a:cubicBezTo>
                <a:cubicBezTo>
                  <a:pt x="213512" y="1479897"/>
                  <a:pt x="133522" y="1385811"/>
                  <a:pt x="27186" y="1364051"/>
                </a:cubicBezTo>
                <a:lnTo>
                  <a:pt x="0" y="1361311"/>
                </a:lnTo>
                <a:lnTo>
                  <a:pt x="0" y="1301950"/>
                </a:lnTo>
                <a:cubicBezTo>
                  <a:pt x="0" y="1238564"/>
                  <a:pt x="0" y="1170953"/>
                  <a:pt x="0" y="1098834"/>
                </a:cubicBezTo>
                <a:cubicBezTo>
                  <a:pt x="484597" y="1071279"/>
                  <a:pt x="872274" y="688942"/>
                  <a:pt x="896504" y="206715"/>
                </a:cubicBezTo>
                <a:cubicBezTo>
                  <a:pt x="896504" y="206715"/>
                  <a:pt x="896504" y="206715"/>
                  <a:pt x="1095490" y="206715"/>
                </a:cubicBezTo>
                <a:lnTo>
                  <a:pt x="1167705" y="206715"/>
                </a:lnTo>
                <a:lnTo>
                  <a:pt x="1165224" y="182109"/>
                </a:lnTo>
                <a:cubicBezTo>
                  <a:pt x="1165224" y="81533"/>
                  <a:pt x="1246757" y="0"/>
                  <a:pt x="1347333" y="0"/>
                </a:cubicBezTo>
                <a:close/>
              </a:path>
            </a:pathLst>
          </a:custGeom>
          <a:solidFill>
            <a:srgbClr val="36BCEE"/>
          </a:solidFill>
          <a:ln>
            <a:noFill/>
          </a:ln>
        </p:spPr>
        <p:txBody>
          <a:bodyPr vert="horz" wrap="square" lIns="91440" tIns="45720" rIns="91440" bIns="45720" numCol="1" anchor="t" anchorCtr="0" compatLnSpc="1">
            <a:prstTxWarp prst="textNoShape">
              <a:avLst/>
            </a:prstTxWarp>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ID" sz="2100" b="0" i="0" u="none" strike="noStrike" kern="0" cap="none" spc="0" normalizeH="0" baseline="0" noProof="0" dirty="0">
              <a:ln>
                <a:noFill/>
              </a:ln>
              <a:solidFill>
                <a:prstClr val="black"/>
              </a:solidFill>
              <a:effectLst/>
              <a:uLnTx/>
              <a:uFillTx/>
              <a:latin typeface="Arial" panose="020B0604020202020204"/>
            </a:endParaRPr>
          </a:p>
        </p:txBody>
      </p:sp>
      <p:sp>
        <p:nvSpPr>
          <p:cNvPr id="264" name="Freeform 6">
            <a:extLst>
              <a:ext uri="{FF2B5EF4-FFF2-40B4-BE49-F238E27FC236}">
                <a16:creationId xmlns:a16="http://schemas.microsoft.com/office/drawing/2014/main" id="{E95B5A75-09B3-C34C-32AC-ADD219708893}"/>
              </a:ext>
            </a:extLst>
          </p:cNvPr>
          <p:cNvSpPr>
            <a:spLocks/>
          </p:cNvSpPr>
          <p:nvPr/>
        </p:nvSpPr>
        <p:spPr bwMode="auto">
          <a:xfrm>
            <a:off x="4572625" y="3410529"/>
            <a:ext cx="1349820" cy="1217234"/>
          </a:xfrm>
          <a:custGeom>
            <a:avLst/>
            <a:gdLst>
              <a:gd name="connsiteX0" fmla="*/ 0 w 2268878"/>
              <a:gd name="connsiteY0" fmla="*/ 0 h 2046019"/>
              <a:gd name="connsiteX1" fmla="*/ 364431 w 2268878"/>
              <a:gd name="connsiteY1" fmla="*/ 0 h 2046019"/>
              <a:gd name="connsiteX2" fmla="*/ 458773 w 2268878"/>
              <a:gd name="connsiteY2" fmla="*/ 0 h 2046019"/>
              <a:gd name="connsiteX3" fmla="*/ 461388 w 2268878"/>
              <a:gd name="connsiteY3" fmla="*/ 25948 h 2046019"/>
              <a:gd name="connsiteX4" fmla="*/ 690003 w 2268878"/>
              <a:gd name="connsiteY4" fmla="*/ 212274 h 2046019"/>
              <a:gd name="connsiteX5" fmla="*/ 918618 w 2268878"/>
              <a:gd name="connsiteY5" fmla="*/ 25948 h 2046019"/>
              <a:gd name="connsiteX6" fmla="*/ 921234 w 2268878"/>
              <a:gd name="connsiteY6" fmla="*/ 0 h 2046019"/>
              <a:gd name="connsiteX7" fmla="*/ 924084 w 2268878"/>
              <a:gd name="connsiteY7" fmla="*/ 0 h 2046019"/>
              <a:gd name="connsiteX8" fmla="*/ 1121495 w 2268878"/>
              <a:gd name="connsiteY8" fmla="*/ 0 h 2046019"/>
              <a:gd name="connsiteX9" fmla="*/ 2014537 w 2268878"/>
              <a:gd name="connsiteY9" fmla="*/ 892119 h 2046019"/>
              <a:gd name="connsiteX10" fmla="*/ 2014537 w 2268878"/>
              <a:gd name="connsiteY10" fmla="*/ 1173833 h 2046019"/>
              <a:gd name="connsiteX11" fmla="*/ 2014537 w 2268878"/>
              <a:gd name="connsiteY11" fmla="*/ 1216956 h 2046019"/>
              <a:gd name="connsiteX12" fmla="*/ 2015884 w 2268878"/>
              <a:gd name="connsiteY12" fmla="*/ 1216048 h 2046019"/>
              <a:gd name="connsiteX13" fmla="*/ 2086769 w 2268878"/>
              <a:gd name="connsiteY13" fmla="*/ 1201737 h 2046019"/>
              <a:gd name="connsiteX14" fmla="*/ 2268878 w 2268878"/>
              <a:gd name="connsiteY14" fmla="*/ 1383846 h 2046019"/>
              <a:gd name="connsiteX15" fmla="*/ 2086769 w 2268878"/>
              <a:gd name="connsiteY15" fmla="*/ 1565955 h 2046019"/>
              <a:gd name="connsiteX16" fmla="*/ 2015884 w 2268878"/>
              <a:gd name="connsiteY16" fmla="*/ 1551644 h 2046019"/>
              <a:gd name="connsiteX17" fmla="*/ 2014537 w 2268878"/>
              <a:gd name="connsiteY17" fmla="*/ 1550736 h 2046019"/>
              <a:gd name="connsiteX18" fmla="*/ 2014537 w 2268878"/>
              <a:gd name="connsiteY18" fmla="*/ 1665142 h 2046019"/>
              <a:gd name="connsiteX19" fmla="*/ 2014537 w 2268878"/>
              <a:gd name="connsiteY19" fmla="*/ 2046019 h 2046019"/>
              <a:gd name="connsiteX20" fmla="*/ 1876081 w 2268878"/>
              <a:gd name="connsiteY20" fmla="*/ 2039130 h 2046019"/>
              <a:gd name="connsiteX21" fmla="*/ 1737625 w 2268878"/>
              <a:gd name="connsiteY21" fmla="*/ 1915129 h 2046019"/>
              <a:gd name="connsiteX22" fmla="*/ 1453790 w 2268878"/>
              <a:gd name="connsiteY22" fmla="*/ 1467347 h 2046019"/>
              <a:gd name="connsiteX23" fmla="*/ 965732 w 2268878"/>
              <a:gd name="connsiteY23" fmla="*/ 1560348 h 2046019"/>
              <a:gd name="connsiteX24" fmla="*/ 761509 w 2268878"/>
              <a:gd name="connsiteY24" fmla="*/ 1581015 h 2046019"/>
              <a:gd name="connsiteX25" fmla="*/ 616130 w 2268878"/>
              <a:gd name="connsiteY25" fmla="*/ 1450124 h 2046019"/>
              <a:gd name="connsiteX26" fmla="*/ 463828 w 2268878"/>
              <a:gd name="connsiteY26" fmla="*/ 1281345 h 2046019"/>
              <a:gd name="connsiteX27" fmla="*/ 467290 w 2268878"/>
              <a:gd name="connsiteY27" fmla="*/ 1105677 h 2046019"/>
              <a:gd name="connsiteX28" fmla="*/ 595362 w 2268878"/>
              <a:gd name="connsiteY28" fmla="*/ 616561 h 2046019"/>
              <a:gd name="connsiteX29" fmla="*/ 152302 w 2268878"/>
              <a:gd name="connsiteY29" fmla="*/ 296225 h 2046019"/>
              <a:gd name="connsiteX30" fmla="*/ 13846 w 2268878"/>
              <a:gd name="connsiteY30" fmla="*/ 210113 h 2046019"/>
              <a:gd name="connsiteX31" fmla="*/ 0 w 2268878"/>
              <a:gd name="connsiteY31" fmla="*/ 0 h 204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68878" h="2046019">
                <a:moveTo>
                  <a:pt x="0" y="0"/>
                </a:moveTo>
                <a:cubicBezTo>
                  <a:pt x="0" y="0"/>
                  <a:pt x="0" y="0"/>
                  <a:pt x="364431" y="0"/>
                </a:cubicBezTo>
                <a:lnTo>
                  <a:pt x="458773" y="0"/>
                </a:lnTo>
                <a:lnTo>
                  <a:pt x="461388" y="25948"/>
                </a:lnTo>
                <a:cubicBezTo>
                  <a:pt x="483148" y="132284"/>
                  <a:pt x="577234" y="212274"/>
                  <a:pt x="690003" y="212274"/>
                </a:cubicBezTo>
                <a:cubicBezTo>
                  <a:pt x="802772" y="212274"/>
                  <a:pt x="896859" y="132284"/>
                  <a:pt x="918618" y="25948"/>
                </a:cubicBezTo>
                <a:lnTo>
                  <a:pt x="921234" y="0"/>
                </a:lnTo>
                <a:lnTo>
                  <a:pt x="924084" y="0"/>
                </a:lnTo>
                <a:cubicBezTo>
                  <a:pt x="985689" y="0"/>
                  <a:pt x="1051402" y="0"/>
                  <a:pt x="1121495" y="0"/>
                </a:cubicBezTo>
                <a:cubicBezTo>
                  <a:pt x="1145725" y="482227"/>
                  <a:pt x="1533402" y="864564"/>
                  <a:pt x="2014537" y="892119"/>
                </a:cubicBezTo>
                <a:cubicBezTo>
                  <a:pt x="2014537" y="892119"/>
                  <a:pt x="2014537" y="892119"/>
                  <a:pt x="2014537" y="1173833"/>
                </a:cubicBezTo>
                <a:lnTo>
                  <a:pt x="2014537" y="1216956"/>
                </a:lnTo>
                <a:lnTo>
                  <a:pt x="2015884" y="1216048"/>
                </a:lnTo>
                <a:cubicBezTo>
                  <a:pt x="2037671" y="1206833"/>
                  <a:pt x="2061625" y="1201737"/>
                  <a:pt x="2086769" y="1201737"/>
                </a:cubicBezTo>
                <a:cubicBezTo>
                  <a:pt x="2187345" y="1201737"/>
                  <a:pt x="2268878" y="1283270"/>
                  <a:pt x="2268878" y="1383846"/>
                </a:cubicBezTo>
                <a:cubicBezTo>
                  <a:pt x="2268878" y="1484422"/>
                  <a:pt x="2187345" y="1565955"/>
                  <a:pt x="2086769" y="1565955"/>
                </a:cubicBezTo>
                <a:cubicBezTo>
                  <a:pt x="2061625" y="1565955"/>
                  <a:pt x="2037671" y="1560859"/>
                  <a:pt x="2015884" y="1551644"/>
                </a:cubicBezTo>
                <a:lnTo>
                  <a:pt x="2014537" y="1550736"/>
                </a:lnTo>
                <a:lnTo>
                  <a:pt x="2014537" y="1665142"/>
                </a:lnTo>
                <a:cubicBezTo>
                  <a:pt x="2014537" y="1775574"/>
                  <a:pt x="2014537" y="1901781"/>
                  <a:pt x="2014537" y="2046019"/>
                </a:cubicBezTo>
                <a:cubicBezTo>
                  <a:pt x="2014537" y="2046019"/>
                  <a:pt x="2014537" y="2046019"/>
                  <a:pt x="1876081" y="2039130"/>
                </a:cubicBezTo>
                <a:cubicBezTo>
                  <a:pt x="1876081" y="2039130"/>
                  <a:pt x="1758393" y="2049463"/>
                  <a:pt x="1737625" y="1915129"/>
                </a:cubicBezTo>
                <a:cubicBezTo>
                  <a:pt x="1720318" y="1784239"/>
                  <a:pt x="1696088" y="1556903"/>
                  <a:pt x="1453790" y="1467347"/>
                </a:cubicBezTo>
                <a:cubicBezTo>
                  <a:pt x="1453790" y="1467347"/>
                  <a:pt x="1232260" y="1357124"/>
                  <a:pt x="965732" y="1560348"/>
                </a:cubicBezTo>
                <a:cubicBezTo>
                  <a:pt x="965732" y="1560348"/>
                  <a:pt x="889581" y="1680904"/>
                  <a:pt x="761509" y="1581015"/>
                </a:cubicBezTo>
                <a:cubicBezTo>
                  <a:pt x="723434" y="1550014"/>
                  <a:pt x="616130" y="1450124"/>
                  <a:pt x="616130" y="1450124"/>
                </a:cubicBezTo>
                <a:cubicBezTo>
                  <a:pt x="616130" y="1450124"/>
                  <a:pt x="508827" y="1329568"/>
                  <a:pt x="463828" y="1281345"/>
                </a:cubicBezTo>
                <a:cubicBezTo>
                  <a:pt x="380755" y="1188344"/>
                  <a:pt x="467290" y="1105677"/>
                  <a:pt x="467290" y="1105677"/>
                </a:cubicBezTo>
                <a:cubicBezTo>
                  <a:pt x="467290" y="1105677"/>
                  <a:pt x="661128" y="978231"/>
                  <a:pt x="595362" y="616561"/>
                </a:cubicBezTo>
                <a:cubicBezTo>
                  <a:pt x="595362" y="616561"/>
                  <a:pt x="536518" y="344448"/>
                  <a:pt x="152302" y="296225"/>
                </a:cubicBezTo>
                <a:cubicBezTo>
                  <a:pt x="152302" y="296225"/>
                  <a:pt x="38076" y="310003"/>
                  <a:pt x="13846" y="210113"/>
                </a:cubicBezTo>
                <a:cubicBezTo>
                  <a:pt x="6923" y="165335"/>
                  <a:pt x="0" y="62001"/>
                  <a:pt x="0" y="0"/>
                </a:cubicBezTo>
                <a:close/>
              </a:path>
            </a:pathLst>
          </a:custGeom>
          <a:solidFill>
            <a:srgbClr val="323E48"/>
          </a:solidFill>
          <a:ln>
            <a:noFill/>
          </a:ln>
        </p:spPr>
        <p:txBody>
          <a:bodyPr vert="horz" wrap="square" lIns="91440" tIns="45720" rIns="91440" bIns="45720" numCol="1" anchor="t" anchorCtr="0" compatLnSpc="1">
            <a:prstTxWarp prst="textNoShape">
              <a:avLst/>
            </a:prstTxWarp>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ID" sz="2100" b="0" i="0" u="none" strike="noStrike" kern="0" cap="none" spc="0" normalizeH="0" baseline="0" noProof="0" dirty="0">
              <a:ln>
                <a:noFill/>
              </a:ln>
              <a:solidFill>
                <a:prstClr val="black"/>
              </a:solidFill>
              <a:effectLst/>
              <a:uLnTx/>
              <a:uFillTx/>
              <a:latin typeface="Arial" panose="020B0604020202020204"/>
            </a:endParaRPr>
          </a:p>
        </p:txBody>
      </p:sp>
      <p:sp>
        <p:nvSpPr>
          <p:cNvPr id="253" name="Freeform 7">
            <a:extLst>
              <a:ext uri="{FF2B5EF4-FFF2-40B4-BE49-F238E27FC236}">
                <a16:creationId xmlns:a16="http://schemas.microsoft.com/office/drawing/2014/main" id="{C11A7106-D6DC-A527-E0C0-1AAAEE230EB4}"/>
              </a:ext>
            </a:extLst>
          </p:cNvPr>
          <p:cNvSpPr>
            <a:spLocks/>
          </p:cNvSpPr>
          <p:nvPr/>
        </p:nvSpPr>
        <p:spPr bwMode="auto">
          <a:xfrm>
            <a:off x="4572625" y="2134740"/>
            <a:ext cx="1198505" cy="1369491"/>
          </a:xfrm>
          <a:custGeom>
            <a:avLst/>
            <a:gdLst>
              <a:gd name="connsiteX0" fmla="*/ 2014537 w 2014537"/>
              <a:gd name="connsiteY0" fmla="*/ 0 h 2301944"/>
              <a:gd name="connsiteX1" fmla="*/ 2014537 w 2014537"/>
              <a:gd name="connsiteY1" fmla="*/ 487178 h 2301944"/>
              <a:gd name="connsiteX2" fmla="*/ 2014537 w 2014537"/>
              <a:gd name="connsiteY2" fmla="*/ 501852 h 2301944"/>
              <a:gd name="connsiteX3" fmla="*/ 1781181 w 2014537"/>
              <a:gd name="connsiteY3" fmla="*/ 735208 h 2301944"/>
              <a:gd name="connsiteX4" fmla="*/ 2014537 w 2014537"/>
              <a:gd name="connsiteY4" fmla="*/ 968564 h 2301944"/>
              <a:gd name="connsiteX5" fmla="*/ 2014537 w 2014537"/>
              <a:gd name="connsiteY5" fmla="*/ 1154793 h 2301944"/>
              <a:gd name="connsiteX6" fmla="*/ 1121495 w 2014537"/>
              <a:gd name="connsiteY6" fmla="*/ 2047603 h 2301944"/>
              <a:gd name="connsiteX7" fmla="*/ 921893 w 2014537"/>
              <a:gd name="connsiteY7" fmla="*/ 2047603 h 2301944"/>
              <a:gd name="connsiteX8" fmla="*/ 856815 w 2014537"/>
              <a:gd name="connsiteY8" fmla="*/ 2047603 h 2301944"/>
              <a:gd name="connsiteX9" fmla="*/ 857723 w 2014537"/>
              <a:gd name="connsiteY9" fmla="*/ 2048950 h 2301944"/>
              <a:gd name="connsiteX10" fmla="*/ 872034 w 2014537"/>
              <a:gd name="connsiteY10" fmla="*/ 2119835 h 2301944"/>
              <a:gd name="connsiteX11" fmla="*/ 689925 w 2014537"/>
              <a:gd name="connsiteY11" fmla="*/ 2301944 h 2301944"/>
              <a:gd name="connsiteX12" fmla="*/ 507816 w 2014537"/>
              <a:gd name="connsiteY12" fmla="*/ 2119835 h 2301944"/>
              <a:gd name="connsiteX13" fmla="*/ 522127 w 2014537"/>
              <a:gd name="connsiteY13" fmla="*/ 2048950 h 2301944"/>
              <a:gd name="connsiteX14" fmla="*/ 523035 w 2014537"/>
              <a:gd name="connsiteY14" fmla="*/ 2047603 h 2301944"/>
              <a:gd name="connsiteX15" fmla="*/ 519951 w 2014537"/>
              <a:gd name="connsiteY15" fmla="*/ 2047603 h 2301944"/>
              <a:gd name="connsiteX16" fmla="*/ 0 w 2014537"/>
              <a:gd name="connsiteY16" fmla="*/ 2047603 h 2301944"/>
              <a:gd name="connsiteX17" fmla="*/ 13846 w 2014537"/>
              <a:gd name="connsiteY17" fmla="*/ 1837327 h 2301944"/>
              <a:gd name="connsiteX18" fmla="*/ 152302 w 2014537"/>
              <a:gd name="connsiteY18" fmla="*/ 1751149 h 2301944"/>
              <a:gd name="connsiteX19" fmla="*/ 595362 w 2014537"/>
              <a:gd name="connsiteY19" fmla="*/ 1430565 h 2301944"/>
              <a:gd name="connsiteX20" fmla="*/ 467290 w 2014537"/>
              <a:gd name="connsiteY20" fmla="*/ 941070 h 2301944"/>
              <a:gd name="connsiteX21" fmla="*/ 463828 w 2014537"/>
              <a:gd name="connsiteY21" fmla="*/ 765266 h 2301944"/>
              <a:gd name="connsiteX22" fmla="*/ 616130 w 2014537"/>
              <a:gd name="connsiteY22" fmla="*/ 596356 h 2301944"/>
              <a:gd name="connsiteX23" fmla="*/ 761509 w 2014537"/>
              <a:gd name="connsiteY23" fmla="*/ 465365 h 2301944"/>
              <a:gd name="connsiteX24" fmla="*/ 965732 w 2014537"/>
              <a:gd name="connsiteY24" fmla="*/ 486047 h 2301944"/>
              <a:gd name="connsiteX25" fmla="*/ 1453790 w 2014537"/>
              <a:gd name="connsiteY25" fmla="*/ 579120 h 2301944"/>
              <a:gd name="connsiteX26" fmla="*/ 1737625 w 2014537"/>
              <a:gd name="connsiteY26" fmla="*/ 130992 h 2301944"/>
              <a:gd name="connsiteX27" fmla="*/ 1876081 w 2014537"/>
              <a:gd name="connsiteY27" fmla="*/ 6894 h 2301944"/>
              <a:gd name="connsiteX28" fmla="*/ 2014537 w 2014537"/>
              <a:gd name="connsiteY28" fmla="*/ 0 h 230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14537" h="2301944">
                <a:moveTo>
                  <a:pt x="2014537" y="0"/>
                </a:moveTo>
                <a:cubicBezTo>
                  <a:pt x="2014537" y="0"/>
                  <a:pt x="2014537" y="0"/>
                  <a:pt x="2014537" y="487178"/>
                </a:cubicBezTo>
                <a:lnTo>
                  <a:pt x="2014537" y="501852"/>
                </a:lnTo>
                <a:cubicBezTo>
                  <a:pt x="1885658" y="501852"/>
                  <a:pt x="1781181" y="606329"/>
                  <a:pt x="1781181" y="735208"/>
                </a:cubicBezTo>
                <a:cubicBezTo>
                  <a:pt x="1781181" y="864087"/>
                  <a:pt x="1885658" y="968564"/>
                  <a:pt x="2014537" y="968564"/>
                </a:cubicBezTo>
                <a:lnTo>
                  <a:pt x="2014537" y="1154793"/>
                </a:lnTo>
                <a:cubicBezTo>
                  <a:pt x="1533402" y="1182370"/>
                  <a:pt x="1145725" y="1565003"/>
                  <a:pt x="1121495" y="2047603"/>
                </a:cubicBezTo>
                <a:cubicBezTo>
                  <a:pt x="1121495" y="2047603"/>
                  <a:pt x="1121495" y="2047603"/>
                  <a:pt x="921893" y="2047603"/>
                </a:cubicBezTo>
                <a:lnTo>
                  <a:pt x="856815" y="2047603"/>
                </a:lnTo>
                <a:lnTo>
                  <a:pt x="857723" y="2048950"/>
                </a:lnTo>
                <a:cubicBezTo>
                  <a:pt x="866938" y="2070737"/>
                  <a:pt x="872034" y="2094691"/>
                  <a:pt x="872034" y="2119835"/>
                </a:cubicBezTo>
                <a:cubicBezTo>
                  <a:pt x="872034" y="2220411"/>
                  <a:pt x="790501" y="2301944"/>
                  <a:pt x="689925" y="2301944"/>
                </a:cubicBezTo>
                <a:cubicBezTo>
                  <a:pt x="589349" y="2301944"/>
                  <a:pt x="507816" y="2220411"/>
                  <a:pt x="507816" y="2119835"/>
                </a:cubicBezTo>
                <a:cubicBezTo>
                  <a:pt x="507816" y="2094691"/>
                  <a:pt x="512912" y="2070737"/>
                  <a:pt x="522127" y="2048950"/>
                </a:cubicBezTo>
                <a:lnTo>
                  <a:pt x="523035" y="2047603"/>
                </a:lnTo>
                <a:lnTo>
                  <a:pt x="519951" y="2047603"/>
                </a:lnTo>
                <a:cubicBezTo>
                  <a:pt x="381133" y="2047603"/>
                  <a:pt x="210281" y="2047603"/>
                  <a:pt x="0" y="2047603"/>
                </a:cubicBezTo>
                <a:cubicBezTo>
                  <a:pt x="0" y="1985555"/>
                  <a:pt x="6923" y="1882140"/>
                  <a:pt x="13846" y="1837327"/>
                </a:cubicBezTo>
                <a:cubicBezTo>
                  <a:pt x="38076" y="1737360"/>
                  <a:pt x="152302" y="1751149"/>
                  <a:pt x="152302" y="1751149"/>
                </a:cubicBezTo>
                <a:cubicBezTo>
                  <a:pt x="536518" y="1702889"/>
                  <a:pt x="595362" y="1430565"/>
                  <a:pt x="595362" y="1430565"/>
                </a:cubicBezTo>
                <a:cubicBezTo>
                  <a:pt x="661128" y="1068615"/>
                  <a:pt x="467290" y="941070"/>
                  <a:pt x="467290" y="941070"/>
                </a:cubicBezTo>
                <a:cubicBezTo>
                  <a:pt x="467290" y="941070"/>
                  <a:pt x="380755" y="858339"/>
                  <a:pt x="463828" y="765266"/>
                </a:cubicBezTo>
                <a:cubicBezTo>
                  <a:pt x="508827" y="717006"/>
                  <a:pt x="616130" y="596356"/>
                  <a:pt x="616130" y="596356"/>
                </a:cubicBezTo>
                <a:cubicBezTo>
                  <a:pt x="616130" y="596356"/>
                  <a:pt x="723434" y="496389"/>
                  <a:pt x="761509" y="465365"/>
                </a:cubicBezTo>
                <a:cubicBezTo>
                  <a:pt x="889581" y="365397"/>
                  <a:pt x="965732" y="486047"/>
                  <a:pt x="965732" y="486047"/>
                </a:cubicBezTo>
                <a:cubicBezTo>
                  <a:pt x="1232260" y="689429"/>
                  <a:pt x="1453790" y="579120"/>
                  <a:pt x="1453790" y="579120"/>
                </a:cubicBezTo>
                <a:cubicBezTo>
                  <a:pt x="1696088" y="489495"/>
                  <a:pt x="1720318" y="261983"/>
                  <a:pt x="1737625" y="130992"/>
                </a:cubicBezTo>
                <a:cubicBezTo>
                  <a:pt x="1758393" y="-3447"/>
                  <a:pt x="1876081" y="6894"/>
                  <a:pt x="1876081" y="6894"/>
                </a:cubicBezTo>
                <a:cubicBezTo>
                  <a:pt x="1876081" y="6894"/>
                  <a:pt x="1876081" y="6894"/>
                  <a:pt x="2014537" y="0"/>
                </a:cubicBezTo>
                <a:close/>
              </a:path>
            </a:pathLst>
          </a:custGeom>
          <a:solidFill>
            <a:srgbClr val="00BCF2"/>
          </a:solidFill>
          <a:ln>
            <a:noFill/>
          </a:ln>
        </p:spPr>
        <p:txBody>
          <a:bodyPr vert="horz" wrap="square" lIns="91440" tIns="45720" rIns="91440" bIns="45720" numCol="1" anchor="t" anchorCtr="0" compatLnSpc="1">
            <a:prstTxWarp prst="textNoShape">
              <a:avLst/>
            </a:prstTxWarp>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ID" sz="2100" b="0" i="0" u="none" strike="noStrike" kern="0" cap="none" spc="0" normalizeH="0" baseline="0" noProof="0" dirty="0">
              <a:ln>
                <a:noFill/>
              </a:ln>
              <a:solidFill>
                <a:prstClr val="black"/>
              </a:solidFill>
              <a:effectLst/>
              <a:uLnTx/>
              <a:uFillTx/>
              <a:latin typeface="Arial" panose="020B0604020202020204"/>
            </a:endParaRPr>
          </a:p>
        </p:txBody>
      </p:sp>
      <p:cxnSp>
        <p:nvCxnSpPr>
          <p:cNvPr id="250" name="Straight Connector 249">
            <a:extLst>
              <a:ext uri="{FF2B5EF4-FFF2-40B4-BE49-F238E27FC236}">
                <a16:creationId xmlns:a16="http://schemas.microsoft.com/office/drawing/2014/main" id="{60C8517E-2700-D75E-82B5-47ADD04C3D66}"/>
              </a:ext>
            </a:extLst>
          </p:cNvPr>
          <p:cNvCxnSpPr/>
          <p:nvPr/>
        </p:nvCxnSpPr>
        <p:spPr bwMode="auto">
          <a:xfrm>
            <a:off x="4210303" y="1568890"/>
            <a:ext cx="764634" cy="957811"/>
          </a:xfrm>
          <a:prstGeom prst="line">
            <a:avLst/>
          </a:prstGeom>
          <a:solidFill>
            <a:srgbClr val="47254B"/>
          </a:solidFill>
          <a:ln w="9525" cap="flat" cmpd="sng" algn="ctr">
            <a:solidFill>
              <a:srgbClr val="00BCF2"/>
            </a:solidFill>
            <a:prstDash val="solid"/>
            <a:round/>
            <a:headEnd type="none" w="med" len="med"/>
            <a:tailEnd type="none" w="med" len="med"/>
          </a:ln>
          <a:effectLst/>
        </p:spPr>
      </p:cxnSp>
      <p:cxnSp>
        <p:nvCxnSpPr>
          <p:cNvPr id="251" name="Straight Connector 250">
            <a:extLst>
              <a:ext uri="{FF2B5EF4-FFF2-40B4-BE49-F238E27FC236}">
                <a16:creationId xmlns:a16="http://schemas.microsoft.com/office/drawing/2014/main" id="{A5E019A0-30C7-FB58-F757-5C4CDAC29135}"/>
              </a:ext>
            </a:extLst>
          </p:cNvPr>
          <p:cNvCxnSpPr>
            <a:cxnSpLocks/>
          </p:cNvCxnSpPr>
          <p:nvPr/>
        </p:nvCxnSpPr>
        <p:spPr bwMode="auto">
          <a:xfrm>
            <a:off x="1488478" y="1568890"/>
            <a:ext cx="2721825" cy="0"/>
          </a:xfrm>
          <a:prstGeom prst="line">
            <a:avLst/>
          </a:prstGeom>
          <a:solidFill>
            <a:srgbClr val="47254B"/>
          </a:solidFill>
          <a:ln w="9525" cap="flat" cmpd="sng" algn="ctr">
            <a:solidFill>
              <a:srgbClr val="00BCF2"/>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12D14065-D914-6A42-DD18-0C45172CFAD6}"/>
              </a:ext>
            </a:extLst>
          </p:cNvPr>
          <p:cNvCxnSpPr>
            <a:cxnSpLocks/>
          </p:cNvCxnSpPr>
          <p:nvPr/>
        </p:nvCxnSpPr>
        <p:spPr bwMode="auto">
          <a:xfrm>
            <a:off x="7417619" y="1496356"/>
            <a:ext cx="2721826" cy="0"/>
          </a:xfrm>
          <a:prstGeom prst="line">
            <a:avLst/>
          </a:prstGeom>
          <a:solidFill>
            <a:srgbClr val="47254B"/>
          </a:solidFill>
          <a:ln w="9525" cap="flat" cmpd="sng" algn="ctr">
            <a:solidFill>
              <a:srgbClr val="323E48"/>
            </a:solidFill>
            <a:prstDash val="solid"/>
            <a:round/>
            <a:headEnd type="none" w="med" len="med"/>
            <a:tailEnd type="none" w="med" len="med"/>
          </a:ln>
          <a:effectLst/>
        </p:spPr>
      </p:cxnSp>
      <p:sp>
        <p:nvSpPr>
          <p:cNvPr id="310" name="TextBox 309">
            <a:extLst>
              <a:ext uri="{FF2B5EF4-FFF2-40B4-BE49-F238E27FC236}">
                <a16:creationId xmlns:a16="http://schemas.microsoft.com/office/drawing/2014/main" id="{E0D5FD7A-AB19-4FF2-4086-6A5943981406}"/>
              </a:ext>
            </a:extLst>
          </p:cNvPr>
          <p:cNvSpPr txBox="1"/>
          <p:nvPr/>
        </p:nvSpPr>
        <p:spPr>
          <a:xfrm>
            <a:off x="1259058" y="1639853"/>
            <a:ext cx="3117043" cy="338554"/>
          </a:xfrm>
          <a:prstGeom prst="rect">
            <a:avLst/>
          </a:prstGeom>
          <a:noFill/>
        </p:spPr>
        <p:txBody>
          <a:bodyPr wrap="square">
            <a:spAutoFit/>
          </a:bodyPr>
          <a:lstStyle/>
          <a:p>
            <a:r>
              <a:rPr lang="en-GB" sz="1600" dirty="0"/>
              <a:t>An integral part of both plans</a:t>
            </a:r>
          </a:p>
        </p:txBody>
      </p:sp>
      <p:sp>
        <p:nvSpPr>
          <p:cNvPr id="311" name="TextBox 310">
            <a:extLst>
              <a:ext uri="{FF2B5EF4-FFF2-40B4-BE49-F238E27FC236}">
                <a16:creationId xmlns:a16="http://schemas.microsoft.com/office/drawing/2014/main" id="{C6053DEB-1326-E789-544B-53569F07C748}"/>
              </a:ext>
            </a:extLst>
          </p:cNvPr>
          <p:cNvSpPr txBox="1"/>
          <p:nvPr/>
        </p:nvSpPr>
        <p:spPr>
          <a:xfrm>
            <a:off x="7362160" y="1639853"/>
            <a:ext cx="4125545" cy="1323439"/>
          </a:xfrm>
          <a:prstGeom prst="rect">
            <a:avLst/>
          </a:prstGeom>
          <a:noFill/>
        </p:spPr>
        <p:txBody>
          <a:bodyPr wrap="square">
            <a:spAutoFit/>
          </a:bodyPr>
          <a:lstStyle/>
          <a:p>
            <a:r>
              <a:rPr lang="en-GB" sz="1600" dirty="0"/>
              <a:t>LIBERTY Ostrava has already received the first parcel of 5,000t of imported feed as a trial batch and successfully rolled that last week. This material HRC has all been sold and already dispatch to the customer</a:t>
            </a:r>
          </a:p>
        </p:txBody>
      </p:sp>
      <p:sp>
        <p:nvSpPr>
          <p:cNvPr id="312" name="TextBox 311">
            <a:extLst>
              <a:ext uri="{FF2B5EF4-FFF2-40B4-BE49-F238E27FC236}">
                <a16:creationId xmlns:a16="http://schemas.microsoft.com/office/drawing/2014/main" id="{F14A27AF-041B-0248-EBAF-795A30DF9B55}"/>
              </a:ext>
            </a:extLst>
          </p:cNvPr>
          <p:cNvSpPr txBox="1"/>
          <p:nvPr/>
        </p:nvSpPr>
        <p:spPr>
          <a:xfrm>
            <a:off x="7253697" y="3845366"/>
            <a:ext cx="4125545" cy="1077218"/>
          </a:xfrm>
          <a:prstGeom prst="rect">
            <a:avLst/>
          </a:prstGeom>
          <a:noFill/>
        </p:spPr>
        <p:txBody>
          <a:bodyPr wrap="square">
            <a:spAutoFit/>
          </a:bodyPr>
          <a:lstStyle/>
          <a:p>
            <a:r>
              <a:rPr lang="en-GB" sz="1600" dirty="0"/>
              <a:t>Based on the successful trial the next batches of material will be sourced in the coming weeks with the aim of rolling 30,000t in April and building up to 80,000t in June.  </a:t>
            </a:r>
          </a:p>
        </p:txBody>
      </p:sp>
      <p:sp>
        <p:nvSpPr>
          <p:cNvPr id="313" name="TextBox 312">
            <a:extLst>
              <a:ext uri="{FF2B5EF4-FFF2-40B4-BE49-F238E27FC236}">
                <a16:creationId xmlns:a16="http://schemas.microsoft.com/office/drawing/2014/main" id="{682D325D-4C7F-67C8-0BC8-57730B61BCF4}"/>
              </a:ext>
            </a:extLst>
          </p:cNvPr>
          <p:cNvSpPr txBox="1"/>
          <p:nvPr/>
        </p:nvSpPr>
        <p:spPr>
          <a:xfrm>
            <a:off x="1150595" y="3845366"/>
            <a:ext cx="3413464" cy="1815882"/>
          </a:xfrm>
          <a:prstGeom prst="rect">
            <a:avLst/>
          </a:prstGeom>
          <a:noFill/>
        </p:spPr>
        <p:txBody>
          <a:bodyPr wrap="square">
            <a:spAutoFit/>
          </a:bodyPr>
          <a:lstStyle/>
          <a:p>
            <a:r>
              <a:rPr lang="en-GB" sz="1600" dirty="0"/>
              <a:t>This will provide some profit contribution until the Blast furnace restarts – Aim is to achieve 80,000t of imported feed through the Steckel Mill as well as the Tubular and Welding Shop</a:t>
            </a:r>
          </a:p>
          <a:p>
            <a:endParaRPr lang="en-GB" sz="1600" dirty="0"/>
          </a:p>
        </p:txBody>
      </p:sp>
      <p:pic>
        <p:nvPicPr>
          <p:cNvPr id="316" name="Picture 315" descr="A close-up of a hot metal&#10;&#10;Description automatically generated">
            <a:extLst>
              <a:ext uri="{FF2B5EF4-FFF2-40B4-BE49-F238E27FC236}">
                <a16:creationId xmlns:a16="http://schemas.microsoft.com/office/drawing/2014/main" id="{205365DE-E99F-9C3D-64B0-A10BBCFB44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77171" y="2855032"/>
            <a:ext cx="1057112" cy="1037123"/>
          </a:xfrm>
          <a:prstGeom prst="ellipse">
            <a:avLst/>
          </a:prstGeom>
        </p:spPr>
      </p:pic>
      <p:grpSp>
        <p:nvGrpSpPr>
          <p:cNvPr id="2" name="Group 1">
            <a:extLst>
              <a:ext uri="{FF2B5EF4-FFF2-40B4-BE49-F238E27FC236}">
                <a16:creationId xmlns:a16="http://schemas.microsoft.com/office/drawing/2014/main" id="{FFE958A4-E227-9416-A231-BEB3589F1A62}"/>
              </a:ext>
            </a:extLst>
          </p:cNvPr>
          <p:cNvGrpSpPr/>
          <p:nvPr/>
        </p:nvGrpSpPr>
        <p:grpSpPr>
          <a:xfrm>
            <a:off x="5087888" y="3816818"/>
            <a:ext cx="234057" cy="299989"/>
            <a:chOff x="11052175" y="3413125"/>
            <a:chExt cx="901700" cy="1155700"/>
          </a:xfrm>
          <a:solidFill>
            <a:schemeClr val="bg1"/>
          </a:solidFill>
        </p:grpSpPr>
        <p:sp>
          <p:nvSpPr>
            <p:cNvPr id="3" name="Freeform 60">
              <a:extLst>
                <a:ext uri="{FF2B5EF4-FFF2-40B4-BE49-F238E27FC236}">
                  <a16:creationId xmlns:a16="http://schemas.microsoft.com/office/drawing/2014/main" id="{8681271C-FEEF-B8E5-4D77-474144239086}"/>
                </a:ext>
              </a:extLst>
            </p:cNvPr>
            <p:cNvSpPr>
              <a:spLocks/>
            </p:cNvSpPr>
            <p:nvPr/>
          </p:nvSpPr>
          <p:spPr bwMode="auto">
            <a:xfrm>
              <a:off x="11528425" y="4213225"/>
              <a:ext cx="79375" cy="136525"/>
            </a:xfrm>
            <a:custGeom>
              <a:avLst/>
              <a:gdLst>
                <a:gd name="T0" fmla="*/ 18 w 50"/>
                <a:gd name="T1" fmla="*/ 6 h 86"/>
                <a:gd name="T2" fmla="*/ 18 w 50"/>
                <a:gd name="T3" fmla="*/ 6 h 86"/>
                <a:gd name="T4" fmla="*/ 8 w 50"/>
                <a:gd name="T5" fmla="*/ 0 h 86"/>
                <a:gd name="T6" fmla="*/ 8 w 50"/>
                <a:gd name="T7" fmla="*/ 0 h 86"/>
                <a:gd name="T8" fmla="*/ 4 w 50"/>
                <a:gd name="T9" fmla="*/ 0 h 86"/>
                <a:gd name="T10" fmla="*/ 2 w 50"/>
                <a:gd name="T11" fmla="*/ 0 h 86"/>
                <a:gd name="T12" fmla="*/ 0 w 50"/>
                <a:gd name="T13" fmla="*/ 2 h 86"/>
                <a:gd name="T14" fmla="*/ 0 w 50"/>
                <a:gd name="T15" fmla="*/ 4 h 86"/>
                <a:gd name="T16" fmla="*/ 0 w 50"/>
                <a:gd name="T17" fmla="*/ 78 h 86"/>
                <a:gd name="T18" fmla="*/ 0 w 50"/>
                <a:gd name="T19" fmla="*/ 78 h 86"/>
                <a:gd name="T20" fmla="*/ 0 w 50"/>
                <a:gd name="T21" fmla="*/ 82 h 86"/>
                <a:gd name="T22" fmla="*/ 2 w 50"/>
                <a:gd name="T23" fmla="*/ 84 h 86"/>
                <a:gd name="T24" fmla="*/ 4 w 50"/>
                <a:gd name="T25" fmla="*/ 84 h 86"/>
                <a:gd name="T26" fmla="*/ 8 w 50"/>
                <a:gd name="T27" fmla="*/ 86 h 86"/>
                <a:gd name="T28" fmla="*/ 8 w 50"/>
                <a:gd name="T29" fmla="*/ 86 h 86"/>
                <a:gd name="T30" fmla="*/ 20 w 50"/>
                <a:gd name="T31" fmla="*/ 84 h 86"/>
                <a:gd name="T32" fmla="*/ 28 w 50"/>
                <a:gd name="T33" fmla="*/ 80 h 86"/>
                <a:gd name="T34" fmla="*/ 38 w 50"/>
                <a:gd name="T35" fmla="*/ 76 h 86"/>
                <a:gd name="T36" fmla="*/ 38 w 50"/>
                <a:gd name="T37" fmla="*/ 76 h 86"/>
                <a:gd name="T38" fmla="*/ 46 w 50"/>
                <a:gd name="T39" fmla="*/ 66 h 86"/>
                <a:gd name="T40" fmla="*/ 50 w 50"/>
                <a:gd name="T41" fmla="*/ 54 h 86"/>
                <a:gd name="T42" fmla="*/ 50 w 50"/>
                <a:gd name="T43" fmla="*/ 42 h 86"/>
                <a:gd name="T44" fmla="*/ 48 w 50"/>
                <a:gd name="T45" fmla="*/ 34 h 86"/>
                <a:gd name="T46" fmla="*/ 46 w 50"/>
                <a:gd name="T47" fmla="*/ 28 h 86"/>
                <a:gd name="T48" fmla="*/ 46 w 50"/>
                <a:gd name="T49" fmla="*/ 28 h 86"/>
                <a:gd name="T50" fmla="*/ 40 w 50"/>
                <a:gd name="T51" fmla="*/ 22 h 86"/>
                <a:gd name="T52" fmla="*/ 34 w 50"/>
                <a:gd name="T53" fmla="*/ 16 h 86"/>
                <a:gd name="T54" fmla="*/ 18 w 50"/>
                <a:gd name="T55" fmla="*/ 6 h 86"/>
                <a:gd name="T56" fmla="*/ 18 w 50"/>
                <a:gd name="T5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86">
                  <a:moveTo>
                    <a:pt x="18" y="6"/>
                  </a:moveTo>
                  <a:lnTo>
                    <a:pt x="18" y="6"/>
                  </a:lnTo>
                  <a:lnTo>
                    <a:pt x="8" y="0"/>
                  </a:lnTo>
                  <a:lnTo>
                    <a:pt x="8" y="0"/>
                  </a:lnTo>
                  <a:lnTo>
                    <a:pt x="4" y="0"/>
                  </a:lnTo>
                  <a:lnTo>
                    <a:pt x="2" y="0"/>
                  </a:lnTo>
                  <a:lnTo>
                    <a:pt x="0" y="2"/>
                  </a:lnTo>
                  <a:lnTo>
                    <a:pt x="0" y="4"/>
                  </a:lnTo>
                  <a:lnTo>
                    <a:pt x="0" y="78"/>
                  </a:lnTo>
                  <a:lnTo>
                    <a:pt x="0" y="78"/>
                  </a:lnTo>
                  <a:lnTo>
                    <a:pt x="0" y="82"/>
                  </a:lnTo>
                  <a:lnTo>
                    <a:pt x="2" y="84"/>
                  </a:lnTo>
                  <a:lnTo>
                    <a:pt x="4" y="84"/>
                  </a:lnTo>
                  <a:lnTo>
                    <a:pt x="8" y="86"/>
                  </a:lnTo>
                  <a:lnTo>
                    <a:pt x="8" y="86"/>
                  </a:lnTo>
                  <a:lnTo>
                    <a:pt x="20" y="84"/>
                  </a:lnTo>
                  <a:lnTo>
                    <a:pt x="28" y="80"/>
                  </a:lnTo>
                  <a:lnTo>
                    <a:pt x="38" y="76"/>
                  </a:lnTo>
                  <a:lnTo>
                    <a:pt x="38" y="76"/>
                  </a:lnTo>
                  <a:lnTo>
                    <a:pt x="46" y="66"/>
                  </a:lnTo>
                  <a:lnTo>
                    <a:pt x="50" y="54"/>
                  </a:lnTo>
                  <a:lnTo>
                    <a:pt x="50" y="42"/>
                  </a:lnTo>
                  <a:lnTo>
                    <a:pt x="48" y="34"/>
                  </a:lnTo>
                  <a:lnTo>
                    <a:pt x="46" y="28"/>
                  </a:lnTo>
                  <a:lnTo>
                    <a:pt x="46" y="28"/>
                  </a:lnTo>
                  <a:lnTo>
                    <a:pt x="40" y="22"/>
                  </a:lnTo>
                  <a:lnTo>
                    <a:pt x="34" y="16"/>
                  </a:lnTo>
                  <a:lnTo>
                    <a:pt x="18" y="6"/>
                  </a:lnTo>
                  <a:lnTo>
                    <a:pt x="1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 name="Freeform 61">
              <a:extLst>
                <a:ext uri="{FF2B5EF4-FFF2-40B4-BE49-F238E27FC236}">
                  <a16:creationId xmlns:a16="http://schemas.microsoft.com/office/drawing/2014/main" id="{D8B9D782-898B-5D23-DCEE-861F6AB38954}"/>
                </a:ext>
              </a:extLst>
            </p:cNvPr>
            <p:cNvSpPr>
              <a:spLocks/>
            </p:cNvSpPr>
            <p:nvPr/>
          </p:nvSpPr>
          <p:spPr bwMode="auto">
            <a:xfrm>
              <a:off x="11337925" y="3679825"/>
              <a:ext cx="327025" cy="60325"/>
            </a:xfrm>
            <a:custGeom>
              <a:avLst/>
              <a:gdLst>
                <a:gd name="T0" fmla="*/ 20 w 206"/>
                <a:gd name="T1" fmla="*/ 0 h 38"/>
                <a:gd name="T2" fmla="*/ 20 w 206"/>
                <a:gd name="T3" fmla="*/ 0 h 38"/>
                <a:gd name="T4" fmla="*/ 12 w 206"/>
                <a:gd name="T5" fmla="*/ 2 h 38"/>
                <a:gd name="T6" fmla="*/ 6 w 206"/>
                <a:gd name="T7" fmla="*/ 6 h 38"/>
                <a:gd name="T8" fmla="*/ 2 w 206"/>
                <a:gd name="T9" fmla="*/ 12 h 38"/>
                <a:gd name="T10" fmla="*/ 0 w 206"/>
                <a:gd name="T11" fmla="*/ 20 h 38"/>
                <a:gd name="T12" fmla="*/ 0 w 206"/>
                <a:gd name="T13" fmla="*/ 20 h 38"/>
                <a:gd name="T14" fmla="*/ 2 w 206"/>
                <a:gd name="T15" fmla="*/ 26 h 38"/>
                <a:gd name="T16" fmla="*/ 6 w 206"/>
                <a:gd name="T17" fmla="*/ 32 h 38"/>
                <a:gd name="T18" fmla="*/ 12 w 206"/>
                <a:gd name="T19" fmla="*/ 36 h 38"/>
                <a:gd name="T20" fmla="*/ 20 w 206"/>
                <a:gd name="T21" fmla="*/ 38 h 38"/>
                <a:gd name="T22" fmla="*/ 188 w 206"/>
                <a:gd name="T23" fmla="*/ 38 h 38"/>
                <a:gd name="T24" fmla="*/ 188 w 206"/>
                <a:gd name="T25" fmla="*/ 38 h 38"/>
                <a:gd name="T26" fmla="*/ 196 w 206"/>
                <a:gd name="T27" fmla="*/ 36 h 38"/>
                <a:gd name="T28" fmla="*/ 202 w 206"/>
                <a:gd name="T29" fmla="*/ 32 h 38"/>
                <a:gd name="T30" fmla="*/ 206 w 206"/>
                <a:gd name="T31" fmla="*/ 26 h 38"/>
                <a:gd name="T32" fmla="*/ 206 w 206"/>
                <a:gd name="T33" fmla="*/ 20 h 38"/>
                <a:gd name="T34" fmla="*/ 206 w 206"/>
                <a:gd name="T35" fmla="*/ 20 h 38"/>
                <a:gd name="T36" fmla="*/ 206 w 206"/>
                <a:gd name="T37" fmla="*/ 12 h 38"/>
                <a:gd name="T38" fmla="*/ 202 w 206"/>
                <a:gd name="T39" fmla="*/ 6 h 38"/>
                <a:gd name="T40" fmla="*/ 196 w 206"/>
                <a:gd name="T41" fmla="*/ 2 h 38"/>
                <a:gd name="T42" fmla="*/ 188 w 206"/>
                <a:gd name="T43" fmla="*/ 0 h 38"/>
                <a:gd name="T44" fmla="*/ 20 w 206"/>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38">
                  <a:moveTo>
                    <a:pt x="20" y="0"/>
                  </a:moveTo>
                  <a:lnTo>
                    <a:pt x="20" y="0"/>
                  </a:lnTo>
                  <a:lnTo>
                    <a:pt x="12" y="2"/>
                  </a:lnTo>
                  <a:lnTo>
                    <a:pt x="6" y="6"/>
                  </a:lnTo>
                  <a:lnTo>
                    <a:pt x="2" y="12"/>
                  </a:lnTo>
                  <a:lnTo>
                    <a:pt x="0" y="20"/>
                  </a:lnTo>
                  <a:lnTo>
                    <a:pt x="0" y="20"/>
                  </a:lnTo>
                  <a:lnTo>
                    <a:pt x="2" y="26"/>
                  </a:lnTo>
                  <a:lnTo>
                    <a:pt x="6" y="32"/>
                  </a:lnTo>
                  <a:lnTo>
                    <a:pt x="12" y="36"/>
                  </a:lnTo>
                  <a:lnTo>
                    <a:pt x="20" y="38"/>
                  </a:lnTo>
                  <a:lnTo>
                    <a:pt x="188" y="38"/>
                  </a:lnTo>
                  <a:lnTo>
                    <a:pt x="188" y="38"/>
                  </a:lnTo>
                  <a:lnTo>
                    <a:pt x="196" y="36"/>
                  </a:lnTo>
                  <a:lnTo>
                    <a:pt x="202" y="32"/>
                  </a:lnTo>
                  <a:lnTo>
                    <a:pt x="206" y="26"/>
                  </a:lnTo>
                  <a:lnTo>
                    <a:pt x="206" y="20"/>
                  </a:lnTo>
                  <a:lnTo>
                    <a:pt x="206" y="20"/>
                  </a:lnTo>
                  <a:lnTo>
                    <a:pt x="206" y="12"/>
                  </a:lnTo>
                  <a:lnTo>
                    <a:pt x="202" y="6"/>
                  </a:lnTo>
                  <a:lnTo>
                    <a:pt x="196" y="2"/>
                  </a:lnTo>
                  <a:lnTo>
                    <a:pt x="188"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6" name="Freeform 62">
              <a:extLst>
                <a:ext uri="{FF2B5EF4-FFF2-40B4-BE49-F238E27FC236}">
                  <a16:creationId xmlns:a16="http://schemas.microsoft.com/office/drawing/2014/main" id="{5C16CF2F-5800-6EC2-3E5F-12BC3F661DE4}"/>
                </a:ext>
              </a:extLst>
            </p:cNvPr>
            <p:cNvSpPr>
              <a:spLocks/>
            </p:cNvSpPr>
            <p:nvPr/>
          </p:nvSpPr>
          <p:spPr bwMode="auto">
            <a:xfrm>
              <a:off x="11258550" y="3413125"/>
              <a:ext cx="501650" cy="231775"/>
            </a:xfrm>
            <a:custGeom>
              <a:avLst/>
              <a:gdLst>
                <a:gd name="T0" fmla="*/ 154 w 316"/>
                <a:gd name="T1" fmla="*/ 146 h 146"/>
                <a:gd name="T2" fmla="*/ 250 w 316"/>
                <a:gd name="T3" fmla="*/ 146 h 146"/>
                <a:gd name="T4" fmla="*/ 256 w 316"/>
                <a:gd name="T5" fmla="*/ 130 h 146"/>
                <a:gd name="T6" fmla="*/ 270 w 316"/>
                <a:gd name="T7" fmla="*/ 104 h 146"/>
                <a:gd name="T8" fmla="*/ 292 w 316"/>
                <a:gd name="T9" fmla="*/ 78 h 146"/>
                <a:gd name="T10" fmla="*/ 314 w 316"/>
                <a:gd name="T11" fmla="*/ 58 h 146"/>
                <a:gd name="T12" fmla="*/ 316 w 316"/>
                <a:gd name="T13" fmla="*/ 52 h 146"/>
                <a:gd name="T14" fmla="*/ 312 w 316"/>
                <a:gd name="T15" fmla="*/ 46 h 146"/>
                <a:gd name="T16" fmla="*/ 296 w 316"/>
                <a:gd name="T17" fmla="*/ 36 h 146"/>
                <a:gd name="T18" fmla="*/ 268 w 316"/>
                <a:gd name="T19" fmla="*/ 26 h 146"/>
                <a:gd name="T20" fmla="*/ 246 w 316"/>
                <a:gd name="T21" fmla="*/ 24 h 146"/>
                <a:gd name="T22" fmla="*/ 240 w 316"/>
                <a:gd name="T23" fmla="*/ 26 h 146"/>
                <a:gd name="T24" fmla="*/ 232 w 316"/>
                <a:gd name="T25" fmla="*/ 40 h 146"/>
                <a:gd name="T26" fmla="*/ 216 w 316"/>
                <a:gd name="T27" fmla="*/ 72 h 146"/>
                <a:gd name="T28" fmla="*/ 200 w 316"/>
                <a:gd name="T29" fmla="*/ 88 h 146"/>
                <a:gd name="T30" fmla="*/ 190 w 316"/>
                <a:gd name="T31" fmla="*/ 92 h 146"/>
                <a:gd name="T32" fmla="*/ 196 w 316"/>
                <a:gd name="T33" fmla="*/ 74 h 146"/>
                <a:gd name="T34" fmla="*/ 210 w 316"/>
                <a:gd name="T35" fmla="*/ 40 h 146"/>
                <a:gd name="T36" fmla="*/ 214 w 316"/>
                <a:gd name="T37" fmla="*/ 20 h 146"/>
                <a:gd name="T38" fmla="*/ 212 w 316"/>
                <a:gd name="T39" fmla="*/ 12 h 146"/>
                <a:gd name="T40" fmla="*/ 200 w 316"/>
                <a:gd name="T41" fmla="*/ 6 h 146"/>
                <a:gd name="T42" fmla="*/ 168 w 316"/>
                <a:gd name="T43" fmla="*/ 0 h 146"/>
                <a:gd name="T44" fmla="*/ 156 w 316"/>
                <a:gd name="T45" fmla="*/ 0 h 146"/>
                <a:gd name="T46" fmla="*/ 126 w 316"/>
                <a:gd name="T47" fmla="*/ 2 h 146"/>
                <a:gd name="T48" fmla="*/ 104 w 316"/>
                <a:gd name="T49" fmla="*/ 8 h 146"/>
                <a:gd name="T50" fmla="*/ 100 w 316"/>
                <a:gd name="T51" fmla="*/ 12 h 146"/>
                <a:gd name="T52" fmla="*/ 98 w 316"/>
                <a:gd name="T53" fmla="*/ 30 h 146"/>
                <a:gd name="T54" fmla="*/ 106 w 316"/>
                <a:gd name="T55" fmla="*/ 52 h 146"/>
                <a:gd name="T56" fmla="*/ 120 w 316"/>
                <a:gd name="T57" fmla="*/ 84 h 146"/>
                <a:gd name="T58" fmla="*/ 122 w 316"/>
                <a:gd name="T59" fmla="*/ 92 h 146"/>
                <a:gd name="T60" fmla="*/ 102 w 316"/>
                <a:gd name="T61" fmla="*/ 82 h 146"/>
                <a:gd name="T62" fmla="*/ 88 w 316"/>
                <a:gd name="T63" fmla="*/ 62 h 146"/>
                <a:gd name="T64" fmla="*/ 74 w 316"/>
                <a:gd name="T65" fmla="*/ 32 h 146"/>
                <a:gd name="T66" fmla="*/ 70 w 316"/>
                <a:gd name="T67" fmla="*/ 26 h 146"/>
                <a:gd name="T68" fmla="*/ 58 w 316"/>
                <a:gd name="T69" fmla="*/ 22 h 146"/>
                <a:gd name="T70" fmla="*/ 42 w 316"/>
                <a:gd name="T71" fmla="*/ 22 h 146"/>
                <a:gd name="T72" fmla="*/ 20 w 316"/>
                <a:gd name="T73" fmla="*/ 32 h 146"/>
                <a:gd name="T74" fmla="*/ 14 w 316"/>
                <a:gd name="T75" fmla="*/ 36 h 146"/>
                <a:gd name="T76" fmla="*/ 2 w 316"/>
                <a:gd name="T77" fmla="*/ 56 h 146"/>
                <a:gd name="T78" fmla="*/ 2 w 316"/>
                <a:gd name="T79" fmla="*/ 62 h 146"/>
                <a:gd name="T80" fmla="*/ 12 w 316"/>
                <a:gd name="T81" fmla="*/ 72 h 146"/>
                <a:gd name="T82" fmla="*/ 36 w 316"/>
                <a:gd name="T83" fmla="*/ 96 h 146"/>
                <a:gd name="T84" fmla="*/ 48 w 316"/>
                <a:gd name="T85" fmla="*/ 116 h 146"/>
                <a:gd name="T86" fmla="*/ 60 w 316"/>
                <a:gd name="T8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6" h="146">
                  <a:moveTo>
                    <a:pt x="60" y="146"/>
                  </a:moveTo>
                  <a:lnTo>
                    <a:pt x="154" y="146"/>
                  </a:lnTo>
                  <a:lnTo>
                    <a:pt x="158" y="146"/>
                  </a:lnTo>
                  <a:lnTo>
                    <a:pt x="250" y="146"/>
                  </a:lnTo>
                  <a:lnTo>
                    <a:pt x="250" y="146"/>
                  </a:lnTo>
                  <a:lnTo>
                    <a:pt x="256" y="130"/>
                  </a:lnTo>
                  <a:lnTo>
                    <a:pt x="262" y="116"/>
                  </a:lnTo>
                  <a:lnTo>
                    <a:pt x="270" y="104"/>
                  </a:lnTo>
                  <a:lnTo>
                    <a:pt x="278" y="94"/>
                  </a:lnTo>
                  <a:lnTo>
                    <a:pt x="292" y="78"/>
                  </a:lnTo>
                  <a:lnTo>
                    <a:pt x="304" y="66"/>
                  </a:lnTo>
                  <a:lnTo>
                    <a:pt x="314" y="58"/>
                  </a:lnTo>
                  <a:lnTo>
                    <a:pt x="316" y="54"/>
                  </a:lnTo>
                  <a:lnTo>
                    <a:pt x="316" y="52"/>
                  </a:lnTo>
                  <a:lnTo>
                    <a:pt x="314" y="48"/>
                  </a:lnTo>
                  <a:lnTo>
                    <a:pt x="312" y="46"/>
                  </a:lnTo>
                  <a:lnTo>
                    <a:pt x="296" y="36"/>
                  </a:lnTo>
                  <a:lnTo>
                    <a:pt x="296" y="36"/>
                  </a:lnTo>
                  <a:lnTo>
                    <a:pt x="284" y="30"/>
                  </a:lnTo>
                  <a:lnTo>
                    <a:pt x="268" y="26"/>
                  </a:lnTo>
                  <a:lnTo>
                    <a:pt x="252" y="22"/>
                  </a:lnTo>
                  <a:lnTo>
                    <a:pt x="246" y="24"/>
                  </a:lnTo>
                  <a:lnTo>
                    <a:pt x="240" y="26"/>
                  </a:lnTo>
                  <a:lnTo>
                    <a:pt x="240" y="26"/>
                  </a:lnTo>
                  <a:lnTo>
                    <a:pt x="236" y="32"/>
                  </a:lnTo>
                  <a:lnTo>
                    <a:pt x="232" y="40"/>
                  </a:lnTo>
                  <a:lnTo>
                    <a:pt x="222" y="62"/>
                  </a:lnTo>
                  <a:lnTo>
                    <a:pt x="216" y="72"/>
                  </a:lnTo>
                  <a:lnTo>
                    <a:pt x="208" y="82"/>
                  </a:lnTo>
                  <a:lnTo>
                    <a:pt x="200" y="88"/>
                  </a:lnTo>
                  <a:lnTo>
                    <a:pt x="190" y="92"/>
                  </a:lnTo>
                  <a:lnTo>
                    <a:pt x="190" y="92"/>
                  </a:lnTo>
                  <a:lnTo>
                    <a:pt x="192" y="84"/>
                  </a:lnTo>
                  <a:lnTo>
                    <a:pt x="196" y="74"/>
                  </a:lnTo>
                  <a:lnTo>
                    <a:pt x="206" y="52"/>
                  </a:lnTo>
                  <a:lnTo>
                    <a:pt x="210" y="40"/>
                  </a:lnTo>
                  <a:lnTo>
                    <a:pt x="212" y="30"/>
                  </a:lnTo>
                  <a:lnTo>
                    <a:pt x="214" y="20"/>
                  </a:lnTo>
                  <a:lnTo>
                    <a:pt x="212" y="12"/>
                  </a:lnTo>
                  <a:lnTo>
                    <a:pt x="212" y="12"/>
                  </a:lnTo>
                  <a:lnTo>
                    <a:pt x="208" y="8"/>
                  </a:lnTo>
                  <a:lnTo>
                    <a:pt x="200" y="6"/>
                  </a:lnTo>
                  <a:lnTo>
                    <a:pt x="184" y="2"/>
                  </a:lnTo>
                  <a:lnTo>
                    <a:pt x="168" y="0"/>
                  </a:lnTo>
                  <a:lnTo>
                    <a:pt x="156" y="0"/>
                  </a:lnTo>
                  <a:lnTo>
                    <a:pt x="156" y="0"/>
                  </a:lnTo>
                  <a:lnTo>
                    <a:pt x="144" y="0"/>
                  </a:lnTo>
                  <a:lnTo>
                    <a:pt x="126" y="2"/>
                  </a:lnTo>
                  <a:lnTo>
                    <a:pt x="110" y="6"/>
                  </a:lnTo>
                  <a:lnTo>
                    <a:pt x="104" y="8"/>
                  </a:lnTo>
                  <a:lnTo>
                    <a:pt x="100" y="12"/>
                  </a:lnTo>
                  <a:lnTo>
                    <a:pt x="100" y="12"/>
                  </a:lnTo>
                  <a:lnTo>
                    <a:pt x="98" y="20"/>
                  </a:lnTo>
                  <a:lnTo>
                    <a:pt x="98" y="30"/>
                  </a:lnTo>
                  <a:lnTo>
                    <a:pt x="100" y="40"/>
                  </a:lnTo>
                  <a:lnTo>
                    <a:pt x="106" y="52"/>
                  </a:lnTo>
                  <a:lnTo>
                    <a:pt x="116" y="74"/>
                  </a:lnTo>
                  <a:lnTo>
                    <a:pt x="120" y="84"/>
                  </a:lnTo>
                  <a:lnTo>
                    <a:pt x="122" y="92"/>
                  </a:lnTo>
                  <a:lnTo>
                    <a:pt x="122" y="92"/>
                  </a:lnTo>
                  <a:lnTo>
                    <a:pt x="112" y="88"/>
                  </a:lnTo>
                  <a:lnTo>
                    <a:pt x="102" y="82"/>
                  </a:lnTo>
                  <a:lnTo>
                    <a:pt x="96" y="72"/>
                  </a:lnTo>
                  <a:lnTo>
                    <a:pt x="88" y="62"/>
                  </a:lnTo>
                  <a:lnTo>
                    <a:pt x="78" y="40"/>
                  </a:lnTo>
                  <a:lnTo>
                    <a:pt x="74" y="32"/>
                  </a:lnTo>
                  <a:lnTo>
                    <a:pt x="70" y="26"/>
                  </a:lnTo>
                  <a:lnTo>
                    <a:pt x="70" y="26"/>
                  </a:lnTo>
                  <a:lnTo>
                    <a:pt x="66" y="24"/>
                  </a:lnTo>
                  <a:lnTo>
                    <a:pt x="58" y="22"/>
                  </a:lnTo>
                  <a:lnTo>
                    <a:pt x="52" y="22"/>
                  </a:lnTo>
                  <a:lnTo>
                    <a:pt x="42" y="22"/>
                  </a:lnTo>
                  <a:lnTo>
                    <a:pt x="26" y="28"/>
                  </a:lnTo>
                  <a:lnTo>
                    <a:pt x="20" y="32"/>
                  </a:lnTo>
                  <a:lnTo>
                    <a:pt x="14" y="36"/>
                  </a:lnTo>
                  <a:lnTo>
                    <a:pt x="14" y="36"/>
                  </a:lnTo>
                  <a:lnTo>
                    <a:pt x="4" y="50"/>
                  </a:lnTo>
                  <a:lnTo>
                    <a:pt x="2" y="56"/>
                  </a:lnTo>
                  <a:lnTo>
                    <a:pt x="0" y="60"/>
                  </a:lnTo>
                  <a:lnTo>
                    <a:pt x="2" y="62"/>
                  </a:lnTo>
                  <a:lnTo>
                    <a:pt x="4" y="66"/>
                  </a:lnTo>
                  <a:lnTo>
                    <a:pt x="12" y="72"/>
                  </a:lnTo>
                  <a:lnTo>
                    <a:pt x="22" y="82"/>
                  </a:lnTo>
                  <a:lnTo>
                    <a:pt x="36" y="96"/>
                  </a:lnTo>
                  <a:lnTo>
                    <a:pt x="42" y="106"/>
                  </a:lnTo>
                  <a:lnTo>
                    <a:pt x="48" y="116"/>
                  </a:lnTo>
                  <a:lnTo>
                    <a:pt x="54" y="130"/>
                  </a:lnTo>
                  <a:lnTo>
                    <a:pt x="60" y="146"/>
                  </a:lnTo>
                  <a:lnTo>
                    <a:pt x="6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7" name="Freeform 63">
              <a:extLst>
                <a:ext uri="{FF2B5EF4-FFF2-40B4-BE49-F238E27FC236}">
                  <a16:creationId xmlns:a16="http://schemas.microsoft.com/office/drawing/2014/main" id="{6C6EE601-BE0E-E4C7-D758-246AE73B51A2}"/>
                </a:ext>
              </a:extLst>
            </p:cNvPr>
            <p:cNvSpPr>
              <a:spLocks/>
            </p:cNvSpPr>
            <p:nvPr/>
          </p:nvSpPr>
          <p:spPr bwMode="auto">
            <a:xfrm>
              <a:off x="11395075" y="3971925"/>
              <a:ext cx="69850" cy="133350"/>
            </a:xfrm>
            <a:custGeom>
              <a:avLst/>
              <a:gdLst>
                <a:gd name="T0" fmla="*/ 36 w 44"/>
                <a:gd name="T1" fmla="*/ 0 h 84"/>
                <a:gd name="T2" fmla="*/ 36 w 44"/>
                <a:gd name="T3" fmla="*/ 0 h 84"/>
                <a:gd name="T4" fmla="*/ 26 w 44"/>
                <a:gd name="T5" fmla="*/ 4 h 84"/>
                <a:gd name="T6" fmla="*/ 18 w 44"/>
                <a:gd name="T7" fmla="*/ 8 h 84"/>
                <a:gd name="T8" fmla="*/ 10 w 44"/>
                <a:gd name="T9" fmla="*/ 12 h 84"/>
                <a:gd name="T10" fmla="*/ 10 w 44"/>
                <a:gd name="T11" fmla="*/ 12 h 84"/>
                <a:gd name="T12" fmla="*/ 6 w 44"/>
                <a:gd name="T13" fmla="*/ 18 h 84"/>
                <a:gd name="T14" fmla="*/ 4 w 44"/>
                <a:gd name="T15" fmla="*/ 22 h 84"/>
                <a:gd name="T16" fmla="*/ 0 w 44"/>
                <a:gd name="T17" fmla="*/ 34 h 84"/>
                <a:gd name="T18" fmla="*/ 0 w 44"/>
                <a:gd name="T19" fmla="*/ 48 h 84"/>
                <a:gd name="T20" fmla="*/ 6 w 44"/>
                <a:gd name="T21" fmla="*/ 60 h 84"/>
                <a:gd name="T22" fmla="*/ 6 w 44"/>
                <a:gd name="T23" fmla="*/ 60 h 84"/>
                <a:gd name="T24" fmla="*/ 12 w 44"/>
                <a:gd name="T25" fmla="*/ 68 h 84"/>
                <a:gd name="T26" fmla="*/ 18 w 44"/>
                <a:gd name="T27" fmla="*/ 74 h 84"/>
                <a:gd name="T28" fmla="*/ 36 w 44"/>
                <a:gd name="T29" fmla="*/ 82 h 84"/>
                <a:gd name="T30" fmla="*/ 36 w 44"/>
                <a:gd name="T31" fmla="*/ 82 h 84"/>
                <a:gd name="T32" fmla="*/ 36 w 44"/>
                <a:gd name="T33" fmla="*/ 84 h 84"/>
                <a:gd name="T34" fmla="*/ 36 w 44"/>
                <a:gd name="T35" fmla="*/ 84 h 84"/>
                <a:gd name="T36" fmla="*/ 40 w 44"/>
                <a:gd name="T37" fmla="*/ 84 h 84"/>
                <a:gd name="T38" fmla="*/ 42 w 44"/>
                <a:gd name="T39" fmla="*/ 84 h 84"/>
                <a:gd name="T40" fmla="*/ 44 w 44"/>
                <a:gd name="T41" fmla="*/ 82 h 84"/>
                <a:gd name="T42" fmla="*/ 44 w 44"/>
                <a:gd name="T43" fmla="*/ 78 h 84"/>
                <a:gd name="T44" fmla="*/ 44 w 44"/>
                <a:gd name="T45" fmla="*/ 6 h 84"/>
                <a:gd name="T46" fmla="*/ 44 w 44"/>
                <a:gd name="T47" fmla="*/ 6 h 84"/>
                <a:gd name="T48" fmla="*/ 44 w 44"/>
                <a:gd name="T49" fmla="*/ 4 h 84"/>
                <a:gd name="T50" fmla="*/ 42 w 44"/>
                <a:gd name="T51" fmla="*/ 2 h 84"/>
                <a:gd name="T52" fmla="*/ 40 w 44"/>
                <a:gd name="T53" fmla="*/ 0 h 84"/>
                <a:gd name="T54" fmla="*/ 36 w 44"/>
                <a:gd name="T55" fmla="*/ 0 h 84"/>
                <a:gd name="T56" fmla="*/ 36 w 44"/>
                <a:gd name="T5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84">
                  <a:moveTo>
                    <a:pt x="36" y="0"/>
                  </a:moveTo>
                  <a:lnTo>
                    <a:pt x="36" y="0"/>
                  </a:lnTo>
                  <a:lnTo>
                    <a:pt x="26" y="4"/>
                  </a:lnTo>
                  <a:lnTo>
                    <a:pt x="18" y="8"/>
                  </a:lnTo>
                  <a:lnTo>
                    <a:pt x="10" y="12"/>
                  </a:lnTo>
                  <a:lnTo>
                    <a:pt x="10" y="12"/>
                  </a:lnTo>
                  <a:lnTo>
                    <a:pt x="6" y="18"/>
                  </a:lnTo>
                  <a:lnTo>
                    <a:pt x="4" y="22"/>
                  </a:lnTo>
                  <a:lnTo>
                    <a:pt x="0" y="34"/>
                  </a:lnTo>
                  <a:lnTo>
                    <a:pt x="0" y="48"/>
                  </a:lnTo>
                  <a:lnTo>
                    <a:pt x="6" y="60"/>
                  </a:lnTo>
                  <a:lnTo>
                    <a:pt x="6" y="60"/>
                  </a:lnTo>
                  <a:lnTo>
                    <a:pt x="12" y="68"/>
                  </a:lnTo>
                  <a:lnTo>
                    <a:pt x="18" y="74"/>
                  </a:lnTo>
                  <a:lnTo>
                    <a:pt x="36" y="82"/>
                  </a:lnTo>
                  <a:lnTo>
                    <a:pt x="36" y="82"/>
                  </a:lnTo>
                  <a:lnTo>
                    <a:pt x="36" y="84"/>
                  </a:lnTo>
                  <a:lnTo>
                    <a:pt x="36" y="84"/>
                  </a:lnTo>
                  <a:lnTo>
                    <a:pt x="40" y="84"/>
                  </a:lnTo>
                  <a:lnTo>
                    <a:pt x="42" y="84"/>
                  </a:lnTo>
                  <a:lnTo>
                    <a:pt x="44" y="82"/>
                  </a:lnTo>
                  <a:lnTo>
                    <a:pt x="44" y="78"/>
                  </a:lnTo>
                  <a:lnTo>
                    <a:pt x="44" y="6"/>
                  </a:lnTo>
                  <a:lnTo>
                    <a:pt x="44" y="6"/>
                  </a:lnTo>
                  <a:lnTo>
                    <a:pt x="44" y="4"/>
                  </a:lnTo>
                  <a:lnTo>
                    <a:pt x="42" y="2"/>
                  </a:lnTo>
                  <a:lnTo>
                    <a:pt x="40" y="0"/>
                  </a:lnTo>
                  <a:lnTo>
                    <a:pt x="36"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8" name="Freeform 64">
              <a:extLst>
                <a:ext uri="{FF2B5EF4-FFF2-40B4-BE49-F238E27FC236}">
                  <a16:creationId xmlns:a16="http://schemas.microsoft.com/office/drawing/2014/main" id="{43514743-3C28-3E96-A7C7-A09FA075B8C5}"/>
                </a:ext>
              </a:extLst>
            </p:cNvPr>
            <p:cNvSpPr>
              <a:spLocks noEditPoints="1"/>
            </p:cNvSpPr>
            <p:nvPr/>
          </p:nvSpPr>
          <p:spPr bwMode="auto">
            <a:xfrm>
              <a:off x="11052175" y="3771900"/>
              <a:ext cx="901700" cy="796925"/>
            </a:xfrm>
            <a:custGeom>
              <a:avLst/>
              <a:gdLst>
                <a:gd name="T0" fmla="*/ 186 w 568"/>
                <a:gd name="T1" fmla="*/ 0 h 502"/>
                <a:gd name="T2" fmla="*/ 144 w 568"/>
                <a:gd name="T3" fmla="*/ 50 h 502"/>
                <a:gd name="T4" fmla="*/ 50 w 568"/>
                <a:gd name="T5" fmla="*/ 158 h 502"/>
                <a:gd name="T6" fmla="*/ 6 w 568"/>
                <a:gd name="T7" fmla="*/ 260 h 502"/>
                <a:gd name="T8" fmla="*/ 2 w 568"/>
                <a:gd name="T9" fmla="*/ 352 h 502"/>
                <a:gd name="T10" fmla="*/ 32 w 568"/>
                <a:gd name="T11" fmla="*/ 432 h 502"/>
                <a:gd name="T12" fmla="*/ 98 w 568"/>
                <a:gd name="T13" fmla="*/ 478 h 502"/>
                <a:gd name="T14" fmla="*/ 194 w 568"/>
                <a:gd name="T15" fmla="*/ 498 h 502"/>
                <a:gd name="T16" fmla="*/ 284 w 568"/>
                <a:gd name="T17" fmla="*/ 502 h 502"/>
                <a:gd name="T18" fmla="*/ 346 w 568"/>
                <a:gd name="T19" fmla="*/ 500 h 502"/>
                <a:gd name="T20" fmla="*/ 448 w 568"/>
                <a:gd name="T21" fmla="*/ 486 h 502"/>
                <a:gd name="T22" fmla="*/ 522 w 568"/>
                <a:gd name="T23" fmla="*/ 448 h 502"/>
                <a:gd name="T24" fmla="*/ 564 w 568"/>
                <a:gd name="T25" fmla="*/ 376 h 502"/>
                <a:gd name="T26" fmla="*/ 568 w 568"/>
                <a:gd name="T27" fmla="*/ 290 h 502"/>
                <a:gd name="T28" fmla="*/ 532 w 568"/>
                <a:gd name="T29" fmla="*/ 180 h 502"/>
                <a:gd name="T30" fmla="*/ 454 w 568"/>
                <a:gd name="T31" fmla="*/ 82 h 502"/>
                <a:gd name="T32" fmla="*/ 382 w 568"/>
                <a:gd name="T33" fmla="*/ 0 h 502"/>
                <a:gd name="T34" fmla="*/ 360 w 568"/>
                <a:gd name="T35" fmla="*/ 382 h 502"/>
                <a:gd name="T36" fmla="*/ 308 w 568"/>
                <a:gd name="T37" fmla="*/ 398 h 502"/>
                <a:gd name="T38" fmla="*/ 300 w 568"/>
                <a:gd name="T39" fmla="*/ 420 h 502"/>
                <a:gd name="T40" fmla="*/ 268 w 568"/>
                <a:gd name="T41" fmla="*/ 428 h 502"/>
                <a:gd name="T42" fmla="*/ 260 w 568"/>
                <a:gd name="T43" fmla="*/ 406 h 502"/>
                <a:gd name="T44" fmla="*/ 242 w 568"/>
                <a:gd name="T45" fmla="*/ 392 h 502"/>
                <a:gd name="T46" fmla="*/ 182 w 568"/>
                <a:gd name="T47" fmla="*/ 362 h 502"/>
                <a:gd name="T48" fmla="*/ 174 w 568"/>
                <a:gd name="T49" fmla="*/ 342 h 502"/>
                <a:gd name="T50" fmla="*/ 196 w 568"/>
                <a:gd name="T51" fmla="*/ 324 h 502"/>
                <a:gd name="T52" fmla="*/ 210 w 568"/>
                <a:gd name="T53" fmla="*/ 332 h 502"/>
                <a:gd name="T54" fmla="*/ 216 w 568"/>
                <a:gd name="T55" fmla="*/ 338 h 502"/>
                <a:gd name="T56" fmla="*/ 246 w 568"/>
                <a:gd name="T57" fmla="*/ 356 h 502"/>
                <a:gd name="T58" fmla="*/ 258 w 568"/>
                <a:gd name="T59" fmla="*/ 356 h 502"/>
                <a:gd name="T60" fmla="*/ 260 w 568"/>
                <a:gd name="T61" fmla="*/ 264 h 502"/>
                <a:gd name="T62" fmla="*/ 214 w 568"/>
                <a:gd name="T63" fmla="*/ 234 h 502"/>
                <a:gd name="T64" fmla="*/ 190 w 568"/>
                <a:gd name="T65" fmla="*/ 212 h 502"/>
                <a:gd name="T66" fmla="*/ 178 w 568"/>
                <a:gd name="T67" fmla="*/ 180 h 502"/>
                <a:gd name="T68" fmla="*/ 186 w 568"/>
                <a:gd name="T69" fmla="*/ 136 h 502"/>
                <a:gd name="T70" fmla="*/ 208 w 568"/>
                <a:gd name="T71" fmla="*/ 112 h 502"/>
                <a:gd name="T72" fmla="*/ 252 w 568"/>
                <a:gd name="T73" fmla="*/ 92 h 502"/>
                <a:gd name="T74" fmla="*/ 260 w 568"/>
                <a:gd name="T75" fmla="*/ 66 h 502"/>
                <a:gd name="T76" fmla="*/ 292 w 568"/>
                <a:gd name="T77" fmla="*/ 58 h 502"/>
                <a:gd name="T78" fmla="*/ 300 w 568"/>
                <a:gd name="T79" fmla="*/ 82 h 502"/>
                <a:gd name="T80" fmla="*/ 322 w 568"/>
                <a:gd name="T81" fmla="*/ 92 h 502"/>
                <a:gd name="T82" fmla="*/ 370 w 568"/>
                <a:gd name="T83" fmla="*/ 120 h 502"/>
                <a:gd name="T84" fmla="*/ 382 w 568"/>
                <a:gd name="T85" fmla="*/ 146 h 502"/>
                <a:gd name="T86" fmla="*/ 360 w 568"/>
                <a:gd name="T87" fmla="*/ 164 h 502"/>
                <a:gd name="T88" fmla="*/ 346 w 568"/>
                <a:gd name="T89" fmla="*/ 154 h 502"/>
                <a:gd name="T90" fmla="*/ 342 w 568"/>
                <a:gd name="T91" fmla="*/ 150 h 502"/>
                <a:gd name="T92" fmla="*/ 310 w 568"/>
                <a:gd name="T93" fmla="*/ 130 h 502"/>
                <a:gd name="T94" fmla="*/ 304 w 568"/>
                <a:gd name="T95" fmla="*/ 128 h 502"/>
                <a:gd name="T96" fmla="*/ 300 w 568"/>
                <a:gd name="T97" fmla="*/ 222 h 502"/>
                <a:gd name="T98" fmla="*/ 308 w 568"/>
                <a:gd name="T99" fmla="*/ 234 h 502"/>
                <a:gd name="T100" fmla="*/ 374 w 568"/>
                <a:gd name="T101" fmla="*/ 272 h 502"/>
                <a:gd name="T102" fmla="*/ 394 w 568"/>
                <a:gd name="T103" fmla="*/ 306 h 502"/>
                <a:gd name="T104" fmla="*/ 388 w 568"/>
                <a:gd name="T105" fmla="*/ 350 h 502"/>
                <a:gd name="T106" fmla="*/ 368 w 568"/>
                <a:gd name="T107" fmla="*/ 378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8" h="502">
                  <a:moveTo>
                    <a:pt x="382" y="0"/>
                  </a:moveTo>
                  <a:lnTo>
                    <a:pt x="290" y="0"/>
                  </a:lnTo>
                  <a:lnTo>
                    <a:pt x="278" y="0"/>
                  </a:lnTo>
                  <a:lnTo>
                    <a:pt x="186" y="0"/>
                  </a:lnTo>
                  <a:lnTo>
                    <a:pt x="186" y="0"/>
                  </a:lnTo>
                  <a:lnTo>
                    <a:pt x="180" y="12"/>
                  </a:lnTo>
                  <a:lnTo>
                    <a:pt x="170" y="24"/>
                  </a:lnTo>
                  <a:lnTo>
                    <a:pt x="144" y="50"/>
                  </a:lnTo>
                  <a:lnTo>
                    <a:pt x="114" y="82"/>
                  </a:lnTo>
                  <a:lnTo>
                    <a:pt x="82" y="116"/>
                  </a:lnTo>
                  <a:lnTo>
                    <a:pt x="66" y="136"/>
                  </a:lnTo>
                  <a:lnTo>
                    <a:pt x="50" y="158"/>
                  </a:lnTo>
                  <a:lnTo>
                    <a:pt x="36" y="180"/>
                  </a:lnTo>
                  <a:lnTo>
                    <a:pt x="24" y="204"/>
                  </a:lnTo>
                  <a:lnTo>
                    <a:pt x="14" y="232"/>
                  </a:lnTo>
                  <a:lnTo>
                    <a:pt x="6" y="260"/>
                  </a:lnTo>
                  <a:lnTo>
                    <a:pt x="2" y="290"/>
                  </a:lnTo>
                  <a:lnTo>
                    <a:pt x="0" y="324"/>
                  </a:lnTo>
                  <a:lnTo>
                    <a:pt x="0" y="324"/>
                  </a:lnTo>
                  <a:lnTo>
                    <a:pt x="2" y="352"/>
                  </a:lnTo>
                  <a:lnTo>
                    <a:pt x="6" y="376"/>
                  </a:lnTo>
                  <a:lnTo>
                    <a:pt x="12" y="398"/>
                  </a:lnTo>
                  <a:lnTo>
                    <a:pt x="20" y="416"/>
                  </a:lnTo>
                  <a:lnTo>
                    <a:pt x="32" y="432"/>
                  </a:lnTo>
                  <a:lnTo>
                    <a:pt x="46" y="448"/>
                  </a:lnTo>
                  <a:lnTo>
                    <a:pt x="62" y="460"/>
                  </a:lnTo>
                  <a:lnTo>
                    <a:pt x="78" y="470"/>
                  </a:lnTo>
                  <a:lnTo>
                    <a:pt x="98" y="478"/>
                  </a:lnTo>
                  <a:lnTo>
                    <a:pt x="120" y="486"/>
                  </a:lnTo>
                  <a:lnTo>
                    <a:pt x="144" y="492"/>
                  </a:lnTo>
                  <a:lnTo>
                    <a:pt x="168" y="496"/>
                  </a:lnTo>
                  <a:lnTo>
                    <a:pt x="194" y="498"/>
                  </a:lnTo>
                  <a:lnTo>
                    <a:pt x="224" y="500"/>
                  </a:lnTo>
                  <a:lnTo>
                    <a:pt x="284" y="502"/>
                  </a:lnTo>
                  <a:lnTo>
                    <a:pt x="284" y="502"/>
                  </a:lnTo>
                  <a:lnTo>
                    <a:pt x="284" y="502"/>
                  </a:lnTo>
                  <a:lnTo>
                    <a:pt x="284" y="502"/>
                  </a:lnTo>
                  <a:lnTo>
                    <a:pt x="284" y="502"/>
                  </a:lnTo>
                  <a:lnTo>
                    <a:pt x="284" y="502"/>
                  </a:lnTo>
                  <a:lnTo>
                    <a:pt x="346" y="500"/>
                  </a:lnTo>
                  <a:lnTo>
                    <a:pt x="374" y="498"/>
                  </a:lnTo>
                  <a:lnTo>
                    <a:pt x="400" y="496"/>
                  </a:lnTo>
                  <a:lnTo>
                    <a:pt x="426" y="492"/>
                  </a:lnTo>
                  <a:lnTo>
                    <a:pt x="448" y="486"/>
                  </a:lnTo>
                  <a:lnTo>
                    <a:pt x="470" y="478"/>
                  </a:lnTo>
                  <a:lnTo>
                    <a:pt x="490" y="470"/>
                  </a:lnTo>
                  <a:lnTo>
                    <a:pt x="508" y="460"/>
                  </a:lnTo>
                  <a:lnTo>
                    <a:pt x="522" y="448"/>
                  </a:lnTo>
                  <a:lnTo>
                    <a:pt x="536" y="432"/>
                  </a:lnTo>
                  <a:lnTo>
                    <a:pt x="548" y="416"/>
                  </a:lnTo>
                  <a:lnTo>
                    <a:pt x="556" y="398"/>
                  </a:lnTo>
                  <a:lnTo>
                    <a:pt x="564" y="376"/>
                  </a:lnTo>
                  <a:lnTo>
                    <a:pt x="568" y="352"/>
                  </a:lnTo>
                  <a:lnTo>
                    <a:pt x="568" y="324"/>
                  </a:lnTo>
                  <a:lnTo>
                    <a:pt x="568" y="324"/>
                  </a:lnTo>
                  <a:lnTo>
                    <a:pt x="568" y="290"/>
                  </a:lnTo>
                  <a:lnTo>
                    <a:pt x="562" y="260"/>
                  </a:lnTo>
                  <a:lnTo>
                    <a:pt x="554" y="232"/>
                  </a:lnTo>
                  <a:lnTo>
                    <a:pt x="544" y="204"/>
                  </a:lnTo>
                  <a:lnTo>
                    <a:pt x="532" y="180"/>
                  </a:lnTo>
                  <a:lnTo>
                    <a:pt x="518" y="158"/>
                  </a:lnTo>
                  <a:lnTo>
                    <a:pt x="502" y="136"/>
                  </a:lnTo>
                  <a:lnTo>
                    <a:pt x="486" y="116"/>
                  </a:lnTo>
                  <a:lnTo>
                    <a:pt x="454" y="82"/>
                  </a:lnTo>
                  <a:lnTo>
                    <a:pt x="424" y="50"/>
                  </a:lnTo>
                  <a:lnTo>
                    <a:pt x="398" y="24"/>
                  </a:lnTo>
                  <a:lnTo>
                    <a:pt x="388" y="12"/>
                  </a:lnTo>
                  <a:lnTo>
                    <a:pt x="382" y="0"/>
                  </a:lnTo>
                  <a:lnTo>
                    <a:pt x="382" y="0"/>
                  </a:lnTo>
                  <a:close/>
                  <a:moveTo>
                    <a:pt x="368" y="378"/>
                  </a:moveTo>
                  <a:lnTo>
                    <a:pt x="368" y="378"/>
                  </a:lnTo>
                  <a:lnTo>
                    <a:pt x="360" y="382"/>
                  </a:lnTo>
                  <a:lnTo>
                    <a:pt x="352" y="386"/>
                  </a:lnTo>
                  <a:lnTo>
                    <a:pt x="332" y="392"/>
                  </a:lnTo>
                  <a:lnTo>
                    <a:pt x="308" y="398"/>
                  </a:lnTo>
                  <a:lnTo>
                    <a:pt x="308" y="398"/>
                  </a:lnTo>
                  <a:lnTo>
                    <a:pt x="302" y="402"/>
                  </a:lnTo>
                  <a:lnTo>
                    <a:pt x="300" y="408"/>
                  </a:lnTo>
                  <a:lnTo>
                    <a:pt x="300" y="420"/>
                  </a:lnTo>
                  <a:lnTo>
                    <a:pt x="300" y="420"/>
                  </a:lnTo>
                  <a:lnTo>
                    <a:pt x="298" y="426"/>
                  </a:lnTo>
                  <a:lnTo>
                    <a:pt x="292" y="428"/>
                  </a:lnTo>
                  <a:lnTo>
                    <a:pt x="268" y="428"/>
                  </a:lnTo>
                  <a:lnTo>
                    <a:pt x="268" y="428"/>
                  </a:lnTo>
                  <a:lnTo>
                    <a:pt x="262" y="426"/>
                  </a:lnTo>
                  <a:lnTo>
                    <a:pt x="260" y="420"/>
                  </a:lnTo>
                  <a:lnTo>
                    <a:pt x="260" y="406"/>
                  </a:lnTo>
                  <a:lnTo>
                    <a:pt x="260" y="406"/>
                  </a:lnTo>
                  <a:lnTo>
                    <a:pt x="258" y="400"/>
                  </a:lnTo>
                  <a:lnTo>
                    <a:pt x="252" y="396"/>
                  </a:lnTo>
                  <a:lnTo>
                    <a:pt x="252" y="396"/>
                  </a:lnTo>
                  <a:lnTo>
                    <a:pt x="242" y="392"/>
                  </a:lnTo>
                  <a:lnTo>
                    <a:pt x="220" y="384"/>
                  </a:lnTo>
                  <a:lnTo>
                    <a:pt x="206" y="378"/>
                  </a:lnTo>
                  <a:lnTo>
                    <a:pt x="194" y="370"/>
                  </a:lnTo>
                  <a:lnTo>
                    <a:pt x="182" y="362"/>
                  </a:lnTo>
                  <a:lnTo>
                    <a:pt x="176" y="354"/>
                  </a:lnTo>
                  <a:lnTo>
                    <a:pt x="176" y="354"/>
                  </a:lnTo>
                  <a:lnTo>
                    <a:pt x="174" y="348"/>
                  </a:lnTo>
                  <a:lnTo>
                    <a:pt x="174" y="342"/>
                  </a:lnTo>
                  <a:lnTo>
                    <a:pt x="178" y="334"/>
                  </a:lnTo>
                  <a:lnTo>
                    <a:pt x="184" y="330"/>
                  </a:lnTo>
                  <a:lnTo>
                    <a:pt x="190" y="326"/>
                  </a:lnTo>
                  <a:lnTo>
                    <a:pt x="196" y="324"/>
                  </a:lnTo>
                  <a:lnTo>
                    <a:pt x="204" y="324"/>
                  </a:lnTo>
                  <a:lnTo>
                    <a:pt x="208" y="330"/>
                  </a:lnTo>
                  <a:lnTo>
                    <a:pt x="208" y="330"/>
                  </a:lnTo>
                  <a:lnTo>
                    <a:pt x="210" y="332"/>
                  </a:lnTo>
                  <a:lnTo>
                    <a:pt x="210" y="332"/>
                  </a:lnTo>
                  <a:lnTo>
                    <a:pt x="212" y="334"/>
                  </a:lnTo>
                  <a:lnTo>
                    <a:pt x="212" y="334"/>
                  </a:lnTo>
                  <a:lnTo>
                    <a:pt x="216" y="338"/>
                  </a:lnTo>
                  <a:lnTo>
                    <a:pt x="216" y="338"/>
                  </a:lnTo>
                  <a:lnTo>
                    <a:pt x="230" y="348"/>
                  </a:lnTo>
                  <a:lnTo>
                    <a:pt x="246" y="356"/>
                  </a:lnTo>
                  <a:lnTo>
                    <a:pt x="246" y="356"/>
                  </a:lnTo>
                  <a:lnTo>
                    <a:pt x="252" y="358"/>
                  </a:lnTo>
                  <a:lnTo>
                    <a:pt x="252" y="358"/>
                  </a:lnTo>
                  <a:lnTo>
                    <a:pt x="256" y="358"/>
                  </a:lnTo>
                  <a:lnTo>
                    <a:pt x="258" y="356"/>
                  </a:lnTo>
                  <a:lnTo>
                    <a:pt x="260" y="354"/>
                  </a:lnTo>
                  <a:lnTo>
                    <a:pt x="260" y="352"/>
                  </a:lnTo>
                  <a:lnTo>
                    <a:pt x="260" y="264"/>
                  </a:lnTo>
                  <a:lnTo>
                    <a:pt x="260" y="264"/>
                  </a:lnTo>
                  <a:lnTo>
                    <a:pt x="258" y="258"/>
                  </a:lnTo>
                  <a:lnTo>
                    <a:pt x="252" y="254"/>
                  </a:lnTo>
                  <a:lnTo>
                    <a:pt x="252" y="254"/>
                  </a:lnTo>
                  <a:lnTo>
                    <a:pt x="214" y="234"/>
                  </a:lnTo>
                  <a:lnTo>
                    <a:pt x="214" y="234"/>
                  </a:lnTo>
                  <a:lnTo>
                    <a:pt x="204" y="228"/>
                  </a:lnTo>
                  <a:lnTo>
                    <a:pt x="196" y="220"/>
                  </a:lnTo>
                  <a:lnTo>
                    <a:pt x="190" y="212"/>
                  </a:lnTo>
                  <a:lnTo>
                    <a:pt x="184" y="202"/>
                  </a:lnTo>
                  <a:lnTo>
                    <a:pt x="184" y="202"/>
                  </a:lnTo>
                  <a:lnTo>
                    <a:pt x="180" y="192"/>
                  </a:lnTo>
                  <a:lnTo>
                    <a:pt x="178" y="180"/>
                  </a:lnTo>
                  <a:lnTo>
                    <a:pt x="176" y="170"/>
                  </a:lnTo>
                  <a:lnTo>
                    <a:pt x="178" y="158"/>
                  </a:lnTo>
                  <a:lnTo>
                    <a:pt x="182" y="148"/>
                  </a:lnTo>
                  <a:lnTo>
                    <a:pt x="186" y="136"/>
                  </a:lnTo>
                  <a:lnTo>
                    <a:pt x="192" y="126"/>
                  </a:lnTo>
                  <a:lnTo>
                    <a:pt x="200" y="118"/>
                  </a:lnTo>
                  <a:lnTo>
                    <a:pt x="200" y="118"/>
                  </a:lnTo>
                  <a:lnTo>
                    <a:pt x="208" y="112"/>
                  </a:lnTo>
                  <a:lnTo>
                    <a:pt x="216" y="108"/>
                  </a:lnTo>
                  <a:lnTo>
                    <a:pt x="232" y="100"/>
                  </a:lnTo>
                  <a:lnTo>
                    <a:pt x="252" y="92"/>
                  </a:lnTo>
                  <a:lnTo>
                    <a:pt x="252" y="92"/>
                  </a:lnTo>
                  <a:lnTo>
                    <a:pt x="258" y="88"/>
                  </a:lnTo>
                  <a:lnTo>
                    <a:pt x="260" y="82"/>
                  </a:lnTo>
                  <a:lnTo>
                    <a:pt x="260" y="66"/>
                  </a:lnTo>
                  <a:lnTo>
                    <a:pt x="260" y="66"/>
                  </a:lnTo>
                  <a:lnTo>
                    <a:pt x="262" y="60"/>
                  </a:lnTo>
                  <a:lnTo>
                    <a:pt x="268" y="58"/>
                  </a:lnTo>
                  <a:lnTo>
                    <a:pt x="292" y="58"/>
                  </a:lnTo>
                  <a:lnTo>
                    <a:pt x="292" y="58"/>
                  </a:lnTo>
                  <a:lnTo>
                    <a:pt x="298" y="60"/>
                  </a:lnTo>
                  <a:lnTo>
                    <a:pt x="300" y="66"/>
                  </a:lnTo>
                  <a:lnTo>
                    <a:pt x="300" y="82"/>
                  </a:lnTo>
                  <a:lnTo>
                    <a:pt x="300" y="82"/>
                  </a:lnTo>
                  <a:lnTo>
                    <a:pt x="302" y="86"/>
                  </a:lnTo>
                  <a:lnTo>
                    <a:pt x="308" y="90"/>
                  </a:lnTo>
                  <a:lnTo>
                    <a:pt x="308" y="90"/>
                  </a:lnTo>
                  <a:lnTo>
                    <a:pt x="322" y="92"/>
                  </a:lnTo>
                  <a:lnTo>
                    <a:pt x="322" y="92"/>
                  </a:lnTo>
                  <a:lnTo>
                    <a:pt x="338" y="100"/>
                  </a:lnTo>
                  <a:lnTo>
                    <a:pt x="356" y="108"/>
                  </a:lnTo>
                  <a:lnTo>
                    <a:pt x="370" y="120"/>
                  </a:lnTo>
                  <a:lnTo>
                    <a:pt x="382" y="132"/>
                  </a:lnTo>
                  <a:lnTo>
                    <a:pt x="382" y="132"/>
                  </a:lnTo>
                  <a:lnTo>
                    <a:pt x="384" y="138"/>
                  </a:lnTo>
                  <a:lnTo>
                    <a:pt x="382" y="146"/>
                  </a:lnTo>
                  <a:lnTo>
                    <a:pt x="378" y="152"/>
                  </a:lnTo>
                  <a:lnTo>
                    <a:pt x="372" y="158"/>
                  </a:lnTo>
                  <a:lnTo>
                    <a:pt x="366" y="162"/>
                  </a:lnTo>
                  <a:lnTo>
                    <a:pt x="360" y="164"/>
                  </a:lnTo>
                  <a:lnTo>
                    <a:pt x="354" y="162"/>
                  </a:lnTo>
                  <a:lnTo>
                    <a:pt x="348" y="158"/>
                  </a:lnTo>
                  <a:lnTo>
                    <a:pt x="348" y="158"/>
                  </a:lnTo>
                  <a:lnTo>
                    <a:pt x="346" y="154"/>
                  </a:lnTo>
                  <a:lnTo>
                    <a:pt x="346" y="154"/>
                  </a:lnTo>
                  <a:lnTo>
                    <a:pt x="346" y="154"/>
                  </a:lnTo>
                  <a:lnTo>
                    <a:pt x="346" y="154"/>
                  </a:lnTo>
                  <a:lnTo>
                    <a:pt x="342" y="150"/>
                  </a:lnTo>
                  <a:lnTo>
                    <a:pt x="342" y="150"/>
                  </a:lnTo>
                  <a:lnTo>
                    <a:pt x="326" y="138"/>
                  </a:lnTo>
                  <a:lnTo>
                    <a:pt x="318" y="134"/>
                  </a:lnTo>
                  <a:lnTo>
                    <a:pt x="310" y="130"/>
                  </a:lnTo>
                  <a:lnTo>
                    <a:pt x="310" y="130"/>
                  </a:lnTo>
                  <a:lnTo>
                    <a:pt x="308" y="128"/>
                  </a:lnTo>
                  <a:lnTo>
                    <a:pt x="308" y="128"/>
                  </a:lnTo>
                  <a:lnTo>
                    <a:pt x="304" y="128"/>
                  </a:lnTo>
                  <a:lnTo>
                    <a:pt x="302" y="130"/>
                  </a:lnTo>
                  <a:lnTo>
                    <a:pt x="300" y="132"/>
                  </a:lnTo>
                  <a:lnTo>
                    <a:pt x="300" y="134"/>
                  </a:lnTo>
                  <a:lnTo>
                    <a:pt x="300" y="222"/>
                  </a:lnTo>
                  <a:lnTo>
                    <a:pt x="300" y="222"/>
                  </a:lnTo>
                  <a:lnTo>
                    <a:pt x="302" y="230"/>
                  </a:lnTo>
                  <a:lnTo>
                    <a:pt x="308" y="234"/>
                  </a:lnTo>
                  <a:lnTo>
                    <a:pt x="308" y="234"/>
                  </a:lnTo>
                  <a:lnTo>
                    <a:pt x="318" y="238"/>
                  </a:lnTo>
                  <a:lnTo>
                    <a:pt x="346" y="252"/>
                  </a:lnTo>
                  <a:lnTo>
                    <a:pt x="360" y="260"/>
                  </a:lnTo>
                  <a:lnTo>
                    <a:pt x="374" y="272"/>
                  </a:lnTo>
                  <a:lnTo>
                    <a:pt x="384" y="282"/>
                  </a:lnTo>
                  <a:lnTo>
                    <a:pt x="390" y="294"/>
                  </a:lnTo>
                  <a:lnTo>
                    <a:pt x="390" y="294"/>
                  </a:lnTo>
                  <a:lnTo>
                    <a:pt x="394" y="306"/>
                  </a:lnTo>
                  <a:lnTo>
                    <a:pt x="394" y="316"/>
                  </a:lnTo>
                  <a:lnTo>
                    <a:pt x="394" y="328"/>
                  </a:lnTo>
                  <a:lnTo>
                    <a:pt x="392" y="338"/>
                  </a:lnTo>
                  <a:lnTo>
                    <a:pt x="388" y="350"/>
                  </a:lnTo>
                  <a:lnTo>
                    <a:pt x="382" y="360"/>
                  </a:lnTo>
                  <a:lnTo>
                    <a:pt x="376" y="368"/>
                  </a:lnTo>
                  <a:lnTo>
                    <a:pt x="368" y="378"/>
                  </a:lnTo>
                  <a:lnTo>
                    <a:pt x="368" y="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nvGrpSpPr>
          <p:cNvPr id="9" name="Group 8">
            <a:extLst>
              <a:ext uri="{FF2B5EF4-FFF2-40B4-BE49-F238E27FC236}">
                <a16:creationId xmlns:a16="http://schemas.microsoft.com/office/drawing/2014/main" id="{A30E2FB0-1EEC-E8D6-7920-D1CC8C7A11C1}"/>
              </a:ext>
            </a:extLst>
          </p:cNvPr>
          <p:cNvGrpSpPr/>
          <p:nvPr/>
        </p:nvGrpSpPr>
        <p:grpSpPr>
          <a:xfrm>
            <a:off x="6227151" y="3822066"/>
            <a:ext cx="282539" cy="291659"/>
            <a:chOff x="8675503" y="1667792"/>
            <a:chExt cx="509165" cy="525600"/>
          </a:xfrm>
          <a:solidFill>
            <a:schemeClr val="bg1"/>
          </a:solidFill>
        </p:grpSpPr>
        <p:sp>
          <p:nvSpPr>
            <p:cNvPr id="10" name="Freeform 102">
              <a:extLst>
                <a:ext uri="{FF2B5EF4-FFF2-40B4-BE49-F238E27FC236}">
                  <a16:creationId xmlns:a16="http://schemas.microsoft.com/office/drawing/2014/main" id="{E2146F35-F6E4-9384-DE92-14D87E2A6425}"/>
                </a:ext>
              </a:extLst>
            </p:cNvPr>
            <p:cNvSpPr>
              <a:spLocks noEditPoints="1"/>
            </p:cNvSpPr>
            <p:nvPr/>
          </p:nvSpPr>
          <p:spPr bwMode="auto">
            <a:xfrm>
              <a:off x="8675503" y="2049451"/>
              <a:ext cx="509165" cy="143941"/>
            </a:xfrm>
            <a:custGeom>
              <a:avLst/>
              <a:gdLst/>
              <a:ahLst/>
              <a:cxnLst>
                <a:cxn ang="0">
                  <a:pos x="1408" y="341"/>
                </a:cxn>
                <a:cxn ang="0">
                  <a:pos x="1424" y="369"/>
                </a:cxn>
                <a:cxn ang="0">
                  <a:pos x="1414" y="392"/>
                </a:cxn>
                <a:cxn ang="0">
                  <a:pos x="787" y="402"/>
                </a:cxn>
                <a:cxn ang="0">
                  <a:pos x="151" y="402"/>
                </a:cxn>
                <a:cxn ang="0">
                  <a:pos x="87" y="381"/>
                </a:cxn>
                <a:cxn ang="0">
                  <a:pos x="41" y="338"/>
                </a:cxn>
                <a:cxn ang="0">
                  <a:pos x="13" y="280"/>
                </a:cxn>
                <a:cxn ang="0">
                  <a:pos x="0" y="202"/>
                </a:cxn>
                <a:cxn ang="0">
                  <a:pos x="13" y="123"/>
                </a:cxn>
                <a:cxn ang="0">
                  <a:pos x="49" y="55"/>
                </a:cxn>
                <a:cxn ang="0">
                  <a:pos x="98" y="16"/>
                </a:cxn>
                <a:cxn ang="0">
                  <a:pos x="164" y="0"/>
                </a:cxn>
                <a:cxn ang="0">
                  <a:pos x="1390" y="0"/>
                </a:cxn>
                <a:cxn ang="0">
                  <a:pos x="1418" y="16"/>
                </a:cxn>
                <a:cxn ang="0">
                  <a:pos x="1422" y="41"/>
                </a:cxn>
                <a:cxn ang="0">
                  <a:pos x="1403" y="66"/>
                </a:cxn>
                <a:cxn ang="0">
                  <a:pos x="770" y="69"/>
                </a:cxn>
                <a:cxn ang="0">
                  <a:pos x="712" y="113"/>
                </a:cxn>
                <a:cxn ang="0">
                  <a:pos x="693" y="171"/>
                </a:cxn>
                <a:cxn ang="0">
                  <a:pos x="693" y="231"/>
                </a:cxn>
                <a:cxn ang="0">
                  <a:pos x="712" y="290"/>
                </a:cxn>
                <a:cxn ang="0">
                  <a:pos x="770" y="334"/>
                </a:cxn>
                <a:cxn ang="0">
                  <a:pos x="1374" y="233"/>
                </a:cxn>
                <a:cxn ang="0">
                  <a:pos x="765" y="258"/>
                </a:cxn>
                <a:cxn ang="0">
                  <a:pos x="773" y="126"/>
                </a:cxn>
                <a:cxn ang="0">
                  <a:pos x="762" y="157"/>
                </a:cxn>
                <a:cxn ang="0">
                  <a:pos x="773" y="126"/>
                </a:cxn>
                <a:cxn ang="0">
                  <a:pos x="174" y="309"/>
                </a:cxn>
                <a:cxn ang="0">
                  <a:pos x="153" y="241"/>
                </a:cxn>
                <a:cxn ang="0">
                  <a:pos x="153" y="162"/>
                </a:cxn>
                <a:cxn ang="0">
                  <a:pos x="174" y="94"/>
                </a:cxn>
                <a:cxn ang="0">
                  <a:pos x="148" y="69"/>
                </a:cxn>
                <a:cxn ang="0">
                  <a:pos x="89" y="113"/>
                </a:cxn>
                <a:cxn ang="0">
                  <a:pos x="70" y="171"/>
                </a:cxn>
                <a:cxn ang="0">
                  <a:pos x="70" y="231"/>
                </a:cxn>
                <a:cxn ang="0">
                  <a:pos x="89" y="290"/>
                </a:cxn>
                <a:cxn ang="0">
                  <a:pos x="148" y="334"/>
                </a:cxn>
                <a:cxn ang="0">
                  <a:pos x="512" y="335"/>
                </a:cxn>
                <a:cxn ang="0">
                  <a:pos x="486" y="280"/>
                </a:cxn>
                <a:cxn ang="0">
                  <a:pos x="473" y="202"/>
                </a:cxn>
                <a:cxn ang="0">
                  <a:pos x="486" y="123"/>
                </a:cxn>
                <a:cxn ang="0">
                  <a:pos x="315" y="67"/>
                </a:cxn>
                <a:cxn ang="0">
                  <a:pos x="258" y="89"/>
                </a:cxn>
                <a:cxn ang="0">
                  <a:pos x="226" y="144"/>
                </a:cxn>
                <a:cxn ang="0">
                  <a:pos x="217" y="202"/>
                </a:cxn>
                <a:cxn ang="0">
                  <a:pos x="226" y="260"/>
                </a:cxn>
                <a:cxn ang="0">
                  <a:pos x="270" y="323"/>
                </a:cxn>
                <a:cxn ang="0">
                  <a:pos x="637" y="335"/>
                </a:cxn>
                <a:cxn ang="0">
                  <a:pos x="640" y="295"/>
                </a:cxn>
                <a:cxn ang="0">
                  <a:pos x="624" y="221"/>
                </a:cxn>
                <a:cxn ang="0">
                  <a:pos x="630" y="142"/>
                </a:cxn>
                <a:cxn ang="0">
                  <a:pos x="654" y="81"/>
                </a:cxn>
                <a:cxn ang="0">
                  <a:pos x="606" y="74"/>
                </a:cxn>
                <a:cxn ang="0">
                  <a:pos x="554" y="128"/>
                </a:cxn>
                <a:cxn ang="0">
                  <a:pos x="540" y="187"/>
                </a:cxn>
                <a:cxn ang="0">
                  <a:pos x="545" y="246"/>
                </a:cxn>
                <a:cxn ang="0">
                  <a:pos x="570" y="302"/>
                </a:cxn>
                <a:cxn ang="0">
                  <a:pos x="637" y="335"/>
                </a:cxn>
              </a:cxnLst>
              <a:rect l="0" t="0" r="r" b="b"/>
              <a:pathLst>
                <a:path w="1424" h="402">
                  <a:moveTo>
                    <a:pt x="1390" y="335"/>
                  </a:moveTo>
                  <a:lnTo>
                    <a:pt x="1390" y="335"/>
                  </a:lnTo>
                  <a:lnTo>
                    <a:pt x="1397" y="337"/>
                  </a:lnTo>
                  <a:lnTo>
                    <a:pt x="1403" y="338"/>
                  </a:lnTo>
                  <a:lnTo>
                    <a:pt x="1408" y="341"/>
                  </a:lnTo>
                  <a:lnTo>
                    <a:pt x="1414" y="345"/>
                  </a:lnTo>
                  <a:lnTo>
                    <a:pt x="1418" y="351"/>
                  </a:lnTo>
                  <a:lnTo>
                    <a:pt x="1421" y="356"/>
                  </a:lnTo>
                  <a:lnTo>
                    <a:pt x="1422" y="362"/>
                  </a:lnTo>
                  <a:lnTo>
                    <a:pt x="1424" y="369"/>
                  </a:lnTo>
                  <a:lnTo>
                    <a:pt x="1424" y="369"/>
                  </a:lnTo>
                  <a:lnTo>
                    <a:pt x="1422" y="376"/>
                  </a:lnTo>
                  <a:lnTo>
                    <a:pt x="1421" y="381"/>
                  </a:lnTo>
                  <a:lnTo>
                    <a:pt x="1418" y="387"/>
                  </a:lnTo>
                  <a:lnTo>
                    <a:pt x="1414" y="392"/>
                  </a:lnTo>
                  <a:lnTo>
                    <a:pt x="1408" y="397"/>
                  </a:lnTo>
                  <a:lnTo>
                    <a:pt x="1403" y="399"/>
                  </a:lnTo>
                  <a:lnTo>
                    <a:pt x="1397" y="402"/>
                  </a:lnTo>
                  <a:lnTo>
                    <a:pt x="1390" y="402"/>
                  </a:lnTo>
                  <a:lnTo>
                    <a:pt x="787" y="402"/>
                  </a:lnTo>
                  <a:lnTo>
                    <a:pt x="637" y="402"/>
                  </a:lnTo>
                  <a:lnTo>
                    <a:pt x="315" y="402"/>
                  </a:lnTo>
                  <a:lnTo>
                    <a:pt x="164" y="402"/>
                  </a:lnTo>
                  <a:lnTo>
                    <a:pt x="164" y="402"/>
                  </a:lnTo>
                  <a:lnTo>
                    <a:pt x="151" y="402"/>
                  </a:lnTo>
                  <a:lnTo>
                    <a:pt x="137" y="399"/>
                  </a:lnTo>
                  <a:lnTo>
                    <a:pt x="123" y="397"/>
                  </a:lnTo>
                  <a:lnTo>
                    <a:pt x="110" y="392"/>
                  </a:lnTo>
                  <a:lnTo>
                    <a:pt x="98" y="388"/>
                  </a:lnTo>
                  <a:lnTo>
                    <a:pt x="87" y="381"/>
                  </a:lnTo>
                  <a:lnTo>
                    <a:pt x="77" y="374"/>
                  </a:lnTo>
                  <a:lnTo>
                    <a:pt x="67" y="367"/>
                  </a:lnTo>
                  <a:lnTo>
                    <a:pt x="57" y="358"/>
                  </a:lnTo>
                  <a:lnTo>
                    <a:pt x="49" y="349"/>
                  </a:lnTo>
                  <a:lnTo>
                    <a:pt x="41" y="338"/>
                  </a:lnTo>
                  <a:lnTo>
                    <a:pt x="34" y="328"/>
                  </a:lnTo>
                  <a:lnTo>
                    <a:pt x="27" y="317"/>
                  </a:lnTo>
                  <a:lnTo>
                    <a:pt x="21" y="305"/>
                  </a:lnTo>
                  <a:lnTo>
                    <a:pt x="13" y="280"/>
                  </a:lnTo>
                  <a:lnTo>
                    <a:pt x="13" y="280"/>
                  </a:lnTo>
                  <a:lnTo>
                    <a:pt x="7" y="260"/>
                  </a:lnTo>
                  <a:lnTo>
                    <a:pt x="3" y="241"/>
                  </a:lnTo>
                  <a:lnTo>
                    <a:pt x="2" y="221"/>
                  </a:lnTo>
                  <a:lnTo>
                    <a:pt x="0" y="202"/>
                  </a:lnTo>
                  <a:lnTo>
                    <a:pt x="0" y="202"/>
                  </a:lnTo>
                  <a:lnTo>
                    <a:pt x="2" y="181"/>
                  </a:lnTo>
                  <a:lnTo>
                    <a:pt x="3" y="162"/>
                  </a:lnTo>
                  <a:lnTo>
                    <a:pt x="7" y="142"/>
                  </a:lnTo>
                  <a:lnTo>
                    <a:pt x="13" y="123"/>
                  </a:lnTo>
                  <a:lnTo>
                    <a:pt x="13" y="123"/>
                  </a:lnTo>
                  <a:lnTo>
                    <a:pt x="21" y="98"/>
                  </a:lnTo>
                  <a:lnTo>
                    <a:pt x="27" y="87"/>
                  </a:lnTo>
                  <a:lnTo>
                    <a:pt x="34" y="75"/>
                  </a:lnTo>
                  <a:lnTo>
                    <a:pt x="41" y="64"/>
                  </a:lnTo>
                  <a:lnTo>
                    <a:pt x="49" y="55"/>
                  </a:lnTo>
                  <a:lnTo>
                    <a:pt x="57" y="45"/>
                  </a:lnTo>
                  <a:lnTo>
                    <a:pt x="67" y="37"/>
                  </a:lnTo>
                  <a:lnTo>
                    <a:pt x="77" y="28"/>
                  </a:lnTo>
                  <a:lnTo>
                    <a:pt x="87" y="21"/>
                  </a:lnTo>
                  <a:lnTo>
                    <a:pt x="98" y="16"/>
                  </a:lnTo>
                  <a:lnTo>
                    <a:pt x="110" y="10"/>
                  </a:lnTo>
                  <a:lnTo>
                    <a:pt x="123" y="6"/>
                  </a:lnTo>
                  <a:lnTo>
                    <a:pt x="135" y="3"/>
                  </a:lnTo>
                  <a:lnTo>
                    <a:pt x="151" y="2"/>
                  </a:lnTo>
                  <a:lnTo>
                    <a:pt x="164" y="0"/>
                  </a:lnTo>
                  <a:lnTo>
                    <a:pt x="315" y="0"/>
                  </a:lnTo>
                  <a:lnTo>
                    <a:pt x="637" y="0"/>
                  </a:lnTo>
                  <a:lnTo>
                    <a:pt x="787" y="0"/>
                  </a:lnTo>
                  <a:lnTo>
                    <a:pt x="1390" y="0"/>
                  </a:lnTo>
                  <a:lnTo>
                    <a:pt x="1390" y="0"/>
                  </a:lnTo>
                  <a:lnTo>
                    <a:pt x="1397" y="2"/>
                  </a:lnTo>
                  <a:lnTo>
                    <a:pt x="1403" y="3"/>
                  </a:lnTo>
                  <a:lnTo>
                    <a:pt x="1408" y="7"/>
                  </a:lnTo>
                  <a:lnTo>
                    <a:pt x="1414" y="10"/>
                  </a:lnTo>
                  <a:lnTo>
                    <a:pt x="1418" y="16"/>
                  </a:lnTo>
                  <a:lnTo>
                    <a:pt x="1421" y="21"/>
                  </a:lnTo>
                  <a:lnTo>
                    <a:pt x="1422" y="28"/>
                  </a:lnTo>
                  <a:lnTo>
                    <a:pt x="1424" y="34"/>
                  </a:lnTo>
                  <a:lnTo>
                    <a:pt x="1424" y="34"/>
                  </a:lnTo>
                  <a:lnTo>
                    <a:pt x="1422" y="41"/>
                  </a:lnTo>
                  <a:lnTo>
                    <a:pt x="1421" y="48"/>
                  </a:lnTo>
                  <a:lnTo>
                    <a:pt x="1418" y="53"/>
                  </a:lnTo>
                  <a:lnTo>
                    <a:pt x="1414" y="57"/>
                  </a:lnTo>
                  <a:lnTo>
                    <a:pt x="1408" y="62"/>
                  </a:lnTo>
                  <a:lnTo>
                    <a:pt x="1403" y="66"/>
                  </a:lnTo>
                  <a:lnTo>
                    <a:pt x="1397" y="67"/>
                  </a:lnTo>
                  <a:lnTo>
                    <a:pt x="1390" y="67"/>
                  </a:lnTo>
                  <a:lnTo>
                    <a:pt x="787" y="67"/>
                  </a:lnTo>
                  <a:lnTo>
                    <a:pt x="787" y="67"/>
                  </a:lnTo>
                  <a:lnTo>
                    <a:pt x="770" y="69"/>
                  </a:lnTo>
                  <a:lnTo>
                    <a:pt x="757" y="74"/>
                  </a:lnTo>
                  <a:lnTo>
                    <a:pt x="743" y="81"/>
                  </a:lnTo>
                  <a:lnTo>
                    <a:pt x="732" y="89"/>
                  </a:lnTo>
                  <a:lnTo>
                    <a:pt x="720" y="101"/>
                  </a:lnTo>
                  <a:lnTo>
                    <a:pt x="712" y="113"/>
                  </a:lnTo>
                  <a:lnTo>
                    <a:pt x="705" y="128"/>
                  </a:lnTo>
                  <a:lnTo>
                    <a:pt x="698" y="144"/>
                  </a:lnTo>
                  <a:lnTo>
                    <a:pt x="698" y="144"/>
                  </a:lnTo>
                  <a:lnTo>
                    <a:pt x="695" y="157"/>
                  </a:lnTo>
                  <a:lnTo>
                    <a:pt x="693" y="171"/>
                  </a:lnTo>
                  <a:lnTo>
                    <a:pt x="690" y="187"/>
                  </a:lnTo>
                  <a:lnTo>
                    <a:pt x="690" y="202"/>
                  </a:lnTo>
                  <a:lnTo>
                    <a:pt x="690" y="202"/>
                  </a:lnTo>
                  <a:lnTo>
                    <a:pt x="690" y="217"/>
                  </a:lnTo>
                  <a:lnTo>
                    <a:pt x="693" y="231"/>
                  </a:lnTo>
                  <a:lnTo>
                    <a:pt x="695" y="246"/>
                  </a:lnTo>
                  <a:lnTo>
                    <a:pt x="698" y="260"/>
                  </a:lnTo>
                  <a:lnTo>
                    <a:pt x="698" y="260"/>
                  </a:lnTo>
                  <a:lnTo>
                    <a:pt x="705" y="276"/>
                  </a:lnTo>
                  <a:lnTo>
                    <a:pt x="712" y="290"/>
                  </a:lnTo>
                  <a:lnTo>
                    <a:pt x="720" y="302"/>
                  </a:lnTo>
                  <a:lnTo>
                    <a:pt x="732" y="313"/>
                  </a:lnTo>
                  <a:lnTo>
                    <a:pt x="743" y="323"/>
                  </a:lnTo>
                  <a:lnTo>
                    <a:pt x="757" y="330"/>
                  </a:lnTo>
                  <a:lnTo>
                    <a:pt x="770" y="334"/>
                  </a:lnTo>
                  <a:lnTo>
                    <a:pt x="787" y="335"/>
                  </a:lnTo>
                  <a:lnTo>
                    <a:pt x="1390" y="335"/>
                  </a:lnTo>
                  <a:lnTo>
                    <a:pt x="1390" y="335"/>
                  </a:lnTo>
                  <a:close/>
                  <a:moveTo>
                    <a:pt x="759" y="233"/>
                  </a:moveTo>
                  <a:lnTo>
                    <a:pt x="1374" y="233"/>
                  </a:lnTo>
                  <a:lnTo>
                    <a:pt x="1374" y="277"/>
                  </a:lnTo>
                  <a:lnTo>
                    <a:pt x="773" y="277"/>
                  </a:lnTo>
                  <a:lnTo>
                    <a:pt x="773" y="277"/>
                  </a:lnTo>
                  <a:lnTo>
                    <a:pt x="769" y="267"/>
                  </a:lnTo>
                  <a:lnTo>
                    <a:pt x="765" y="258"/>
                  </a:lnTo>
                  <a:lnTo>
                    <a:pt x="765" y="258"/>
                  </a:lnTo>
                  <a:lnTo>
                    <a:pt x="762" y="245"/>
                  </a:lnTo>
                  <a:lnTo>
                    <a:pt x="759" y="233"/>
                  </a:lnTo>
                  <a:lnTo>
                    <a:pt x="759" y="233"/>
                  </a:lnTo>
                  <a:close/>
                  <a:moveTo>
                    <a:pt x="773" y="126"/>
                  </a:moveTo>
                  <a:lnTo>
                    <a:pt x="1374" y="126"/>
                  </a:lnTo>
                  <a:lnTo>
                    <a:pt x="1374" y="170"/>
                  </a:lnTo>
                  <a:lnTo>
                    <a:pt x="759" y="170"/>
                  </a:lnTo>
                  <a:lnTo>
                    <a:pt x="759" y="170"/>
                  </a:lnTo>
                  <a:lnTo>
                    <a:pt x="762" y="157"/>
                  </a:lnTo>
                  <a:lnTo>
                    <a:pt x="765" y="146"/>
                  </a:lnTo>
                  <a:lnTo>
                    <a:pt x="765" y="146"/>
                  </a:lnTo>
                  <a:lnTo>
                    <a:pt x="769" y="135"/>
                  </a:lnTo>
                  <a:lnTo>
                    <a:pt x="773" y="126"/>
                  </a:lnTo>
                  <a:lnTo>
                    <a:pt x="773" y="126"/>
                  </a:lnTo>
                  <a:close/>
                  <a:moveTo>
                    <a:pt x="164" y="335"/>
                  </a:moveTo>
                  <a:lnTo>
                    <a:pt x="189" y="335"/>
                  </a:lnTo>
                  <a:lnTo>
                    <a:pt x="189" y="335"/>
                  </a:lnTo>
                  <a:lnTo>
                    <a:pt x="181" y="323"/>
                  </a:lnTo>
                  <a:lnTo>
                    <a:pt x="174" y="309"/>
                  </a:lnTo>
                  <a:lnTo>
                    <a:pt x="167" y="295"/>
                  </a:lnTo>
                  <a:lnTo>
                    <a:pt x="162" y="280"/>
                  </a:lnTo>
                  <a:lnTo>
                    <a:pt x="162" y="280"/>
                  </a:lnTo>
                  <a:lnTo>
                    <a:pt x="158" y="260"/>
                  </a:lnTo>
                  <a:lnTo>
                    <a:pt x="153" y="241"/>
                  </a:lnTo>
                  <a:lnTo>
                    <a:pt x="151" y="221"/>
                  </a:lnTo>
                  <a:lnTo>
                    <a:pt x="151" y="202"/>
                  </a:lnTo>
                  <a:lnTo>
                    <a:pt x="151" y="202"/>
                  </a:lnTo>
                  <a:lnTo>
                    <a:pt x="151" y="181"/>
                  </a:lnTo>
                  <a:lnTo>
                    <a:pt x="153" y="162"/>
                  </a:lnTo>
                  <a:lnTo>
                    <a:pt x="158" y="142"/>
                  </a:lnTo>
                  <a:lnTo>
                    <a:pt x="162" y="123"/>
                  </a:lnTo>
                  <a:lnTo>
                    <a:pt x="162" y="123"/>
                  </a:lnTo>
                  <a:lnTo>
                    <a:pt x="167" y="109"/>
                  </a:lnTo>
                  <a:lnTo>
                    <a:pt x="174" y="94"/>
                  </a:lnTo>
                  <a:lnTo>
                    <a:pt x="181" y="81"/>
                  </a:lnTo>
                  <a:lnTo>
                    <a:pt x="189" y="67"/>
                  </a:lnTo>
                  <a:lnTo>
                    <a:pt x="164" y="67"/>
                  </a:lnTo>
                  <a:lnTo>
                    <a:pt x="164" y="67"/>
                  </a:lnTo>
                  <a:lnTo>
                    <a:pt x="148" y="69"/>
                  </a:lnTo>
                  <a:lnTo>
                    <a:pt x="134" y="74"/>
                  </a:lnTo>
                  <a:lnTo>
                    <a:pt x="120" y="81"/>
                  </a:lnTo>
                  <a:lnTo>
                    <a:pt x="107" y="89"/>
                  </a:lnTo>
                  <a:lnTo>
                    <a:pt x="98" y="101"/>
                  </a:lnTo>
                  <a:lnTo>
                    <a:pt x="89" y="113"/>
                  </a:lnTo>
                  <a:lnTo>
                    <a:pt x="81" y="128"/>
                  </a:lnTo>
                  <a:lnTo>
                    <a:pt x="76" y="144"/>
                  </a:lnTo>
                  <a:lnTo>
                    <a:pt x="76" y="144"/>
                  </a:lnTo>
                  <a:lnTo>
                    <a:pt x="73" y="157"/>
                  </a:lnTo>
                  <a:lnTo>
                    <a:pt x="70" y="171"/>
                  </a:lnTo>
                  <a:lnTo>
                    <a:pt x="67" y="187"/>
                  </a:lnTo>
                  <a:lnTo>
                    <a:pt x="67" y="202"/>
                  </a:lnTo>
                  <a:lnTo>
                    <a:pt x="67" y="202"/>
                  </a:lnTo>
                  <a:lnTo>
                    <a:pt x="67" y="217"/>
                  </a:lnTo>
                  <a:lnTo>
                    <a:pt x="70" y="231"/>
                  </a:lnTo>
                  <a:lnTo>
                    <a:pt x="73" y="246"/>
                  </a:lnTo>
                  <a:lnTo>
                    <a:pt x="76" y="260"/>
                  </a:lnTo>
                  <a:lnTo>
                    <a:pt x="76" y="260"/>
                  </a:lnTo>
                  <a:lnTo>
                    <a:pt x="81" y="276"/>
                  </a:lnTo>
                  <a:lnTo>
                    <a:pt x="89" y="290"/>
                  </a:lnTo>
                  <a:lnTo>
                    <a:pt x="98" y="302"/>
                  </a:lnTo>
                  <a:lnTo>
                    <a:pt x="107" y="313"/>
                  </a:lnTo>
                  <a:lnTo>
                    <a:pt x="120" y="323"/>
                  </a:lnTo>
                  <a:lnTo>
                    <a:pt x="134" y="330"/>
                  </a:lnTo>
                  <a:lnTo>
                    <a:pt x="148" y="334"/>
                  </a:lnTo>
                  <a:lnTo>
                    <a:pt x="164" y="335"/>
                  </a:lnTo>
                  <a:lnTo>
                    <a:pt x="164" y="335"/>
                  </a:lnTo>
                  <a:close/>
                  <a:moveTo>
                    <a:pt x="315" y="335"/>
                  </a:moveTo>
                  <a:lnTo>
                    <a:pt x="512" y="335"/>
                  </a:lnTo>
                  <a:lnTo>
                    <a:pt x="512" y="335"/>
                  </a:lnTo>
                  <a:lnTo>
                    <a:pt x="504" y="323"/>
                  </a:lnTo>
                  <a:lnTo>
                    <a:pt x="497" y="309"/>
                  </a:lnTo>
                  <a:lnTo>
                    <a:pt x="490" y="295"/>
                  </a:lnTo>
                  <a:lnTo>
                    <a:pt x="486" y="280"/>
                  </a:lnTo>
                  <a:lnTo>
                    <a:pt x="486" y="280"/>
                  </a:lnTo>
                  <a:lnTo>
                    <a:pt x="480" y="260"/>
                  </a:lnTo>
                  <a:lnTo>
                    <a:pt x="476" y="241"/>
                  </a:lnTo>
                  <a:lnTo>
                    <a:pt x="474" y="221"/>
                  </a:lnTo>
                  <a:lnTo>
                    <a:pt x="473" y="202"/>
                  </a:lnTo>
                  <a:lnTo>
                    <a:pt x="473" y="202"/>
                  </a:lnTo>
                  <a:lnTo>
                    <a:pt x="474" y="181"/>
                  </a:lnTo>
                  <a:lnTo>
                    <a:pt x="476" y="162"/>
                  </a:lnTo>
                  <a:lnTo>
                    <a:pt x="480" y="142"/>
                  </a:lnTo>
                  <a:lnTo>
                    <a:pt x="486" y="123"/>
                  </a:lnTo>
                  <a:lnTo>
                    <a:pt x="486" y="123"/>
                  </a:lnTo>
                  <a:lnTo>
                    <a:pt x="490" y="109"/>
                  </a:lnTo>
                  <a:lnTo>
                    <a:pt x="497" y="94"/>
                  </a:lnTo>
                  <a:lnTo>
                    <a:pt x="504" y="81"/>
                  </a:lnTo>
                  <a:lnTo>
                    <a:pt x="512" y="67"/>
                  </a:lnTo>
                  <a:lnTo>
                    <a:pt x="315" y="67"/>
                  </a:lnTo>
                  <a:lnTo>
                    <a:pt x="315" y="67"/>
                  </a:lnTo>
                  <a:lnTo>
                    <a:pt x="298" y="69"/>
                  </a:lnTo>
                  <a:lnTo>
                    <a:pt x="284" y="74"/>
                  </a:lnTo>
                  <a:lnTo>
                    <a:pt x="270" y="81"/>
                  </a:lnTo>
                  <a:lnTo>
                    <a:pt x="258" y="89"/>
                  </a:lnTo>
                  <a:lnTo>
                    <a:pt x="248" y="101"/>
                  </a:lnTo>
                  <a:lnTo>
                    <a:pt x="240" y="113"/>
                  </a:lnTo>
                  <a:lnTo>
                    <a:pt x="231" y="128"/>
                  </a:lnTo>
                  <a:lnTo>
                    <a:pt x="226" y="144"/>
                  </a:lnTo>
                  <a:lnTo>
                    <a:pt x="226" y="144"/>
                  </a:lnTo>
                  <a:lnTo>
                    <a:pt x="221" y="157"/>
                  </a:lnTo>
                  <a:lnTo>
                    <a:pt x="219" y="171"/>
                  </a:lnTo>
                  <a:lnTo>
                    <a:pt x="217" y="187"/>
                  </a:lnTo>
                  <a:lnTo>
                    <a:pt x="217" y="202"/>
                  </a:lnTo>
                  <a:lnTo>
                    <a:pt x="217" y="202"/>
                  </a:lnTo>
                  <a:lnTo>
                    <a:pt x="217" y="217"/>
                  </a:lnTo>
                  <a:lnTo>
                    <a:pt x="219" y="231"/>
                  </a:lnTo>
                  <a:lnTo>
                    <a:pt x="221" y="246"/>
                  </a:lnTo>
                  <a:lnTo>
                    <a:pt x="226" y="260"/>
                  </a:lnTo>
                  <a:lnTo>
                    <a:pt x="226" y="260"/>
                  </a:lnTo>
                  <a:lnTo>
                    <a:pt x="231" y="276"/>
                  </a:lnTo>
                  <a:lnTo>
                    <a:pt x="240" y="290"/>
                  </a:lnTo>
                  <a:lnTo>
                    <a:pt x="248" y="302"/>
                  </a:lnTo>
                  <a:lnTo>
                    <a:pt x="258" y="313"/>
                  </a:lnTo>
                  <a:lnTo>
                    <a:pt x="270" y="323"/>
                  </a:lnTo>
                  <a:lnTo>
                    <a:pt x="284" y="330"/>
                  </a:lnTo>
                  <a:lnTo>
                    <a:pt x="298" y="334"/>
                  </a:lnTo>
                  <a:lnTo>
                    <a:pt x="315" y="335"/>
                  </a:lnTo>
                  <a:lnTo>
                    <a:pt x="315" y="335"/>
                  </a:lnTo>
                  <a:close/>
                  <a:moveTo>
                    <a:pt x="637" y="335"/>
                  </a:moveTo>
                  <a:lnTo>
                    <a:pt x="662" y="335"/>
                  </a:lnTo>
                  <a:lnTo>
                    <a:pt x="662" y="335"/>
                  </a:lnTo>
                  <a:lnTo>
                    <a:pt x="654" y="323"/>
                  </a:lnTo>
                  <a:lnTo>
                    <a:pt x="647" y="309"/>
                  </a:lnTo>
                  <a:lnTo>
                    <a:pt x="640" y="295"/>
                  </a:lnTo>
                  <a:lnTo>
                    <a:pt x="636" y="280"/>
                  </a:lnTo>
                  <a:lnTo>
                    <a:pt x="636" y="280"/>
                  </a:lnTo>
                  <a:lnTo>
                    <a:pt x="630" y="260"/>
                  </a:lnTo>
                  <a:lnTo>
                    <a:pt x="626" y="241"/>
                  </a:lnTo>
                  <a:lnTo>
                    <a:pt x="624" y="221"/>
                  </a:lnTo>
                  <a:lnTo>
                    <a:pt x="623" y="202"/>
                  </a:lnTo>
                  <a:lnTo>
                    <a:pt x="623" y="202"/>
                  </a:lnTo>
                  <a:lnTo>
                    <a:pt x="624" y="181"/>
                  </a:lnTo>
                  <a:lnTo>
                    <a:pt x="626" y="162"/>
                  </a:lnTo>
                  <a:lnTo>
                    <a:pt x="630" y="142"/>
                  </a:lnTo>
                  <a:lnTo>
                    <a:pt x="636" y="123"/>
                  </a:lnTo>
                  <a:lnTo>
                    <a:pt x="636" y="123"/>
                  </a:lnTo>
                  <a:lnTo>
                    <a:pt x="640" y="109"/>
                  </a:lnTo>
                  <a:lnTo>
                    <a:pt x="647" y="94"/>
                  </a:lnTo>
                  <a:lnTo>
                    <a:pt x="654" y="81"/>
                  </a:lnTo>
                  <a:lnTo>
                    <a:pt x="662" y="67"/>
                  </a:lnTo>
                  <a:lnTo>
                    <a:pt x="637" y="67"/>
                  </a:lnTo>
                  <a:lnTo>
                    <a:pt x="637" y="67"/>
                  </a:lnTo>
                  <a:lnTo>
                    <a:pt x="620" y="69"/>
                  </a:lnTo>
                  <a:lnTo>
                    <a:pt x="606" y="74"/>
                  </a:lnTo>
                  <a:lnTo>
                    <a:pt x="593" y="81"/>
                  </a:lnTo>
                  <a:lnTo>
                    <a:pt x="581" y="89"/>
                  </a:lnTo>
                  <a:lnTo>
                    <a:pt x="570" y="101"/>
                  </a:lnTo>
                  <a:lnTo>
                    <a:pt x="562" y="113"/>
                  </a:lnTo>
                  <a:lnTo>
                    <a:pt x="554" y="128"/>
                  </a:lnTo>
                  <a:lnTo>
                    <a:pt x="548" y="144"/>
                  </a:lnTo>
                  <a:lnTo>
                    <a:pt x="548" y="144"/>
                  </a:lnTo>
                  <a:lnTo>
                    <a:pt x="545" y="157"/>
                  </a:lnTo>
                  <a:lnTo>
                    <a:pt x="542" y="171"/>
                  </a:lnTo>
                  <a:lnTo>
                    <a:pt x="540" y="187"/>
                  </a:lnTo>
                  <a:lnTo>
                    <a:pt x="540" y="202"/>
                  </a:lnTo>
                  <a:lnTo>
                    <a:pt x="540" y="202"/>
                  </a:lnTo>
                  <a:lnTo>
                    <a:pt x="540" y="217"/>
                  </a:lnTo>
                  <a:lnTo>
                    <a:pt x="542" y="231"/>
                  </a:lnTo>
                  <a:lnTo>
                    <a:pt x="545" y="246"/>
                  </a:lnTo>
                  <a:lnTo>
                    <a:pt x="548" y="260"/>
                  </a:lnTo>
                  <a:lnTo>
                    <a:pt x="548" y="260"/>
                  </a:lnTo>
                  <a:lnTo>
                    <a:pt x="554" y="276"/>
                  </a:lnTo>
                  <a:lnTo>
                    <a:pt x="562" y="290"/>
                  </a:lnTo>
                  <a:lnTo>
                    <a:pt x="570" y="302"/>
                  </a:lnTo>
                  <a:lnTo>
                    <a:pt x="581" y="313"/>
                  </a:lnTo>
                  <a:lnTo>
                    <a:pt x="593" y="323"/>
                  </a:lnTo>
                  <a:lnTo>
                    <a:pt x="606" y="330"/>
                  </a:lnTo>
                  <a:lnTo>
                    <a:pt x="620" y="334"/>
                  </a:lnTo>
                  <a:lnTo>
                    <a:pt x="637" y="335"/>
                  </a:lnTo>
                  <a:lnTo>
                    <a:pt x="637" y="3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nvGrpSpPr>
            <p:cNvPr id="11" name="Group 10">
              <a:extLst>
                <a:ext uri="{FF2B5EF4-FFF2-40B4-BE49-F238E27FC236}">
                  <a16:creationId xmlns:a16="http://schemas.microsoft.com/office/drawing/2014/main" id="{0ADB96A9-2243-46E1-7ABE-66D03AC6341D}"/>
                </a:ext>
              </a:extLst>
            </p:cNvPr>
            <p:cNvGrpSpPr/>
            <p:nvPr/>
          </p:nvGrpSpPr>
          <p:grpSpPr>
            <a:xfrm>
              <a:off x="8739256" y="1667792"/>
              <a:ext cx="381658" cy="381659"/>
              <a:chOff x="2039938" y="2362200"/>
              <a:chExt cx="406400" cy="406401"/>
            </a:xfrm>
            <a:grpFill/>
          </p:grpSpPr>
          <p:sp>
            <p:nvSpPr>
              <p:cNvPr id="12" name="Freeform 57">
                <a:extLst>
                  <a:ext uri="{FF2B5EF4-FFF2-40B4-BE49-F238E27FC236}">
                    <a16:creationId xmlns:a16="http://schemas.microsoft.com/office/drawing/2014/main" id="{D91D5A0A-1075-E762-7A5C-04E6EFA83462}"/>
                  </a:ext>
                </a:extLst>
              </p:cNvPr>
              <p:cNvSpPr>
                <a:spLocks noEditPoints="1"/>
              </p:cNvSpPr>
              <p:nvPr/>
            </p:nvSpPr>
            <p:spPr bwMode="auto">
              <a:xfrm>
                <a:off x="2039938" y="2714625"/>
                <a:ext cx="112713" cy="53975"/>
              </a:xfrm>
              <a:custGeom>
                <a:avLst/>
                <a:gdLst/>
                <a:ahLst/>
                <a:cxnLst>
                  <a:cxn ang="0">
                    <a:pos x="421" y="73"/>
                  </a:cxn>
                  <a:cxn ang="0">
                    <a:pos x="412" y="52"/>
                  </a:cxn>
                  <a:cxn ang="0">
                    <a:pos x="385" y="32"/>
                  </a:cxn>
                  <a:cxn ang="0">
                    <a:pos x="345" y="16"/>
                  </a:cxn>
                  <a:cxn ang="0">
                    <a:pos x="293" y="6"/>
                  </a:cxn>
                  <a:cxn ang="0">
                    <a:pos x="232" y="0"/>
                  </a:cxn>
                  <a:cxn ang="0">
                    <a:pos x="189" y="0"/>
                  </a:cxn>
                  <a:cxn ang="0">
                    <a:pos x="128" y="6"/>
                  </a:cxn>
                  <a:cxn ang="0">
                    <a:pos x="76" y="16"/>
                  </a:cxn>
                  <a:cxn ang="0">
                    <a:pos x="36" y="32"/>
                  </a:cxn>
                  <a:cxn ang="0">
                    <a:pos x="9" y="52"/>
                  </a:cxn>
                  <a:cxn ang="0">
                    <a:pos x="0" y="73"/>
                  </a:cxn>
                  <a:cxn ang="0">
                    <a:pos x="1" y="136"/>
                  </a:cxn>
                  <a:cxn ang="0">
                    <a:pos x="16" y="158"/>
                  </a:cxn>
                  <a:cxn ang="0">
                    <a:pos x="47" y="175"/>
                  </a:cxn>
                  <a:cxn ang="0">
                    <a:pos x="92" y="189"/>
                  </a:cxn>
                  <a:cxn ang="0">
                    <a:pos x="147" y="198"/>
                  </a:cxn>
                  <a:cxn ang="0">
                    <a:pos x="210" y="202"/>
                  </a:cxn>
                  <a:cxn ang="0">
                    <a:pos x="252" y="201"/>
                  </a:cxn>
                  <a:cxn ang="0">
                    <a:pos x="310" y="194"/>
                  </a:cxn>
                  <a:cxn ang="0">
                    <a:pos x="360" y="181"/>
                  </a:cxn>
                  <a:cxn ang="0">
                    <a:pos x="396" y="164"/>
                  </a:cxn>
                  <a:cxn ang="0">
                    <a:pos x="416" y="144"/>
                  </a:cxn>
                  <a:cxn ang="0">
                    <a:pos x="421" y="129"/>
                  </a:cxn>
                  <a:cxn ang="0">
                    <a:pos x="370" y="168"/>
                  </a:cxn>
                  <a:cxn ang="0">
                    <a:pos x="356" y="120"/>
                  </a:cxn>
                  <a:cxn ang="0">
                    <a:pos x="384" y="163"/>
                  </a:cxn>
                  <a:cxn ang="0">
                    <a:pos x="82" y="33"/>
                  </a:cxn>
                  <a:cxn ang="0">
                    <a:pos x="132" y="22"/>
                  </a:cxn>
                  <a:cxn ang="0">
                    <a:pos x="210" y="17"/>
                  </a:cxn>
                  <a:cxn ang="0">
                    <a:pos x="270" y="20"/>
                  </a:cxn>
                  <a:cxn ang="0">
                    <a:pos x="323" y="29"/>
                  </a:cxn>
                  <a:cxn ang="0">
                    <a:pos x="354" y="38"/>
                  </a:cxn>
                  <a:cxn ang="0">
                    <a:pos x="385" y="52"/>
                  </a:cxn>
                  <a:cxn ang="0">
                    <a:pos x="401" y="66"/>
                  </a:cxn>
                  <a:cxn ang="0">
                    <a:pos x="404" y="73"/>
                  </a:cxn>
                  <a:cxn ang="0">
                    <a:pos x="397" y="85"/>
                  </a:cxn>
                  <a:cxn ang="0">
                    <a:pos x="376" y="99"/>
                  </a:cxn>
                  <a:cxn ang="0">
                    <a:pos x="354" y="108"/>
                  </a:cxn>
                  <a:cxn ang="0">
                    <a:pos x="306" y="121"/>
                  </a:cxn>
                  <a:cxn ang="0">
                    <a:pos x="250" y="128"/>
                  </a:cxn>
                  <a:cxn ang="0">
                    <a:pos x="171" y="128"/>
                  </a:cxn>
                  <a:cxn ang="0">
                    <a:pos x="114" y="121"/>
                  </a:cxn>
                  <a:cxn ang="0">
                    <a:pos x="67" y="108"/>
                  </a:cxn>
                  <a:cxn ang="0">
                    <a:pos x="45" y="99"/>
                  </a:cxn>
                  <a:cxn ang="0">
                    <a:pos x="23" y="85"/>
                  </a:cxn>
                  <a:cxn ang="0">
                    <a:pos x="17" y="73"/>
                  </a:cxn>
                  <a:cxn ang="0">
                    <a:pos x="19" y="66"/>
                  </a:cxn>
                  <a:cxn ang="0">
                    <a:pos x="36" y="52"/>
                  </a:cxn>
                  <a:cxn ang="0">
                    <a:pos x="67" y="38"/>
                  </a:cxn>
                  <a:cxn ang="0">
                    <a:pos x="47" y="167"/>
                  </a:cxn>
                  <a:cxn ang="0">
                    <a:pos x="19" y="97"/>
                  </a:cxn>
                  <a:cxn ang="0">
                    <a:pos x="47" y="113"/>
                  </a:cxn>
                  <a:cxn ang="0">
                    <a:pos x="89" y="181"/>
                  </a:cxn>
                  <a:cxn ang="0">
                    <a:pos x="61" y="119"/>
                  </a:cxn>
                  <a:cxn ang="0">
                    <a:pos x="89" y="127"/>
                  </a:cxn>
                  <a:cxn ang="0">
                    <a:pos x="130" y="190"/>
                  </a:cxn>
                  <a:cxn ang="0">
                    <a:pos x="101" y="130"/>
                  </a:cxn>
                </a:cxnLst>
                <a:rect l="0" t="0" r="r" b="b"/>
                <a:pathLst>
                  <a:path w="421" h="202">
                    <a:moveTo>
                      <a:pt x="421" y="129"/>
                    </a:moveTo>
                    <a:lnTo>
                      <a:pt x="421" y="73"/>
                    </a:lnTo>
                    <a:lnTo>
                      <a:pt x="421" y="73"/>
                    </a:lnTo>
                    <a:lnTo>
                      <a:pt x="420" y="66"/>
                    </a:lnTo>
                    <a:lnTo>
                      <a:pt x="416" y="59"/>
                    </a:lnTo>
                    <a:lnTo>
                      <a:pt x="412" y="52"/>
                    </a:lnTo>
                    <a:lnTo>
                      <a:pt x="405" y="45"/>
                    </a:lnTo>
                    <a:lnTo>
                      <a:pt x="396" y="38"/>
                    </a:lnTo>
                    <a:lnTo>
                      <a:pt x="385" y="32"/>
                    </a:lnTo>
                    <a:lnTo>
                      <a:pt x="372" y="26"/>
                    </a:lnTo>
                    <a:lnTo>
                      <a:pt x="360" y="22"/>
                    </a:lnTo>
                    <a:lnTo>
                      <a:pt x="345" y="16"/>
                    </a:lnTo>
                    <a:lnTo>
                      <a:pt x="329" y="13"/>
                    </a:lnTo>
                    <a:lnTo>
                      <a:pt x="310" y="9"/>
                    </a:lnTo>
                    <a:lnTo>
                      <a:pt x="293" y="6"/>
                    </a:lnTo>
                    <a:lnTo>
                      <a:pt x="273" y="3"/>
                    </a:lnTo>
                    <a:lnTo>
                      <a:pt x="252" y="1"/>
                    </a:lnTo>
                    <a:lnTo>
                      <a:pt x="232" y="0"/>
                    </a:lnTo>
                    <a:lnTo>
                      <a:pt x="210" y="0"/>
                    </a:lnTo>
                    <a:lnTo>
                      <a:pt x="210" y="0"/>
                    </a:lnTo>
                    <a:lnTo>
                      <a:pt x="189" y="0"/>
                    </a:lnTo>
                    <a:lnTo>
                      <a:pt x="168" y="1"/>
                    </a:lnTo>
                    <a:lnTo>
                      <a:pt x="147" y="3"/>
                    </a:lnTo>
                    <a:lnTo>
                      <a:pt x="128" y="6"/>
                    </a:lnTo>
                    <a:lnTo>
                      <a:pt x="109" y="9"/>
                    </a:lnTo>
                    <a:lnTo>
                      <a:pt x="92" y="13"/>
                    </a:lnTo>
                    <a:lnTo>
                      <a:pt x="76" y="16"/>
                    </a:lnTo>
                    <a:lnTo>
                      <a:pt x="61" y="22"/>
                    </a:lnTo>
                    <a:lnTo>
                      <a:pt x="47" y="26"/>
                    </a:lnTo>
                    <a:lnTo>
                      <a:pt x="36" y="32"/>
                    </a:lnTo>
                    <a:lnTo>
                      <a:pt x="25" y="38"/>
                    </a:lnTo>
                    <a:lnTo>
                      <a:pt x="16" y="45"/>
                    </a:lnTo>
                    <a:lnTo>
                      <a:pt x="9" y="52"/>
                    </a:lnTo>
                    <a:lnTo>
                      <a:pt x="3" y="59"/>
                    </a:lnTo>
                    <a:lnTo>
                      <a:pt x="1" y="66"/>
                    </a:lnTo>
                    <a:lnTo>
                      <a:pt x="0" y="73"/>
                    </a:lnTo>
                    <a:lnTo>
                      <a:pt x="0" y="129"/>
                    </a:lnTo>
                    <a:lnTo>
                      <a:pt x="0" y="129"/>
                    </a:lnTo>
                    <a:lnTo>
                      <a:pt x="1" y="136"/>
                    </a:lnTo>
                    <a:lnTo>
                      <a:pt x="3" y="144"/>
                    </a:lnTo>
                    <a:lnTo>
                      <a:pt x="9" y="151"/>
                    </a:lnTo>
                    <a:lnTo>
                      <a:pt x="16" y="158"/>
                    </a:lnTo>
                    <a:lnTo>
                      <a:pt x="25" y="164"/>
                    </a:lnTo>
                    <a:lnTo>
                      <a:pt x="36" y="170"/>
                    </a:lnTo>
                    <a:lnTo>
                      <a:pt x="47" y="175"/>
                    </a:lnTo>
                    <a:lnTo>
                      <a:pt x="61" y="181"/>
                    </a:lnTo>
                    <a:lnTo>
                      <a:pt x="76" y="186"/>
                    </a:lnTo>
                    <a:lnTo>
                      <a:pt x="92" y="189"/>
                    </a:lnTo>
                    <a:lnTo>
                      <a:pt x="109" y="194"/>
                    </a:lnTo>
                    <a:lnTo>
                      <a:pt x="128" y="196"/>
                    </a:lnTo>
                    <a:lnTo>
                      <a:pt x="147" y="198"/>
                    </a:lnTo>
                    <a:lnTo>
                      <a:pt x="168" y="201"/>
                    </a:lnTo>
                    <a:lnTo>
                      <a:pt x="189" y="202"/>
                    </a:lnTo>
                    <a:lnTo>
                      <a:pt x="210" y="202"/>
                    </a:lnTo>
                    <a:lnTo>
                      <a:pt x="210" y="202"/>
                    </a:lnTo>
                    <a:lnTo>
                      <a:pt x="232" y="202"/>
                    </a:lnTo>
                    <a:lnTo>
                      <a:pt x="252" y="201"/>
                    </a:lnTo>
                    <a:lnTo>
                      <a:pt x="273" y="198"/>
                    </a:lnTo>
                    <a:lnTo>
                      <a:pt x="293" y="196"/>
                    </a:lnTo>
                    <a:lnTo>
                      <a:pt x="310" y="194"/>
                    </a:lnTo>
                    <a:lnTo>
                      <a:pt x="329" y="189"/>
                    </a:lnTo>
                    <a:lnTo>
                      <a:pt x="345" y="186"/>
                    </a:lnTo>
                    <a:lnTo>
                      <a:pt x="360" y="181"/>
                    </a:lnTo>
                    <a:lnTo>
                      <a:pt x="372" y="175"/>
                    </a:lnTo>
                    <a:lnTo>
                      <a:pt x="385" y="170"/>
                    </a:lnTo>
                    <a:lnTo>
                      <a:pt x="396" y="164"/>
                    </a:lnTo>
                    <a:lnTo>
                      <a:pt x="405" y="158"/>
                    </a:lnTo>
                    <a:lnTo>
                      <a:pt x="412" y="151"/>
                    </a:lnTo>
                    <a:lnTo>
                      <a:pt x="416" y="144"/>
                    </a:lnTo>
                    <a:lnTo>
                      <a:pt x="420" y="136"/>
                    </a:lnTo>
                    <a:lnTo>
                      <a:pt x="421" y="129"/>
                    </a:lnTo>
                    <a:lnTo>
                      <a:pt x="421" y="129"/>
                    </a:lnTo>
                    <a:close/>
                    <a:moveTo>
                      <a:pt x="384" y="163"/>
                    </a:moveTo>
                    <a:lnTo>
                      <a:pt x="384" y="163"/>
                    </a:lnTo>
                    <a:lnTo>
                      <a:pt x="370" y="168"/>
                    </a:lnTo>
                    <a:lnTo>
                      <a:pt x="356" y="174"/>
                    </a:lnTo>
                    <a:lnTo>
                      <a:pt x="356" y="120"/>
                    </a:lnTo>
                    <a:lnTo>
                      <a:pt x="356" y="120"/>
                    </a:lnTo>
                    <a:lnTo>
                      <a:pt x="370" y="114"/>
                    </a:lnTo>
                    <a:lnTo>
                      <a:pt x="384" y="108"/>
                    </a:lnTo>
                    <a:lnTo>
                      <a:pt x="384" y="163"/>
                    </a:lnTo>
                    <a:close/>
                    <a:moveTo>
                      <a:pt x="67" y="38"/>
                    </a:moveTo>
                    <a:lnTo>
                      <a:pt x="67" y="38"/>
                    </a:lnTo>
                    <a:lnTo>
                      <a:pt x="82" y="33"/>
                    </a:lnTo>
                    <a:lnTo>
                      <a:pt x="98" y="29"/>
                    </a:lnTo>
                    <a:lnTo>
                      <a:pt x="114" y="25"/>
                    </a:lnTo>
                    <a:lnTo>
                      <a:pt x="132" y="22"/>
                    </a:lnTo>
                    <a:lnTo>
                      <a:pt x="151" y="20"/>
                    </a:lnTo>
                    <a:lnTo>
                      <a:pt x="171" y="18"/>
                    </a:lnTo>
                    <a:lnTo>
                      <a:pt x="210" y="17"/>
                    </a:lnTo>
                    <a:lnTo>
                      <a:pt x="210" y="17"/>
                    </a:lnTo>
                    <a:lnTo>
                      <a:pt x="250" y="18"/>
                    </a:lnTo>
                    <a:lnTo>
                      <a:pt x="270" y="20"/>
                    </a:lnTo>
                    <a:lnTo>
                      <a:pt x="288" y="22"/>
                    </a:lnTo>
                    <a:lnTo>
                      <a:pt x="306" y="25"/>
                    </a:lnTo>
                    <a:lnTo>
                      <a:pt x="323" y="29"/>
                    </a:lnTo>
                    <a:lnTo>
                      <a:pt x="339" y="33"/>
                    </a:lnTo>
                    <a:lnTo>
                      <a:pt x="354" y="38"/>
                    </a:lnTo>
                    <a:lnTo>
                      <a:pt x="354" y="38"/>
                    </a:lnTo>
                    <a:lnTo>
                      <a:pt x="366" y="43"/>
                    </a:lnTo>
                    <a:lnTo>
                      <a:pt x="376" y="47"/>
                    </a:lnTo>
                    <a:lnTo>
                      <a:pt x="385" y="52"/>
                    </a:lnTo>
                    <a:lnTo>
                      <a:pt x="392" y="56"/>
                    </a:lnTo>
                    <a:lnTo>
                      <a:pt x="397" y="61"/>
                    </a:lnTo>
                    <a:lnTo>
                      <a:pt x="401" y="66"/>
                    </a:lnTo>
                    <a:lnTo>
                      <a:pt x="404" y="69"/>
                    </a:lnTo>
                    <a:lnTo>
                      <a:pt x="404" y="73"/>
                    </a:lnTo>
                    <a:lnTo>
                      <a:pt x="404" y="73"/>
                    </a:lnTo>
                    <a:lnTo>
                      <a:pt x="404" y="77"/>
                    </a:lnTo>
                    <a:lnTo>
                      <a:pt x="401" y="81"/>
                    </a:lnTo>
                    <a:lnTo>
                      <a:pt x="397" y="85"/>
                    </a:lnTo>
                    <a:lnTo>
                      <a:pt x="392" y="90"/>
                    </a:lnTo>
                    <a:lnTo>
                      <a:pt x="385" y="95"/>
                    </a:lnTo>
                    <a:lnTo>
                      <a:pt x="376" y="99"/>
                    </a:lnTo>
                    <a:lnTo>
                      <a:pt x="366" y="104"/>
                    </a:lnTo>
                    <a:lnTo>
                      <a:pt x="354" y="108"/>
                    </a:lnTo>
                    <a:lnTo>
                      <a:pt x="354" y="108"/>
                    </a:lnTo>
                    <a:lnTo>
                      <a:pt x="339" y="113"/>
                    </a:lnTo>
                    <a:lnTo>
                      <a:pt x="323" y="118"/>
                    </a:lnTo>
                    <a:lnTo>
                      <a:pt x="306" y="121"/>
                    </a:lnTo>
                    <a:lnTo>
                      <a:pt x="288" y="123"/>
                    </a:lnTo>
                    <a:lnTo>
                      <a:pt x="270" y="126"/>
                    </a:lnTo>
                    <a:lnTo>
                      <a:pt x="250" y="128"/>
                    </a:lnTo>
                    <a:lnTo>
                      <a:pt x="210" y="129"/>
                    </a:lnTo>
                    <a:lnTo>
                      <a:pt x="210" y="129"/>
                    </a:lnTo>
                    <a:lnTo>
                      <a:pt x="171" y="128"/>
                    </a:lnTo>
                    <a:lnTo>
                      <a:pt x="151" y="126"/>
                    </a:lnTo>
                    <a:lnTo>
                      <a:pt x="132" y="123"/>
                    </a:lnTo>
                    <a:lnTo>
                      <a:pt x="114" y="121"/>
                    </a:lnTo>
                    <a:lnTo>
                      <a:pt x="98" y="118"/>
                    </a:lnTo>
                    <a:lnTo>
                      <a:pt x="82" y="113"/>
                    </a:lnTo>
                    <a:lnTo>
                      <a:pt x="67" y="108"/>
                    </a:lnTo>
                    <a:lnTo>
                      <a:pt x="67" y="108"/>
                    </a:lnTo>
                    <a:lnTo>
                      <a:pt x="55" y="104"/>
                    </a:lnTo>
                    <a:lnTo>
                      <a:pt x="45" y="99"/>
                    </a:lnTo>
                    <a:lnTo>
                      <a:pt x="36" y="95"/>
                    </a:lnTo>
                    <a:lnTo>
                      <a:pt x="29" y="90"/>
                    </a:lnTo>
                    <a:lnTo>
                      <a:pt x="23" y="85"/>
                    </a:lnTo>
                    <a:lnTo>
                      <a:pt x="19" y="81"/>
                    </a:lnTo>
                    <a:lnTo>
                      <a:pt x="17" y="77"/>
                    </a:lnTo>
                    <a:lnTo>
                      <a:pt x="17" y="73"/>
                    </a:lnTo>
                    <a:lnTo>
                      <a:pt x="17" y="73"/>
                    </a:lnTo>
                    <a:lnTo>
                      <a:pt x="17" y="69"/>
                    </a:lnTo>
                    <a:lnTo>
                      <a:pt x="19" y="66"/>
                    </a:lnTo>
                    <a:lnTo>
                      <a:pt x="23" y="61"/>
                    </a:lnTo>
                    <a:lnTo>
                      <a:pt x="29" y="56"/>
                    </a:lnTo>
                    <a:lnTo>
                      <a:pt x="36" y="52"/>
                    </a:lnTo>
                    <a:lnTo>
                      <a:pt x="45" y="47"/>
                    </a:lnTo>
                    <a:lnTo>
                      <a:pt x="55" y="43"/>
                    </a:lnTo>
                    <a:lnTo>
                      <a:pt x="67" y="38"/>
                    </a:lnTo>
                    <a:lnTo>
                      <a:pt x="67" y="38"/>
                    </a:lnTo>
                    <a:close/>
                    <a:moveTo>
                      <a:pt x="47" y="167"/>
                    </a:moveTo>
                    <a:lnTo>
                      <a:pt x="47" y="167"/>
                    </a:lnTo>
                    <a:lnTo>
                      <a:pt x="32" y="160"/>
                    </a:lnTo>
                    <a:lnTo>
                      <a:pt x="19" y="151"/>
                    </a:lnTo>
                    <a:lnTo>
                      <a:pt x="19" y="97"/>
                    </a:lnTo>
                    <a:lnTo>
                      <a:pt x="19" y="97"/>
                    </a:lnTo>
                    <a:lnTo>
                      <a:pt x="32" y="105"/>
                    </a:lnTo>
                    <a:lnTo>
                      <a:pt x="47" y="113"/>
                    </a:lnTo>
                    <a:lnTo>
                      <a:pt x="47" y="167"/>
                    </a:lnTo>
                    <a:close/>
                    <a:moveTo>
                      <a:pt x="89" y="181"/>
                    </a:moveTo>
                    <a:lnTo>
                      <a:pt x="89" y="181"/>
                    </a:lnTo>
                    <a:lnTo>
                      <a:pt x="74" y="178"/>
                    </a:lnTo>
                    <a:lnTo>
                      <a:pt x="61" y="173"/>
                    </a:lnTo>
                    <a:lnTo>
                      <a:pt x="61" y="119"/>
                    </a:lnTo>
                    <a:lnTo>
                      <a:pt x="61" y="119"/>
                    </a:lnTo>
                    <a:lnTo>
                      <a:pt x="74" y="123"/>
                    </a:lnTo>
                    <a:lnTo>
                      <a:pt x="89" y="127"/>
                    </a:lnTo>
                    <a:lnTo>
                      <a:pt x="89" y="181"/>
                    </a:lnTo>
                    <a:close/>
                    <a:moveTo>
                      <a:pt x="130" y="190"/>
                    </a:moveTo>
                    <a:lnTo>
                      <a:pt x="130" y="190"/>
                    </a:lnTo>
                    <a:lnTo>
                      <a:pt x="101" y="185"/>
                    </a:lnTo>
                    <a:lnTo>
                      <a:pt x="101" y="130"/>
                    </a:lnTo>
                    <a:lnTo>
                      <a:pt x="101" y="130"/>
                    </a:lnTo>
                    <a:lnTo>
                      <a:pt x="130" y="135"/>
                    </a:lnTo>
                    <a:lnTo>
                      <a:pt x="130"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3" name="Freeform 58">
                <a:extLst>
                  <a:ext uri="{FF2B5EF4-FFF2-40B4-BE49-F238E27FC236}">
                    <a16:creationId xmlns:a16="http://schemas.microsoft.com/office/drawing/2014/main" id="{5AF7B878-B09D-97A9-3326-1E5D7658736F}"/>
                  </a:ext>
                </a:extLst>
              </p:cNvPr>
              <p:cNvSpPr>
                <a:spLocks/>
              </p:cNvSpPr>
              <p:nvPr/>
            </p:nvSpPr>
            <p:spPr bwMode="auto">
              <a:xfrm>
                <a:off x="2076450" y="2722563"/>
                <a:ext cx="39688" cy="23813"/>
              </a:xfrm>
              <a:custGeom>
                <a:avLst/>
                <a:gdLst/>
                <a:ahLst/>
                <a:cxnLst>
                  <a:cxn ang="0">
                    <a:pos x="7" y="37"/>
                  </a:cxn>
                  <a:cxn ang="0">
                    <a:pos x="23" y="45"/>
                  </a:cxn>
                  <a:cxn ang="0">
                    <a:pos x="60" y="54"/>
                  </a:cxn>
                  <a:cxn ang="0">
                    <a:pos x="73" y="57"/>
                  </a:cxn>
                  <a:cxn ang="0">
                    <a:pos x="79" y="59"/>
                  </a:cxn>
                  <a:cxn ang="0">
                    <a:pos x="82" y="70"/>
                  </a:cxn>
                  <a:cxn ang="0">
                    <a:pos x="81" y="72"/>
                  </a:cxn>
                  <a:cxn ang="0">
                    <a:pos x="79" y="73"/>
                  </a:cxn>
                  <a:cxn ang="0">
                    <a:pos x="69" y="74"/>
                  </a:cxn>
                  <a:cxn ang="0">
                    <a:pos x="65" y="74"/>
                  </a:cxn>
                  <a:cxn ang="0">
                    <a:pos x="61" y="73"/>
                  </a:cxn>
                  <a:cxn ang="0">
                    <a:pos x="59" y="63"/>
                  </a:cxn>
                  <a:cxn ang="0">
                    <a:pos x="1" y="58"/>
                  </a:cxn>
                  <a:cxn ang="0">
                    <a:pos x="1" y="62"/>
                  </a:cxn>
                  <a:cxn ang="0">
                    <a:pos x="6" y="73"/>
                  </a:cxn>
                  <a:cxn ang="0">
                    <a:pos x="19" y="80"/>
                  </a:cxn>
                  <a:cxn ang="0">
                    <a:pos x="28" y="82"/>
                  </a:cxn>
                  <a:cxn ang="0">
                    <a:pos x="59" y="86"/>
                  </a:cxn>
                  <a:cxn ang="0">
                    <a:pos x="87" y="94"/>
                  </a:cxn>
                  <a:cxn ang="0">
                    <a:pos x="87" y="87"/>
                  </a:cxn>
                  <a:cxn ang="0">
                    <a:pos x="112" y="84"/>
                  </a:cxn>
                  <a:cxn ang="0">
                    <a:pos x="132" y="79"/>
                  </a:cxn>
                  <a:cxn ang="0">
                    <a:pos x="137" y="75"/>
                  </a:cxn>
                  <a:cxn ang="0">
                    <a:pos x="145" y="67"/>
                  </a:cxn>
                  <a:cxn ang="0">
                    <a:pos x="147" y="63"/>
                  </a:cxn>
                  <a:cxn ang="0">
                    <a:pos x="145" y="57"/>
                  </a:cxn>
                  <a:cxn ang="0">
                    <a:pos x="141" y="51"/>
                  </a:cxn>
                  <a:cxn ang="0">
                    <a:pos x="135" y="48"/>
                  </a:cxn>
                  <a:cxn ang="0">
                    <a:pos x="127" y="44"/>
                  </a:cxn>
                  <a:cxn ang="0">
                    <a:pos x="97" y="37"/>
                  </a:cxn>
                  <a:cxn ang="0">
                    <a:pos x="65" y="30"/>
                  </a:cxn>
                  <a:cxn ang="0">
                    <a:pos x="60" y="26"/>
                  </a:cxn>
                  <a:cxn ang="0">
                    <a:pos x="60" y="24"/>
                  </a:cxn>
                  <a:cxn ang="0">
                    <a:pos x="62" y="20"/>
                  </a:cxn>
                  <a:cxn ang="0">
                    <a:pos x="66" y="19"/>
                  </a:cxn>
                  <a:cxn ang="0">
                    <a:pos x="70" y="19"/>
                  </a:cxn>
                  <a:cxn ang="0">
                    <a:pos x="79" y="20"/>
                  </a:cxn>
                  <a:cxn ang="0">
                    <a:pos x="81" y="22"/>
                  </a:cxn>
                  <a:cxn ang="0">
                    <a:pos x="81" y="30"/>
                  </a:cxn>
                  <a:cxn ang="0">
                    <a:pos x="140" y="30"/>
                  </a:cxn>
                  <a:cxn ang="0">
                    <a:pos x="140" y="27"/>
                  </a:cxn>
                  <a:cxn ang="0">
                    <a:pos x="136" y="19"/>
                  </a:cxn>
                  <a:cxn ang="0">
                    <a:pos x="127" y="13"/>
                  </a:cxn>
                  <a:cxn ang="0">
                    <a:pos x="119" y="11"/>
                  </a:cxn>
                  <a:cxn ang="0">
                    <a:pos x="87" y="6"/>
                  </a:cxn>
                  <a:cxn ang="0">
                    <a:pos x="59" y="0"/>
                  </a:cxn>
                  <a:cxn ang="0">
                    <a:pos x="59" y="6"/>
                  </a:cxn>
                  <a:cxn ang="0">
                    <a:pos x="23" y="11"/>
                  </a:cxn>
                  <a:cxn ang="0">
                    <a:pos x="15" y="13"/>
                  </a:cxn>
                  <a:cxn ang="0">
                    <a:pos x="4" y="19"/>
                  </a:cxn>
                  <a:cxn ang="0">
                    <a:pos x="0" y="27"/>
                  </a:cxn>
                  <a:cxn ang="0">
                    <a:pos x="0" y="29"/>
                  </a:cxn>
                  <a:cxn ang="0">
                    <a:pos x="4" y="35"/>
                  </a:cxn>
                  <a:cxn ang="0">
                    <a:pos x="7" y="37"/>
                  </a:cxn>
                </a:cxnLst>
                <a:rect l="0" t="0" r="r" b="b"/>
                <a:pathLst>
                  <a:path w="147" h="94">
                    <a:moveTo>
                      <a:pt x="7" y="37"/>
                    </a:moveTo>
                    <a:lnTo>
                      <a:pt x="7" y="37"/>
                    </a:lnTo>
                    <a:lnTo>
                      <a:pt x="15" y="42"/>
                    </a:lnTo>
                    <a:lnTo>
                      <a:pt x="23" y="45"/>
                    </a:lnTo>
                    <a:lnTo>
                      <a:pt x="23" y="45"/>
                    </a:lnTo>
                    <a:lnTo>
                      <a:pt x="60" y="54"/>
                    </a:lnTo>
                    <a:lnTo>
                      <a:pt x="60" y="54"/>
                    </a:lnTo>
                    <a:lnTo>
                      <a:pt x="73" y="57"/>
                    </a:lnTo>
                    <a:lnTo>
                      <a:pt x="79" y="59"/>
                    </a:lnTo>
                    <a:lnTo>
                      <a:pt x="79" y="59"/>
                    </a:lnTo>
                    <a:lnTo>
                      <a:pt x="81" y="64"/>
                    </a:lnTo>
                    <a:lnTo>
                      <a:pt x="82" y="70"/>
                    </a:lnTo>
                    <a:lnTo>
                      <a:pt x="82" y="70"/>
                    </a:lnTo>
                    <a:lnTo>
                      <a:pt x="81" y="72"/>
                    </a:lnTo>
                    <a:lnTo>
                      <a:pt x="79" y="73"/>
                    </a:lnTo>
                    <a:lnTo>
                      <a:pt x="79" y="73"/>
                    </a:lnTo>
                    <a:lnTo>
                      <a:pt x="75" y="74"/>
                    </a:lnTo>
                    <a:lnTo>
                      <a:pt x="69" y="74"/>
                    </a:lnTo>
                    <a:lnTo>
                      <a:pt x="69" y="74"/>
                    </a:lnTo>
                    <a:lnTo>
                      <a:pt x="65" y="74"/>
                    </a:lnTo>
                    <a:lnTo>
                      <a:pt x="61" y="73"/>
                    </a:lnTo>
                    <a:lnTo>
                      <a:pt x="61" y="73"/>
                    </a:lnTo>
                    <a:lnTo>
                      <a:pt x="60" y="70"/>
                    </a:lnTo>
                    <a:lnTo>
                      <a:pt x="59" y="63"/>
                    </a:lnTo>
                    <a:lnTo>
                      <a:pt x="59" y="58"/>
                    </a:lnTo>
                    <a:lnTo>
                      <a:pt x="1" y="58"/>
                    </a:lnTo>
                    <a:lnTo>
                      <a:pt x="1" y="62"/>
                    </a:lnTo>
                    <a:lnTo>
                      <a:pt x="1" y="62"/>
                    </a:lnTo>
                    <a:lnTo>
                      <a:pt x="2" y="67"/>
                    </a:lnTo>
                    <a:lnTo>
                      <a:pt x="6" y="73"/>
                    </a:lnTo>
                    <a:lnTo>
                      <a:pt x="10" y="77"/>
                    </a:lnTo>
                    <a:lnTo>
                      <a:pt x="19" y="80"/>
                    </a:lnTo>
                    <a:lnTo>
                      <a:pt x="19" y="80"/>
                    </a:lnTo>
                    <a:lnTo>
                      <a:pt x="28" y="82"/>
                    </a:lnTo>
                    <a:lnTo>
                      <a:pt x="37" y="85"/>
                    </a:lnTo>
                    <a:lnTo>
                      <a:pt x="59" y="86"/>
                    </a:lnTo>
                    <a:lnTo>
                      <a:pt x="59" y="94"/>
                    </a:lnTo>
                    <a:lnTo>
                      <a:pt x="87" y="94"/>
                    </a:lnTo>
                    <a:lnTo>
                      <a:pt x="87" y="87"/>
                    </a:lnTo>
                    <a:lnTo>
                      <a:pt x="87" y="87"/>
                    </a:lnTo>
                    <a:lnTo>
                      <a:pt x="100" y="86"/>
                    </a:lnTo>
                    <a:lnTo>
                      <a:pt x="112" y="84"/>
                    </a:lnTo>
                    <a:lnTo>
                      <a:pt x="122" y="82"/>
                    </a:lnTo>
                    <a:lnTo>
                      <a:pt x="132" y="79"/>
                    </a:lnTo>
                    <a:lnTo>
                      <a:pt x="132" y="79"/>
                    </a:lnTo>
                    <a:lnTo>
                      <a:pt x="137" y="75"/>
                    </a:lnTo>
                    <a:lnTo>
                      <a:pt x="143" y="72"/>
                    </a:lnTo>
                    <a:lnTo>
                      <a:pt x="145" y="67"/>
                    </a:lnTo>
                    <a:lnTo>
                      <a:pt x="147" y="63"/>
                    </a:lnTo>
                    <a:lnTo>
                      <a:pt x="147" y="63"/>
                    </a:lnTo>
                    <a:lnTo>
                      <a:pt x="145" y="59"/>
                    </a:lnTo>
                    <a:lnTo>
                      <a:pt x="145" y="57"/>
                    </a:lnTo>
                    <a:lnTo>
                      <a:pt x="143" y="54"/>
                    </a:lnTo>
                    <a:lnTo>
                      <a:pt x="141" y="51"/>
                    </a:lnTo>
                    <a:lnTo>
                      <a:pt x="141" y="51"/>
                    </a:lnTo>
                    <a:lnTo>
                      <a:pt x="135" y="48"/>
                    </a:lnTo>
                    <a:lnTo>
                      <a:pt x="127" y="44"/>
                    </a:lnTo>
                    <a:lnTo>
                      <a:pt x="127" y="44"/>
                    </a:lnTo>
                    <a:lnTo>
                      <a:pt x="97" y="37"/>
                    </a:lnTo>
                    <a:lnTo>
                      <a:pt x="97" y="37"/>
                    </a:lnTo>
                    <a:lnTo>
                      <a:pt x="65" y="30"/>
                    </a:lnTo>
                    <a:lnTo>
                      <a:pt x="65" y="30"/>
                    </a:lnTo>
                    <a:lnTo>
                      <a:pt x="61" y="28"/>
                    </a:lnTo>
                    <a:lnTo>
                      <a:pt x="60" y="26"/>
                    </a:lnTo>
                    <a:lnTo>
                      <a:pt x="60" y="24"/>
                    </a:lnTo>
                    <a:lnTo>
                      <a:pt x="60" y="24"/>
                    </a:lnTo>
                    <a:lnTo>
                      <a:pt x="60" y="21"/>
                    </a:lnTo>
                    <a:lnTo>
                      <a:pt x="62" y="20"/>
                    </a:lnTo>
                    <a:lnTo>
                      <a:pt x="62" y="20"/>
                    </a:lnTo>
                    <a:lnTo>
                      <a:pt x="66" y="19"/>
                    </a:lnTo>
                    <a:lnTo>
                      <a:pt x="70" y="19"/>
                    </a:lnTo>
                    <a:lnTo>
                      <a:pt x="70" y="19"/>
                    </a:lnTo>
                    <a:lnTo>
                      <a:pt x="76" y="19"/>
                    </a:lnTo>
                    <a:lnTo>
                      <a:pt x="79" y="20"/>
                    </a:lnTo>
                    <a:lnTo>
                      <a:pt x="79" y="20"/>
                    </a:lnTo>
                    <a:lnTo>
                      <a:pt x="81" y="22"/>
                    </a:lnTo>
                    <a:lnTo>
                      <a:pt x="81" y="27"/>
                    </a:lnTo>
                    <a:lnTo>
                      <a:pt x="81" y="30"/>
                    </a:lnTo>
                    <a:lnTo>
                      <a:pt x="140" y="30"/>
                    </a:lnTo>
                    <a:lnTo>
                      <a:pt x="140" y="30"/>
                    </a:lnTo>
                    <a:lnTo>
                      <a:pt x="140" y="27"/>
                    </a:lnTo>
                    <a:lnTo>
                      <a:pt x="140" y="27"/>
                    </a:lnTo>
                    <a:lnTo>
                      <a:pt x="140" y="22"/>
                    </a:lnTo>
                    <a:lnTo>
                      <a:pt x="136" y="19"/>
                    </a:lnTo>
                    <a:lnTo>
                      <a:pt x="133" y="15"/>
                    </a:lnTo>
                    <a:lnTo>
                      <a:pt x="127" y="13"/>
                    </a:lnTo>
                    <a:lnTo>
                      <a:pt x="127" y="13"/>
                    </a:lnTo>
                    <a:lnTo>
                      <a:pt x="119" y="11"/>
                    </a:lnTo>
                    <a:lnTo>
                      <a:pt x="110" y="9"/>
                    </a:lnTo>
                    <a:lnTo>
                      <a:pt x="87" y="6"/>
                    </a:lnTo>
                    <a:lnTo>
                      <a:pt x="87" y="0"/>
                    </a:lnTo>
                    <a:lnTo>
                      <a:pt x="59" y="0"/>
                    </a:lnTo>
                    <a:lnTo>
                      <a:pt x="59" y="6"/>
                    </a:lnTo>
                    <a:lnTo>
                      <a:pt x="59" y="6"/>
                    </a:lnTo>
                    <a:lnTo>
                      <a:pt x="34" y="9"/>
                    </a:lnTo>
                    <a:lnTo>
                      <a:pt x="23" y="11"/>
                    </a:lnTo>
                    <a:lnTo>
                      <a:pt x="15" y="13"/>
                    </a:lnTo>
                    <a:lnTo>
                      <a:pt x="15" y="13"/>
                    </a:lnTo>
                    <a:lnTo>
                      <a:pt x="8" y="15"/>
                    </a:lnTo>
                    <a:lnTo>
                      <a:pt x="4" y="19"/>
                    </a:lnTo>
                    <a:lnTo>
                      <a:pt x="1" y="22"/>
                    </a:lnTo>
                    <a:lnTo>
                      <a:pt x="0" y="27"/>
                    </a:lnTo>
                    <a:lnTo>
                      <a:pt x="0" y="27"/>
                    </a:lnTo>
                    <a:lnTo>
                      <a:pt x="0" y="29"/>
                    </a:lnTo>
                    <a:lnTo>
                      <a:pt x="1" y="33"/>
                    </a:lnTo>
                    <a:lnTo>
                      <a:pt x="4" y="35"/>
                    </a:lnTo>
                    <a:lnTo>
                      <a:pt x="7" y="37"/>
                    </a:lnTo>
                    <a:lnTo>
                      <a:pt x="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4" name="Freeform 59">
                <a:extLst>
                  <a:ext uri="{FF2B5EF4-FFF2-40B4-BE49-F238E27FC236}">
                    <a16:creationId xmlns:a16="http://schemas.microsoft.com/office/drawing/2014/main" id="{12FFA8E3-E309-060D-DFD9-F1E2507686F7}"/>
                  </a:ext>
                </a:extLst>
              </p:cNvPr>
              <p:cNvSpPr>
                <a:spLocks noEditPoints="1"/>
              </p:cNvSpPr>
              <p:nvPr/>
            </p:nvSpPr>
            <p:spPr bwMode="auto">
              <a:xfrm>
                <a:off x="2184400" y="2619375"/>
                <a:ext cx="112713" cy="53975"/>
              </a:xfrm>
              <a:custGeom>
                <a:avLst/>
                <a:gdLst/>
                <a:ahLst/>
                <a:cxnLst>
                  <a:cxn ang="0">
                    <a:pos x="421" y="66"/>
                  </a:cxn>
                  <a:cxn ang="0">
                    <a:pos x="405" y="45"/>
                  </a:cxn>
                  <a:cxn ang="0">
                    <a:pos x="373" y="26"/>
                  </a:cxn>
                  <a:cxn ang="0">
                    <a:pos x="328" y="13"/>
                  </a:cxn>
                  <a:cxn ang="0">
                    <a:pos x="273" y="3"/>
                  </a:cxn>
                  <a:cxn ang="0">
                    <a:pos x="211" y="0"/>
                  </a:cxn>
                  <a:cxn ang="0">
                    <a:pos x="168" y="2"/>
                  </a:cxn>
                  <a:cxn ang="0">
                    <a:pos x="110" y="9"/>
                  </a:cxn>
                  <a:cxn ang="0">
                    <a:pos x="62" y="22"/>
                  </a:cxn>
                  <a:cxn ang="0">
                    <a:pos x="25" y="39"/>
                  </a:cxn>
                  <a:cxn ang="0">
                    <a:pos x="4" y="59"/>
                  </a:cxn>
                  <a:cxn ang="0">
                    <a:pos x="0" y="129"/>
                  </a:cxn>
                  <a:cxn ang="0">
                    <a:pos x="4" y="144"/>
                  </a:cxn>
                  <a:cxn ang="0">
                    <a:pos x="25" y="164"/>
                  </a:cxn>
                  <a:cxn ang="0">
                    <a:pos x="62" y="181"/>
                  </a:cxn>
                  <a:cxn ang="0">
                    <a:pos x="110" y="194"/>
                  </a:cxn>
                  <a:cxn ang="0">
                    <a:pos x="168" y="201"/>
                  </a:cxn>
                  <a:cxn ang="0">
                    <a:pos x="211" y="203"/>
                  </a:cxn>
                  <a:cxn ang="0">
                    <a:pos x="273" y="200"/>
                  </a:cxn>
                  <a:cxn ang="0">
                    <a:pos x="328" y="190"/>
                  </a:cxn>
                  <a:cxn ang="0">
                    <a:pos x="373" y="176"/>
                  </a:cxn>
                  <a:cxn ang="0">
                    <a:pos x="405" y="158"/>
                  </a:cxn>
                  <a:cxn ang="0">
                    <a:pos x="421" y="137"/>
                  </a:cxn>
                  <a:cxn ang="0">
                    <a:pos x="48" y="168"/>
                  </a:cxn>
                  <a:cxn ang="0">
                    <a:pos x="19" y="152"/>
                  </a:cxn>
                  <a:cxn ang="0">
                    <a:pos x="32" y="106"/>
                  </a:cxn>
                  <a:cxn ang="0">
                    <a:pos x="90" y="182"/>
                  </a:cxn>
                  <a:cxn ang="0">
                    <a:pos x="61" y="173"/>
                  </a:cxn>
                  <a:cxn ang="0">
                    <a:pos x="75" y="123"/>
                  </a:cxn>
                  <a:cxn ang="0">
                    <a:pos x="131" y="190"/>
                  </a:cxn>
                  <a:cxn ang="0">
                    <a:pos x="102" y="130"/>
                  </a:cxn>
                  <a:cxn ang="0">
                    <a:pos x="131" y="190"/>
                  </a:cxn>
                  <a:cxn ang="0">
                    <a:pos x="371" y="170"/>
                  </a:cxn>
                  <a:cxn ang="0">
                    <a:pos x="356" y="120"/>
                  </a:cxn>
                  <a:cxn ang="0">
                    <a:pos x="385" y="163"/>
                  </a:cxn>
                  <a:cxn ang="0">
                    <a:pos x="340" y="114"/>
                  </a:cxn>
                  <a:cxn ang="0">
                    <a:pos x="289" y="125"/>
                  </a:cxn>
                  <a:cxn ang="0">
                    <a:pos x="211" y="129"/>
                  </a:cxn>
                  <a:cxn ang="0">
                    <a:pos x="152" y="127"/>
                  </a:cxn>
                  <a:cxn ang="0">
                    <a:pos x="98" y="118"/>
                  </a:cxn>
                  <a:cxn ang="0">
                    <a:pos x="68" y="110"/>
                  </a:cxn>
                  <a:cxn ang="0">
                    <a:pos x="36" y="95"/>
                  </a:cxn>
                  <a:cxn ang="0">
                    <a:pos x="20" y="82"/>
                  </a:cxn>
                  <a:cxn ang="0">
                    <a:pos x="17" y="74"/>
                  </a:cxn>
                  <a:cxn ang="0">
                    <a:pos x="24" y="61"/>
                  </a:cxn>
                  <a:cxn ang="0">
                    <a:pos x="45" y="47"/>
                  </a:cxn>
                  <a:cxn ang="0">
                    <a:pos x="68" y="38"/>
                  </a:cxn>
                  <a:cxn ang="0">
                    <a:pos x="115" y="25"/>
                  </a:cxn>
                  <a:cxn ang="0">
                    <a:pos x="170" y="18"/>
                  </a:cxn>
                  <a:cxn ang="0">
                    <a:pos x="251" y="18"/>
                  </a:cxn>
                  <a:cxn ang="0">
                    <a:pos x="306" y="25"/>
                  </a:cxn>
                  <a:cxn ang="0">
                    <a:pos x="354" y="38"/>
                  </a:cxn>
                  <a:cxn ang="0">
                    <a:pos x="377" y="47"/>
                  </a:cxn>
                  <a:cxn ang="0">
                    <a:pos x="398" y="61"/>
                  </a:cxn>
                  <a:cxn ang="0">
                    <a:pos x="405" y="74"/>
                  </a:cxn>
                  <a:cxn ang="0">
                    <a:pos x="401" y="82"/>
                  </a:cxn>
                  <a:cxn ang="0">
                    <a:pos x="385" y="95"/>
                  </a:cxn>
                  <a:cxn ang="0">
                    <a:pos x="354" y="110"/>
                  </a:cxn>
                </a:cxnLst>
                <a:rect l="0" t="0" r="r" b="b"/>
                <a:pathLst>
                  <a:path w="422" h="203">
                    <a:moveTo>
                      <a:pt x="422" y="74"/>
                    </a:moveTo>
                    <a:lnTo>
                      <a:pt x="422" y="74"/>
                    </a:lnTo>
                    <a:lnTo>
                      <a:pt x="421" y="66"/>
                    </a:lnTo>
                    <a:lnTo>
                      <a:pt x="417" y="59"/>
                    </a:lnTo>
                    <a:lnTo>
                      <a:pt x="413" y="52"/>
                    </a:lnTo>
                    <a:lnTo>
                      <a:pt x="405" y="45"/>
                    </a:lnTo>
                    <a:lnTo>
                      <a:pt x="396" y="39"/>
                    </a:lnTo>
                    <a:lnTo>
                      <a:pt x="386" y="32"/>
                    </a:lnTo>
                    <a:lnTo>
                      <a:pt x="373" y="26"/>
                    </a:lnTo>
                    <a:lnTo>
                      <a:pt x="360" y="22"/>
                    </a:lnTo>
                    <a:lnTo>
                      <a:pt x="345" y="17"/>
                    </a:lnTo>
                    <a:lnTo>
                      <a:pt x="328" y="13"/>
                    </a:lnTo>
                    <a:lnTo>
                      <a:pt x="311" y="9"/>
                    </a:lnTo>
                    <a:lnTo>
                      <a:pt x="293" y="6"/>
                    </a:lnTo>
                    <a:lnTo>
                      <a:pt x="273" y="3"/>
                    </a:lnTo>
                    <a:lnTo>
                      <a:pt x="253" y="2"/>
                    </a:lnTo>
                    <a:lnTo>
                      <a:pt x="233" y="1"/>
                    </a:lnTo>
                    <a:lnTo>
                      <a:pt x="211" y="0"/>
                    </a:lnTo>
                    <a:lnTo>
                      <a:pt x="211" y="0"/>
                    </a:lnTo>
                    <a:lnTo>
                      <a:pt x="189" y="1"/>
                    </a:lnTo>
                    <a:lnTo>
                      <a:pt x="168" y="2"/>
                    </a:lnTo>
                    <a:lnTo>
                      <a:pt x="148" y="3"/>
                    </a:lnTo>
                    <a:lnTo>
                      <a:pt x="129" y="6"/>
                    </a:lnTo>
                    <a:lnTo>
                      <a:pt x="110" y="9"/>
                    </a:lnTo>
                    <a:lnTo>
                      <a:pt x="93" y="13"/>
                    </a:lnTo>
                    <a:lnTo>
                      <a:pt x="77" y="17"/>
                    </a:lnTo>
                    <a:lnTo>
                      <a:pt x="62" y="22"/>
                    </a:lnTo>
                    <a:lnTo>
                      <a:pt x="48" y="26"/>
                    </a:lnTo>
                    <a:lnTo>
                      <a:pt x="36" y="32"/>
                    </a:lnTo>
                    <a:lnTo>
                      <a:pt x="25" y="39"/>
                    </a:lnTo>
                    <a:lnTo>
                      <a:pt x="17" y="45"/>
                    </a:lnTo>
                    <a:lnTo>
                      <a:pt x="10" y="52"/>
                    </a:lnTo>
                    <a:lnTo>
                      <a:pt x="4" y="59"/>
                    </a:lnTo>
                    <a:lnTo>
                      <a:pt x="1" y="66"/>
                    </a:lnTo>
                    <a:lnTo>
                      <a:pt x="0" y="74"/>
                    </a:lnTo>
                    <a:lnTo>
                      <a:pt x="0" y="129"/>
                    </a:lnTo>
                    <a:lnTo>
                      <a:pt x="0" y="129"/>
                    </a:lnTo>
                    <a:lnTo>
                      <a:pt x="1" y="137"/>
                    </a:lnTo>
                    <a:lnTo>
                      <a:pt x="4" y="144"/>
                    </a:lnTo>
                    <a:lnTo>
                      <a:pt x="10" y="151"/>
                    </a:lnTo>
                    <a:lnTo>
                      <a:pt x="17" y="158"/>
                    </a:lnTo>
                    <a:lnTo>
                      <a:pt x="25" y="164"/>
                    </a:lnTo>
                    <a:lnTo>
                      <a:pt x="36" y="171"/>
                    </a:lnTo>
                    <a:lnTo>
                      <a:pt x="48" y="176"/>
                    </a:lnTo>
                    <a:lnTo>
                      <a:pt x="62" y="181"/>
                    </a:lnTo>
                    <a:lnTo>
                      <a:pt x="77" y="186"/>
                    </a:lnTo>
                    <a:lnTo>
                      <a:pt x="93" y="190"/>
                    </a:lnTo>
                    <a:lnTo>
                      <a:pt x="110" y="194"/>
                    </a:lnTo>
                    <a:lnTo>
                      <a:pt x="129" y="197"/>
                    </a:lnTo>
                    <a:lnTo>
                      <a:pt x="148" y="200"/>
                    </a:lnTo>
                    <a:lnTo>
                      <a:pt x="168" y="201"/>
                    </a:lnTo>
                    <a:lnTo>
                      <a:pt x="189" y="202"/>
                    </a:lnTo>
                    <a:lnTo>
                      <a:pt x="211" y="203"/>
                    </a:lnTo>
                    <a:lnTo>
                      <a:pt x="211" y="203"/>
                    </a:lnTo>
                    <a:lnTo>
                      <a:pt x="233" y="202"/>
                    </a:lnTo>
                    <a:lnTo>
                      <a:pt x="253" y="201"/>
                    </a:lnTo>
                    <a:lnTo>
                      <a:pt x="273" y="200"/>
                    </a:lnTo>
                    <a:lnTo>
                      <a:pt x="293" y="197"/>
                    </a:lnTo>
                    <a:lnTo>
                      <a:pt x="311" y="194"/>
                    </a:lnTo>
                    <a:lnTo>
                      <a:pt x="328" y="190"/>
                    </a:lnTo>
                    <a:lnTo>
                      <a:pt x="345" y="186"/>
                    </a:lnTo>
                    <a:lnTo>
                      <a:pt x="360" y="181"/>
                    </a:lnTo>
                    <a:lnTo>
                      <a:pt x="373" y="176"/>
                    </a:lnTo>
                    <a:lnTo>
                      <a:pt x="386" y="171"/>
                    </a:lnTo>
                    <a:lnTo>
                      <a:pt x="396" y="164"/>
                    </a:lnTo>
                    <a:lnTo>
                      <a:pt x="405" y="158"/>
                    </a:lnTo>
                    <a:lnTo>
                      <a:pt x="413" y="151"/>
                    </a:lnTo>
                    <a:lnTo>
                      <a:pt x="417" y="144"/>
                    </a:lnTo>
                    <a:lnTo>
                      <a:pt x="421" y="137"/>
                    </a:lnTo>
                    <a:lnTo>
                      <a:pt x="422" y="129"/>
                    </a:lnTo>
                    <a:lnTo>
                      <a:pt x="422" y="74"/>
                    </a:lnTo>
                    <a:close/>
                    <a:moveTo>
                      <a:pt x="48" y="168"/>
                    </a:moveTo>
                    <a:lnTo>
                      <a:pt x="48" y="168"/>
                    </a:lnTo>
                    <a:lnTo>
                      <a:pt x="32" y="160"/>
                    </a:lnTo>
                    <a:lnTo>
                      <a:pt x="19" y="152"/>
                    </a:lnTo>
                    <a:lnTo>
                      <a:pt x="19" y="97"/>
                    </a:lnTo>
                    <a:lnTo>
                      <a:pt x="19" y="97"/>
                    </a:lnTo>
                    <a:lnTo>
                      <a:pt x="32" y="106"/>
                    </a:lnTo>
                    <a:lnTo>
                      <a:pt x="48" y="113"/>
                    </a:lnTo>
                    <a:lnTo>
                      <a:pt x="48" y="168"/>
                    </a:lnTo>
                    <a:close/>
                    <a:moveTo>
                      <a:pt x="90" y="182"/>
                    </a:moveTo>
                    <a:lnTo>
                      <a:pt x="90" y="182"/>
                    </a:lnTo>
                    <a:lnTo>
                      <a:pt x="75" y="178"/>
                    </a:lnTo>
                    <a:lnTo>
                      <a:pt x="61" y="173"/>
                    </a:lnTo>
                    <a:lnTo>
                      <a:pt x="61" y="119"/>
                    </a:lnTo>
                    <a:lnTo>
                      <a:pt x="61" y="119"/>
                    </a:lnTo>
                    <a:lnTo>
                      <a:pt x="75" y="123"/>
                    </a:lnTo>
                    <a:lnTo>
                      <a:pt x="90" y="128"/>
                    </a:lnTo>
                    <a:lnTo>
                      <a:pt x="90" y="182"/>
                    </a:lnTo>
                    <a:close/>
                    <a:moveTo>
                      <a:pt x="131" y="190"/>
                    </a:moveTo>
                    <a:lnTo>
                      <a:pt x="131" y="190"/>
                    </a:lnTo>
                    <a:lnTo>
                      <a:pt x="102" y="186"/>
                    </a:lnTo>
                    <a:lnTo>
                      <a:pt x="102" y="130"/>
                    </a:lnTo>
                    <a:lnTo>
                      <a:pt x="102" y="130"/>
                    </a:lnTo>
                    <a:lnTo>
                      <a:pt x="131" y="136"/>
                    </a:lnTo>
                    <a:lnTo>
                      <a:pt x="131" y="190"/>
                    </a:lnTo>
                    <a:close/>
                    <a:moveTo>
                      <a:pt x="385" y="163"/>
                    </a:moveTo>
                    <a:lnTo>
                      <a:pt x="385" y="163"/>
                    </a:lnTo>
                    <a:lnTo>
                      <a:pt x="371" y="170"/>
                    </a:lnTo>
                    <a:lnTo>
                      <a:pt x="356" y="175"/>
                    </a:lnTo>
                    <a:lnTo>
                      <a:pt x="356" y="120"/>
                    </a:lnTo>
                    <a:lnTo>
                      <a:pt x="356" y="120"/>
                    </a:lnTo>
                    <a:lnTo>
                      <a:pt x="371" y="114"/>
                    </a:lnTo>
                    <a:lnTo>
                      <a:pt x="385" y="108"/>
                    </a:lnTo>
                    <a:lnTo>
                      <a:pt x="385" y="163"/>
                    </a:lnTo>
                    <a:close/>
                    <a:moveTo>
                      <a:pt x="354" y="110"/>
                    </a:moveTo>
                    <a:lnTo>
                      <a:pt x="354" y="110"/>
                    </a:lnTo>
                    <a:lnTo>
                      <a:pt x="340" y="114"/>
                    </a:lnTo>
                    <a:lnTo>
                      <a:pt x="324" y="118"/>
                    </a:lnTo>
                    <a:lnTo>
                      <a:pt x="306" y="121"/>
                    </a:lnTo>
                    <a:lnTo>
                      <a:pt x="289" y="125"/>
                    </a:lnTo>
                    <a:lnTo>
                      <a:pt x="270" y="127"/>
                    </a:lnTo>
                    <a:lnTo>
                      <a:pt x="251" y="128"/>
                    </a:lnTo>
                    <a:lnTo>
                      <a:pt x="211" y="129"/>
                    </a:lnTo>
                    <a:lnTo>
                      <a:pt x="211" y="129"/>
                    </a:lnTo>
                    <a:lnTo>
                      <a:pt x="170" y="128"/>
                    </a:lnTo>
                    <a:lnTo>
                      <a:pt x="152" y="127"/>
                    </a:lnTo>
                    <a:lnTo>
                      <a:pt x="133" y="125"/>
                    </a:lnTo>
                    <a:lnTo>
                      <a:pt x="115" y="121"/>
                    </a:lnTo>
                    <a:lnTo>
                      <a:pt x="98" y="118"/>
                    </a:lnTo>
                    <a:lnTo>
                      <a:pt x="83" y="114"/>
                    </a:lnTo>
                    <a:lnTo>
                      <a:pt x="68" y="110"/>
                    </a:lnTo>
                    <a:lnTo>
                      <a:pt x="68" y="110"/>
                    </a:lnTo>
                    <a:lnTo>
                      <a:pt x="55" y="105"/>
                    </a:lnTo>
                    <a:lnTo>
                      <a:pt x="45" y="100"/>
                    </a:lnTo>
                    <a:lnTo>
                      <a:pt x="36" y="95"/>
                    </a:lnTo>
                    <a:lnTo>
                      <a:pt x="30" y="90"/>
                    </a:lnTo>
                    <a:lnTo>
                      <a:pt x="24" y="85"/>
                    </a:lnTo>
                    <a:lnTo>
                      <a:pt x="20" y="82"/>
                    </a:lnTo>
                    <a:lnTo>
                      <a:pt x="18" y="77"/>
                    </a:lnTo>
                    <a:lnTo>
                      <a:pt x="17" y="74"/>
                    </a:lnTo>
                    <a:lnTo>
                      <a:pt x="17" y="74"/>
                    </a:lnTo>
                    <a:lnTo>
                      <a:pt x="18" y="70"/>
                    </a:lnTo>
                    <a:lnTo>
                      <a:pt x="20" y="66"/>
                    </a:lnTo>
                    <a:lnTo>
                      <a:pt x="24" y="61"/>
                    </a:lnTo>
                    <a:lnTo>
                      <a:pt x="30" y="56"/>
                    </a:lnTo>
                    <a:lnTo>
                      <a:pt x="36" y="52"/>
                    </a:lnTo>
                    <a:lnTo>
                      <a:pt x="45" y="47"/>
                    </a:lnTo>
                    <a:lnTo>
                      <a:pt x="55" y="43"/>
                    </a:lnTo>
                    <a:lnTo>
                      <a:pt x="68" y="38"/>
                    </a:lnTo>
                    <a:lnTo>
                      <a:pt x="68" y="38"/>
                    </a:lnTo>
                    <a:lnTo>
                      <a:pt x="83" y="33"/>
                    </a:lnTo>
                    <a:lnTo>
                      <a:pt x="98" y="29"/>
                    </a:lnTo>
                    <a:lnTo>
                      <a:pt x="115" y="25"/>
                    </a:lnTo>
                    <a:lnTo>
                      <a:pt x="133" y="23"/>
                    </a:lnTo>
                    <a:lnTo>
                      <a:pt x="152" y="21"/>
                    </a:lnTo>
                    <a:lnTo>
                      <a:pt x="170" y="18"/>
                    </a:lnTo>
                    <a:lnTo>
                      <a:pt x="211" y="17"/>
                    </a:lnTo>
                    <a:lnTo>
                      <a:pt x="211" y="17"/>
                    </a:lnTo>
                    <a:lnTo>
                      <a:pt x="251" y="18"/>
                    </a:lnTo>
                    <a:lnTo>
                      <a:pt x="270" y="21"/>
                    </a:lnTo>
                    <a:lnTo>
                      <a:pt x="289" y="23"/>
                    </a:lnTo>
                    <a:lnTo>
                      <a:pt x="306" y="25"/>
                    </a:lnTo>
                    <a:lnTo>
                      <a:pt x="324" y="29"/>
                    </a:lnTo>
                    <a:lnTo>
                      <a:pt x="340" y="33"/>
                    </a:lnTo>
                    <a:lnTo>
                      <a:pt x="354" y="38"/>
                    </a:lnTo>
                    <a:lnTo>
                      <a:pt x="354" y="38"/>
                    </a:lnTo>
                    <a:lnTo>
                      <a:pt x="366" y="43"/>
                    </a:lnTo>
                    <a:lnTo>
                      <a:pt x="377" y="47"/>
                    </a:lnTo>
                    <a:lnTo>
                      <a:pt x="385" y="52"/>
                    </a:lnTo>
                    <a:lnTo>
                      <a:pt x="392" y="56"/>
                    </a:lnTo>
                    <a:lnTo>
                      <a:pt x="398" y="61"/>
                    </a:lnTo>
                    <a:lnTo>
                      <a:pt x="401" y="66"/>
                    </a:lnTo>
                    <a:lnTo>
                      <a:pt x="403" y="70"/>
                    </a:lnTo>
                    <a:lnTo>
                      <a:pt x="405" y="74"/>
                    </a:lnTo>
                    <a:lnTo>
                      <a:pt x="405" y="74"/>
                    </a:lnTo>
                    <a:lnTo>
                      <a:pt x="403" y="77"/>
                    </a:lnTo>
                    <a:lnTo>
                      <a:pt x="401" y="82"/>
                    </a:lnTo>
                    <a:lnTo>
                      <a:pt x="398" y="85"/>
                    </a:lnTo>
                    <a:lnTo>
                      <a:pt x="392" y="90"/>
                    </a:lnTo>
                    <a:lnTo>
                      <a:pt x="385" y="95"/>
                    </a:lnTo>
                    <a:lnTo>
                      <a:pt x="377" y="100"/>
                    </a:lnTo>
                    <a:lnTo>
                      <a:pt x="366" y="105"/>
                    </a:lnTo>
                    <a:lnTo>
                      <a:pt x="354" y="110"/>
                    </a:lnTo>
                    <a:lnTo>
                      <a:pt x="354" y="1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5" name="Freeform 60">
                <a:extLst>
                  <a:ext uri="{FF2B5EF4-FFF2-40B4-BE49-F238E27FC236}">
                    <a16:creationId xmlns:a16="http://schemas.microsoft.com/office/drawing/2014/main" id="{604CA831-012C-F3CA-4F4D-0FCD01076776}"/>
                  </a:ext>
                </a:extLst>
              </p:cNvPr>
              <p:cNvSpPr>
                <a:spLocks/>
              </p:cNvSpPr>
              <p:nvPr/>
            </p:nvSpPr>
            <p:spPr bwMode="auto">
              <a:xfrm>
                <a:off x="2220913" y="2627313"/>
                <a:ext cx="39688" cy="25400"/>
              </a:xfrm>
              <a:custGeom>
                <a:avLst/>
                <a:gdLst/>
                <a:ahLst/>
                <a:cxnLst>
                  <a:cxn ang="0">
                    <a:pos x="127" y="45"/>
                  </a:cxn>
                  <a:cxn ang="0">
                    <a:pos x="96" y="39"/>
                  </a:cxn>
                  <a:cxn ang="0">
                    <a:pos x="65" y="30"/>
                  </a:cxn>
                  <a:cxn ang="0">
                    <a:pos x="60" y="27"/>
                  </a:cxn>
                  <a:cxn ang="0">
                    <a:pos x="59" y="25"/>
                  </a:cxn>
                  <a:cxn ang="0">
                    <a:pos x="62" y="20"/>
                  </a:cxn>
                  <a:cxn ang="0">
                    <a:pos x="66" y="19"/>
                  </a:cxn>
                  <a:cxn ang="0">
                    <a:pos x="70" y="19"/>
                  </a:cxn>
                  <a:cxn ang="0">
                    <a:pos x="78" y="20"/>
                  </a:cxn>
                  <a:cxn ang="0">
                    <a:pos x="81" y="24"/>
                  </a:cxn>
                  <a:cxn ang="0">
                    <a:pos x="81" y="30"/>
                  </a:cxn>
                  <a:cxn ang="0">
                    <a:pos x="140" y="30"/>
                  </a:cxn>
                  <a:cxn ang="0">
                    <a:pos x="140" y="27"/>
                  </a:cxn>
                  <a:cxn ang="0">
                    <a:pos x="136" y="19"/>
                  </a:cxn>
                  <a:cxn ang="0">
                    <a:pos x="126" y="13"/>
                  </a:cxn>
                  <a:cxn ang="0">
                    <a:pos x="119" y="11"/>
                  </a:cxn>
                  <a:cxn ang="0">
                    <a:pos x="85" y="7"/>
                  </a:cxn>
                  <a:cxn ang="0">
                    <a:pos x="59" y="0"/>
                  </a:cxn>
                  <a:cxn ang="0">
                    <a:pos x="59" y="7"/>
                  </a:cxn>
                  <a:cxn ang="0">
                    <a:pos x="23" y="11"/>
                  </a:cxn>
                  <a:cxn ang="0">
                    <a:pos x="14" y="13"/>
                  </a:cxn>
                  <a:cxn ang="0">
                    <a:pos x="3" y="19"/>
                  </a:cxn>
                  <a:cxn ang="0">
                    <a:pos x="0" y="27"/>
                  </a:cxn>
                  <a:cxn ang="0">
                    <a:pos x="0" y="30"/>
                  </a:cxn>
                  <a:cxn ang="0">
                    <a:pos x="3" y="35"/>
                  </a:cxn>
                  <a:cxn ang="0">
                    <a:pos x="7" y="39"/>
                  </a:cxn>
                  <a:cxn ang="0">
                    <a:pos x="23" y="45"/>
                  </a:cxn>
                  <a:cxn ang="0">
                    <a:pos x="60" y="54"/>
                  </a:cxn>
                  <a:cxn ang="0">
                    <a:pos x="73" y="57"/>
                  </a:cxn>
                  <a:cxn ang="0">
                    <a:pos x="78" y="60"/>
                  </a:cxn>
                  <a:cxn ang="0">
                    <a:pos x="81" y="70"/>
                  </a:cxn>
                  <a:cxn ang="0">
                    <a:pos x="81" y="72"/>
                  </a:cxn>
                  <a:cxn ang="0">
                    <a:pos x="78" y="73"/>
                  </a:cxn>
                  <a:cxn ang="0">
                    <a:pos x="69" y="75"/>
                  </a:cxn>
                  <a:cxn ang="0">
                    <a:pos x="63" y="74"/>
                  </a:cxn>
                  <a:cxn ang="0">
                    <a:pos x="61" y="73"/>
                  </a:cxn>
                  <a:cxn ang="0">
                    <a:pos x="59" y="63"/>
                  </a:cxn>
                  <a:cxn ang="0">
                    <a:pos x="0" y="58"/>
                  </a:cxn>
                  <a:cxn ang="0">
                    <a:pos x="0" y="63"/>
                  </a:cxn>
                  <a:cxn ang="0">
                    <a:pos x="5" y="73"/>
                  </a:cxn>
                  <a:cxn ang="0">
                    <a:pos x="18" y="81"/>
                  </a:cxn>
                  <a:cxn ang="0">
                    <a:pos x="27" y="84"/>
                  </a:cxn>
                  <a:cxn ang="0">
                    <a:pos x="59" y="87"/>
                  </a:cxn>
                  <a:cxn ang="0">
                    <a:pos x="85" y="95"/>
                  </a:cxn>
                  <a:cxn ang="0">
                    <a:pos x="85" y="87"/>
                  </a:cxn>
                  <a:cxn ang="0">
                    <a:pos x="112" y="85"/>
                  </a:cxn>
                  <a:cxn ang="0">
                    <a:pos x="130" y="80"/>
                  </a:cxn>
                  <a:cxn ang="0">
                    <a:pos x="137" y="77"/>
                  </a:cxn>
                  <a:cxn ang="0">
                    <a:pos x="145" y="69"/>
                  </a:cxn>
                  <a:cxn ang="0">
                    <a:pos x="145" y="63"/>
                  </a:cxn>
                  <a:cxn ang="0">
                    <a:pos x="144" y="57"/>
                  </a:cxn>
                  <a:cxn ang="0">
                    <a:pos x="141" y="52"/>
                  </a:cxn>
                  <a:cxn ang="0">
                    <a:pos x="134" y="48"/>
                  </a:cxn>
                  <a:cxn ang="0">
                    <a:pos x="127" y="45"/>
                  </a:cxn>
                </a:cxnLst>
                <a:rect l="0" t="0" r="r" b="b"/>
                <a:pathLst>
                  <a:path w="145" h="95">
                    <a:moveTo>
                      <a:pt x="127" y="45"/>
                    </a:moveTo>
                    <a:lnTo>
                      <a:pt x="127" y="45"/>
                    </a:lnTo>
                    <a:lnTo>
                      <a:pt x="96" y="39"/>
                    </a:lnTo>
                    <a:lnTo>
                      <a:pt x="96" y="39"/>
                    </a:lnTo>
                    <a:lnTo>
                      <a:pt x="65" y="30"/>
                    </a:lnTo>
                    <a:lnTo>
                      <a:pt x="65" y="30"/>
                    </a:lnTo>
                    <a:lnTo>
                      <a:pt x="61" y="28"/>
                    </a:lnTo>
                    <a:lnTo>
                      <a:pt x="60" y="27"/>
                    </a:lnTo>
                    <a:lnTo>
                      <a:pt x="59" y="25"/>
                    </a:lnTo>
                    <a:lnTo>
                      <a:pt x="59" y="25"/>
                    </a:lnTo>
                    <a:lnTo>
                      <a:pt x="60" y="22"/>
                    </a:lnTo>
                    <a:lnTo>
                      <a:pt x="62" y="20"/>
                    </a:lnTo>
                    <a:lnTo>
                      <a:pt x="62" y="20"/>
                    </a:lnTo>
                    <a:lnTo>
                      <a:pt x="66" y="19"/>
                    </a:lnTo>
                    <a:lnTo>
                      <a:pt x="70" y="19"/>
                    </a:lnTo>
                    <a:lnTo>
                      <a:pt x="70" y="19"/>
                    </a:lnTo>
                    <a:lnTo>
                      <a:pt x="75" y="19"/>
                    </a:lnTo>
                    <a:lnTo>
                      <a:pt x="78" y="20"/>
                    </a:lnTo>
                    <a:lnTo>
                      <a:pt x="78" y="20"/>
                    </a:lnTo>
                    <a:lnTo>
                      <a:pt x="81" y="24"/>
                    </a:lnTo>
                    <a:lnTo>
                      <a:pt x="81" y="27"/>
                    </a:lnTo>
                    <a:lnTo>
                      <a:pt x="81" y="30"/>
                    </a:lnTo>
                    <a:lnTo>
                      <a:pt x="140" y="30"/>
                    </a:lnTo>
                    <a:lnTo>
                      <a:pt x="140" y="30"/>
                    </a:lnTo>
                    <a:lnTo>
                      <a:pt x="140" y="27"/>
                    </a:lnTo>
                    <a:lnTo>
                      <a:pt x="140" y="27"/>
                    </a:lnTo>
                    <a:lnTo>
                      <a:pt x="138" y="22"/>
                    </a:lnTo>
                    <a:lnTo>
                      <a:pt x="136" y="19"/>
                    </a:lnTo>
                    <a:lnTo>
                      <a:pt x="133" y="15"/>
                    </a:lnTo>
                    <a:lnTo>
                      <a:pt x="126" y="13"/>
                    </a:lnTo>
                    <a:lnTo>
                      <a:pt x="126" y="13"/>
                    </a:lnTo>
                    <a:lnTo>
                      <a:pt x="119" y="11"/>
                    </a:lnTo>
                    <a:lnTo>
                      <a:pt x="110" y="10"/>
                    </a:lnTo>
                    <a:lnTo>
                      <a:pt x="85" y="7"/>
                    </a:lnTo>
                    <a:lnTo>
                      <a:pt x="85" y="0"/>
                    </a:lnTo>
                    <a:lnTo>
                      <a:pt x="59" y="0"/>
                    </a:lnTo>
                    <a:lnTo>
                      <a:pt x="59" y="7"/>
                    </a:lnTo>
                    <a:lnTo>
                      <a:pt x="59" y="7"/>
                    </a:lnTo>
                    <a:lnTo>
                      <a:pt x="33" y="10"/>
                    </a:lnTo>
                    <a:lnTo>
                      <a:pt x="23" y="11"/>
                    </a:lnTo>
                    <a:lnTo>
                      <a:pt x="14" y="13"/>
                    </a:lnTo>
                    <a:lnTo>
                      <a:pt x="14" y="13"/>
                    </a:lnTo>
                    <a:lnTo>
                      <a:pt x="8" y="15"/>
                    </a:lnTo>
                    <a:lnTo>
                      <a:pt x="3" y="19"/>
                    </a:lnTo>
                    <a:lnTo>
                      <a:pt x="0" y="24"/>
                    </a:lnTo>
                    <a:lnTo>
                      <a:pt x="0" y="27"/>
                    </a:lnTo>
                    <a:lnTo>
                      <a:pt x="0" y="27"/>
                    </a:lnTo>
                    <a:lnTo>
                      <a:pt x="0" y="30"/>
                    </a:lnTo>
                    <a:lnTo>
                      <a:pt x="1" y="33"/>
                    </a:lnTo>
                    <a:lnTo>
                      <a:pt x="3" y="35"/>
                    </a:lnTo>
                    <a:lnTo>
                      <a:pt x="7" y="39"/>
                    </a:lnTo>
                    <a:lnTo>
                      <a:pt x="7" y="39"/>
                    </a:lnTo>
                    <a:lnTo>
                      <a:pt x="14" y="42"/>
                    </a:lnTo>
                    <a:lnTo>
                      <a:pt x="23" y="45"/>
                    </a:lnTo>
                    <a:lnTo>
                      <a:pt x="23" y="45"/>
                    </a:lnTo>
                    <a:lnTo>
                      <a:pt x="60" y="54"/>
                    </a:lnTo>
                    <a:lnTo>
                      <a:pt x="60" y="54"/>
                    </a:lnTo>
                    <a:lnTo>
                      <a:pt x="73" y="57"/>
                    </a:lnTo>
                    <a:lnTo>
                      <a:pt x="78" y="60"/>
                    </a:lnTo>
                    <a:lnTo>
                      <a:pt x="78" y="60"/>
                    </a:lnTo>
                    <a:lnTo>
                      <a:pt x="81" y="64"/>
                    </a:lnTo>
                    <a:lnTo>
                      <a:pt x="81" y="70"/>
                    </a:lnTo>
                    <a:lnTo>
                      <a:pt x="81" y="70"/>
                    </a:lnTo>
                    <a:lnTo>
                      <a:pt x="81" y="72"/>
                    </a:lnTo>
                    <a:lnTo>
                      <a:pt x="78" y="73"/>
                    </a:lnTo>
                    <a:lnTo>
                      <a:pt x="78" y="73"/>
                    </a:lnTo>
                    <a:lnTo>
                      <a:pt x="75" y="74"/>
                    </a:lnTo>
                    <a:lnTo>
                      <a:pt x="69" y="75"/>
                    </a:lnTo>
                    <a:lnTo>
                      <a:pt x="69" y="75"/>
                    </a:lnTo>
                    <a:lnTo>
                      <a:pt x="63" y="74"/>
                    </a:lnTo>
                    <a:lnTo>
                      <a:pt x="61" y="73"/>
                    </a:lnTo>
                    <a:lnTo>
                      <a:pt x="61" y="73"/>
                    </a:lnTo>
                    <a:lnTo>
                      <a:pt x="59" y="70"/>
                    </a:lnTo>
                    <a:lnTo>
                      <a:pt x="59" y="63"/>
                    </a:lnTo>
                    <a:lnTo>
                      <a:pt x="59" y="58"/>
                    </a:lnTo>
                    <a:lnTo>
                      <a:pt x="0" y="58"/>
                    </a:lnTo>
                    <a:lnTo>
                      <a:pt x="0" y="63"/>
                    </a:lnTo>
                    <a:lnTo>
                      <a:pt x="0" y="63"/>
                    </a:lnTo>
                    <a:lnTo>
                      <a:pt x="1" y="69"/>
                    </a:lnTo>
                    <a:lnTo>
                      <a:pt x="5" y="73"/>
                    </a:lnTo>
                    <a:lnTo>
                      <a:pt x="10" y="78"/>
                    </a:lnTo>
                    <a:lnTo>
                      <a:pt x="18" y="81"/>
                    </a:lnTo>
                    <a:lnTo>
                      <a:pt x="18" y="81"/>
                    </a:lnTo>
                    <a:lnTo>
                      <a:pt x="27" y="84"/>
                    </a:lnTo>
                    <a:lnTo>
                      <a:pt x="37" y="85"/>
                    </a:lnTo>
                    <a:lnTo>
                      <a:pt x="59" y="87"/>
                    </a:lnTo>
                    <a:lnTo>
                      <a:pt x="59" y="95"/>
                    </a:lnTo>
                    <a:lnTo>
                      <a:pt x="85" y="95"/>
                    </a:lnTo>
                    <a:lnTo>
                      <a:pt x="85" y="87"/>
                    </a:lnTo>
                    <a:lnTo>
                      <a:pt x="85" y="87"/>
                    </a:lnTo>
                    <a:lnTo>
                      <a:pt x="100" y="86"/>
                    </a:lnTo>
                    <a:lnTo>
                      <a:pt x="112" y="85"/>
                    </a:lnTo>
                    <a:lnTo>
                      <a:pt x="122" y="82"/>
                    </a:lnTo>
                    <a:lnTo>
                      <a:pt x="130" y="80"/>
                    </a:lnTo>
                    <a:lnTo>
                      <a:pt x="130" y="80"/>
                    </a:lnTo>
                    <a:lnTo>
                      <a:pt x="137" y="77"/>
                    </a:lnTo>
                    <a:lnTo>
                      <a:pt x="142" y="72"/>
                    </a:lnTo>
                    <a:lnTo>
                      <a:pt x="145" y="69"/>
                    </a:lnTo>
                    <a:lnTo>
                      <a:pt x="145" y="63"/>
                    </a:lnTo>
                    <a:lnTo>
                      <a:pt x="145" y="63"/>
                    </a:lnTo>
                    <a:lnTo>
                      <a:pt x="145" y="60"/>
                    </a:lnTo>
                    <a:lnTo>
                      <a:pt x="144" y="57"/>
                    </a:lnTo>
                    <a:lnTo>
                      <a:pt x="143" y="55"/>
                    </a:lnTo>
                    <a:lnTo>
                      <a:pt x="141" y="52"/>
                    </a:lnTo>
                    <a:lnTo>
                      <a:pt x="141" y="52"/>
                    </a:lnTo>
                    <a:lnTo>
                      <a:pt x="134" y="48"/>
                    </a:lnTo>
                    <a:lnTo>
                      <a:pt x="127" y="45"/>
                    </a:lnTo>
                    <a:lnTo>
                      <a:pt x="127"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6" name="Freeform 61">
                <a:extLst>
                  <a:ext uri="{FF2B5EF4-FFF2-40B4-BE49-F238E27FC236}">
                    <a16:creationId xmlns:a16="http://schemas.microsoft.com/office/drawing/2014/main" id="{1CB91689-8A52-7FC4-A2BC-6566D3C54D3E}"/>
                  </a:ext>
                </a:extLst>
              </p:cNvPr>
              <p:cNvSpPr>
                <a:spLocks noEditPoints="1"/>
              </p:cNvSpPr>
              <p:nvPr/>
            </p:nvSpPr>
            <p:spPr bwMode="auto">
              <a:xfrm>
                <a:off x="2184400" y="2660650"/>
                <a:ext cx="112713" cy="36513"/>
              </a:xfrm>
              <a:custGeom>
                <a:avLst/>
                <a:gdLst/>
                <a:ahLst/>
                <a:cxnLst>
                  <a:cxn ang="0">
                    <a:pos x="422" y="8"/>
                  </a:cxn>
                  <a:cxn ang="0">
                    <a:pos x="421" y="0"/>
                  </a:cxn>
                  <a:cxn ang="0">
                    <a:pos x="413" y="13"/>
                  </a:cxn>
                  <a:cxn ang="0">
                    <a:pos x="399" y="26"/>
                  </a:cxn>
                  <a:cxn ang="0">
                    <a:pos x="378" y="36"/>
                  </a:cxn>
                  <a:cxn ang="0">
                    <a:pos x="353" y="47"/>
                  </a:cxn>
                  <a:cxn ang="0">
                    <a:pos x="323" y="55"/>
                  </a:cxn>
                  <a:cxn ang="0">
                    <a:pos x="251" y="64"/>
                  </a:cxn>
                  <a:cxn ang="0">
                    <a:pos x="211" y="65"/>
                  </a:cxn>
                  <a:cxn ang="0">
                    <a:pos x="133" y="61"/>
                  </a:cxn>
                  <a:cxn ang="0">
                    <a:pos x="84" y="50"/>
                  </a:cxn>
                  <a:cxn ang="0">
                    <a:pos x="56" y="42"/>
                  </a:cxn>
                  <a:cxn ang="0">
                    <a:pos x="33" y="32"/>
                  </a:cxn>
                  <a:cxn ang="0">
                    <a:pos x="15" y="19"/>
                  </a:cxn>
                  <a:cxn ang="0">
                    <a:pos x="4" y="6"/>
                  </a:cxn>
                  <a:cxn ang="0">
                    <a:pos x="1" y="0"/>
                  </a:cxn>
                  <a:cxn ang="0">
                    <a:pos x="0" y="63"/>
                  </a:cxn>
                  <a:cxn ang="0">
                    <a:pos x="1" y="71"/>
                  </a:cxn>
                  <a:cxn ang="0">
                    <a:pos x="10" y="85"/>
                  </a:cxn>
                  <a:cxn ang="0">
                    <a:pos x="25" y="98"/>
                  </a:cxn>
                  <a:cxn ang="0">
                    <a:pos x="48" y="110"/>
                  </a:cxn>
                  <a:cxn ang="0">
                    <a:pos x="77" y="120"/>
                  </a:cxn>
                  <a:cxn ang="0">
                    <a:pos x="110" y="128"/>
                  </a:cxn>
                  <a:cxn ang="0">
                    <a:pos x="148" y="133"/>
                  </a:cxn>
                  <a:cxn ang="0">
                    <a:pos x="189" y="136"/>
                  </a:cxn>
                  <a:cxn ang="0">
                    <a:pos x="211" y="137"/>
                  </a:cxn>
                  <a:cxn ang="0">
                    <a:pos x="253" y="135"/>
                  </a:cxn>
                  <a:cxn ang="0">
                    <a:pos x="293" y="131"/>
                  </a:cxn>
                  <a:cxn ang="0">
                    <a:pos x="328" y="124"/>
                  </a:cxn>
                  <a:cxn ang="0">
                    <a:pos x="360" y="115"/>
                  </a:cxn>
                  <a:cxn ang="0">
                    <a:pos x="386" y="105"/>
                  </a:cxn>
                  <a:cxn ang="0">
                    <a:pos x="405" y="92"/>
                  </a:cxn>
                  <a:cxn ang="0">
                    <a:pos x="417" y="78"/>
                  </a:cxn>
                  <a:cxn ang="0">
                    <a:pos x="422" y="63"/>
                  </a:cxn>
                  <a:cxn ang="0">
                    <a:pos x="48" y="102"/>
                  </a:cxn>
                  <a:cxn ang="0">
                    <a:pos x="32" y="94"/>
                  </a:cxn>
                  <a:cxn ang="0">
                    <a:pos x="19" y="31"/>
                  </a:cxn>
                  <a:cxn ang="0">
                    <a:pos x="32" y="40"/>
                  </a:cxn>
                  <a:cxn ang="0">
                    <a:pos x="48" y="102"/>
                  </a:cxn>
                  <a:cxn ang="0">
                    <a:pos x="90" y="116"/>
                  </a:cxn>
                  <a:cxn ang="0">
                    <a:pos x="61" y="107"/>
                  </a:cxn>
                  <a:cxn ang="0">
                    <a:pos x="61" y="53"/>
                  </a:cxn>
                  <a:cxn ang="0">
                    <a:pos x="90" y="61"/>
                  </a:cxn>
                  <a:cxn ang="0">
                    <a:pos x="131" y="124"/>
                  </a:cxn>
                  <a:cxn ang="0">
                    <a:pos x="102" y="120"/>
                  </a:cxn>
                  <a:cxn ang="0">
                    <a:pos x="102" y="64"/>
                  </a:cxn>
                  <a:cxn ang="0">
                    <a:pos x="131" y="124"/>
                  </a:cxn>
                  <a:cxn ang="0">
                    <a:pos x="385" y="96"/>
                  </a:cxn>
                  <a:cxn ang="0">
                    <a:pos x="356" y="109"/>
                  </a:cxn>
                  <a:cxn ang="0">
                    <a:pos x="356" y="54"/>
                  </a:cxn>
                  <a:cxn ang="0">
                    <a:pos x="385" y="42"/>
                  </a:cxn>
                </a:cxnLst>
                <a:rect l="0" t="0" r="r" b="b"/>
                <a:pathLst>
                  <a:path w="422" h="137">
                    <a:moveTo>
                      <a:pt x="422" y="8"/>
                    </a:moveTo>
                    <a:lnTo>
                      <a:pt x="422" y="8"/>
                    </a:lnTo>
                    <a:lnTo>
                      <a:pt x="421" y="0"/>
                    </a:lnTo>
                    <a:lnTo>
                      <a:pt x="421" y="0"/>
                    </a:lnTo>
                    <a:lnTo>
                      <a:pt x="417" y="6"/>
                    </a:lnTo>
                    <a:lnTo>
                      <a:pt x="413" y="13"/>
                    </a:lnTo>
                    <a:lnTo>
                      <a:pt x="407" y="19"/>
                    </a:lnTo>
                    <a:lnTo>
                      <a:pt x="399" y="26"/>
                    </a:lnTo>
                    <a:lnTo>
                      <a:pt x="390" y="32"/>
                    </a:lnTo>
                    <a:lnTo>
                      <a:pt x="378" y="36"/>
                    </a:lnTo>
                    <a:lnTo>
                      <a:pt x="366" y="42"/>
                    </a:lnTo>
                    <a:lnTo>
                      <a:pt x="353" y="47"/>
                    </a:lnTo>
                    <a:lnTo>
                      <a:pt x="338" y="50"/>
                    </a:lnTo>
                    <a:lnTo>
                      <a:pt x="323" y="55"/>
                    </a:lnTo>
                    <a:lnTo>
                      <a:pt x="288" y="61"/>
                    </a:lnTo>
                    <a:lnTo>
                      <a:pt x="251" y="64"/>
                    </a:lnTo>
                    <a:lnTo>
                      <a:pt x="211" y="65"/>
                    </a:lnTo>
                    <a:lnTo>
                      <a:pt x="211" y="65"/>
                    </a:lnTo>
                    <a:lnTo>
                      <a:pt x="170" y="64"/>
                    </a:lnTo>
                    <a:lnTo>
                      <a:pt x="133" y="61"/>
                    </a:lnTo>
                    <a:lnTo>
                      <a:pt x="99" y="55"/>
                    </a:lnTo>
                    <a:lnTo>
                      <a:pt x="84" y="50"/>
                    </a:lnTo>
                    <a:lnTo>
                      <a:pt x="69" y="47"/>
                    </a:lnTo>
                    <a:lnTo>
                      <a:pt x="56" y="42"/>
                    </a:lnTo>
                    <a:lnTo>
                      <a:pt x="43" y="36"/>
                    </a:lnTo>
                    <a:lnTo>
                      <a:pt x="33" y="32"/>
                    </a:lnTo>
                    <a:lnTo>
                      <a:pt x="23" y="26"/>
                    </a:lnTo>
                    <a:lnTo>
                      <a:pt x="15" y="19"/>
                    </a:lnTo>
                    <a:lnTo>
                      <a:pt x="9" y="13"/>
                    </a:lnTo>
                    <a:lnTo>
                      <a:pt x="4" y="6"/>
                    </a:lnTo>
                    <a:lnTo>
                      <a:pt x="1" y="0"/>
                    </a:lnTo>
                    <a:lnTo>
                      <a:pt x="1" y="0"/>
                    </a:lnTo>
                    <a:lnTo>
                      <a:pt x="0" y="8"/>
                    </a:lnTo>
                    <a:lnTo>
                      <a:pt x="0" y="63"/>
                    </a:lnTo>
                    <a:lnTo>
                      <a:pt x="0" y="63"/>
                    </a:lnTo>
                    <a:lnTo>
                      <a:pt x="1" y="71"/>
                    </a:lnTo>
                    <a:lnTo>
                      <a:pt x="4" y="78"/>
                    </a:lnTo>
                    <a:lnTo>
                      <a:pt x="10" y="85"/>
                    </a:lnTo>
                    <a:lnTo>
                      <a:pt x="17" y="92"/>
                    </a:lnTo>
                    <a:lnTo>
                      <a:pt x="25" y="98"/>
                    </a:lnTo>
                    <a:lnTo>
                      <a:pt x="36" y="105"/>
                    </a:lnTo>
                    <a:lnTo>
                      <a:pt x="48" y="110"/>
                    </a:lnTo>
                    <a:lnTo>
                      <a:pt x="62" y="115"/>
                    </a:lnTo>
                    <a:lnTo>
                      <a:pt x="77" y="120"/>
                    </a:lnTo>
                    <a:lnTo>
                      <a:pt x="93" y="124"/>
                    </a:lnTo>
                    <a:lnTo>
                      <a:pt x="110" y="128"/>
                    </a:lnTo>
                    <a:lnTo>
                      <a:pt x="129" y="131"/>
                    </a:lnTo>
                    <a:lnTo>
                      <a:pt x="148" y="133"/>
                    </a:lnTo>
                    <a:lnTo>
                      <a:pt x="168" y="135"/>
                    </a:lnTo>
                    <a:lnTo>
                      <a:pt x="189" y="136"/>
                    </a:lnTo>
                    <a:lnTo>
                      <a:pt x="211" y="137"/>
                    </a:lnTo>
                    <a:lnTo>
                      <a:pt x="211" y="137"/>
                    </a:lnTo>
                    <a:lnTo>
                      <a:pt x="233" y="136"/>
                    </a:lnTo>
                    <a:lnTo>
                      <a:pt x="253" y="135"/>
                    </a:lnTo>
                    <a:lnTo>
                      <a:pt x="273" y="133"/>
                    </a:lnTo>
                    <a:lnTo>
                      <a:pt x="293" y="131"/>
                    </a:lnTo>
                    <a:lnTo>
                      <a:pt x="311" y="128"/>
                    </a:lnTo>
                    <a:lnTo>
                      <a:pt x="328" y="124"/>
                    </a:lnTo>
                    <a:lnTo>
                      <a:pt x="345" y="120"/>
                    </a:lnTo>
                    <a:lnTo>
                      <a:pt x="360" y="115"/>
                    </a:lnTo>
                    <a:lnTo>
                      <a:pt x="373" y="110"/>
                    </a:lnTo>
                    <a:lnTo>
                      <a:pt x="386" y="105"/>
                    </a:lnTo>
                    <a:lnTo>
                      <a:pt x="396" y="98"/>
                    </a:lnTo>
                    <a:lnTo>
                      <a:pt x="405" y="92"/>
                    </a:lnTo>
                    <a:lnTo>
                      <a:pt x="413" y="85"/>
                    </a:lnTo>
                    <a:lnTo>
                      <a:pt x="417" y="78"/>
                    </a:lnTo>
                    <a:lnTo>
                      <a:pt x="421" y="71"/>
                    </a:lnTo>
                    <a:lnTo>
                      <a:pt x="422" y="63"/>
                    </a:lnTo>
                    <a:lnTo>
                      <a:pt x="422" y="8"/>
                    </a:lnTo>
                    <a:close/>
                    <a:moveTo>
                      <a:pt x="48" y="102"/>
                    </a:moveTo>
                    <a:lnTo>
                      <a:pt x="48" y="102"/>
                    </a:lnTo>
                    <a:lnTo>
                      <a:pt x="32" y="94"/>
                    </a:lnTo>
                    <a:lnTo>
                      <a:pt x="19" y="86"/>
                    </a:lnTo>
                    <a:lnTo>
                      <a:pt x="19" y="31"/>
                    </a:lnTo>
                    <a:lnTo>
                      <a:pt x="19" y="31"/>
                    </a:lnTo>
                    <a:lnTo>
                      <a:pt x="32" y="40"/>
                    </a:lnTo>
                    <a:lnTo>
                      <a:pt x="48" y="47"/>
                    </a:lnTo>
                    <a:lnTo>
                      <a:pt x="48" y="102"/>
                    </a:lnTo>
                    <a:close/>
                    <a:moveTo>
                      <a:pt x="90" y="116"/>
                    </a:moveTo>
                    <a:lnTo>
                      <a:pt x="90" y="116"/>
                    </a:lnTo>
                    <a:lnTo>
                      <a:pt x="75" y="111"/>
                    </a:lnTo>
                    <a:lnTo>
                      <a:pt x="61" y="107"/>
                    </a:lnTo>
                    <a:lnTo>
                      <a:pt x="61" y="53"/>
                    </a:lnTo>
                    <a:lnTo>
                      <a:pt x="61" y="53"/>
                    </a:lnTo>
                    <a:lnTo>
                      <a:pt x="75" y="57"/>
                    </a:lnTo>
                    <a:lnTo>
                      <a:pt x="90" y="61"/>
                    </a:lnTo>
                    <a:lnTo>
                      <a:pt x="90" y="116"/>
                    </a:lnTo>
                    <a:close/>
                    <a:moveTo>
                      <a:pt x="131" y="124"/>
                    </a:moveTo>
                    <a:lnTo>
                      <a:pt x="131" y="124"/>
                    </a:lnTo>
                    <a:lnTo>
                      <a:pt x="102" y="120"/>
                    </a:lnTo>
                    <a:lnTo>
                      <a:pt x="102" y="64"/>
                    </a:lnTo>
                    <a:lnTo>
                      <a:pt x="102" y="64"/>
                    </a:lnTo>
                    <a:lnTo>
                      <a:pt x="131" y="70"/>
                    </a:lnTo>
                    <a:lnTo>
                      <a:pt x="131" y="124"/>
                    </a:lnTo>
                    <a:close/>
                    <a:moveTo>
                      <a:pt x="385" y="96"/>
                    </a:moveTo>
                    <a:lnTo>
                      <a:pt x="385" y="96"/>
                    </a:lnTo>
                    <a:lnTo>
                      <a:pt x="371" y="103"/>
                    </a:lnTo>
                    <a:lnTo>
                      <a:pt x="356" y="109"/>
                    </a:lnTo>
                    <a:lnTo>
                      <a:pt x="356" y="54"/>
                    </a:lnTo>
                    <a:lnTo>
                      <a:pt x="356" y="54"/>
                    </a:lnTo>
                    <a:lnTo>
                      <a:pt x="371" y="48"/>
                    </a:lnTo>
                    <a:lnTo>
                      <a:pt x="385" y="42"/>
                    </a:lnTo>
                    <a:lnTo>
                      <a:pt x="385" y="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7" name="Freeform 62">
                <a:extLst>
                  <a:ext uri="{FF2B5EF4-FFF2-40B4-BE49-F238E27FC236}">
                    <a16:creationId xmlns:a16="http://schemas.microsoft.com/office/drawing/2014/main" id="{F6DF1D83-D7B0-A2E1-0E56-AE93B6DA0830}"/>
                  </a:ext>
                </a:extLst>
              </p:cNvPr>
              <p:cNvSpPr>
                <a:spLocks noEditPoints="1"/>
              </p:cNvSpPr>
              <p:nvPr/>
            </p:nvSpPr>
            <p:spPr bwMode="auto">
              <a:xfrm>
                <a:off x="2184400" y="2684463"/>
                <a:ext cx="112713" cy="36513"/>
              </a:xfrm>
              <a:custGeom>
                <a:avLst/>
                <a:gdLst/>
                <a:ahLst/>
                <a:cxnLst>
                  <a:cxn ang="0">
                    <a:pos x="422" y="8"/>
                  </a:cxn>
                  <a:cxn ang="0">
                    <a:pos x="421" y="0"/>
                  </a:cxn>
                  <a:cxn ang="0">
                    <a:pos x="413" y="14"/>
                  </a:cxn>
                  <a:cxn ang="0">
                    <a:pos x="399" y="26"/>
                  </a:cxn>
                  <a:cxn ang="0">
                    <a:pos x="378" y="37"/>
                  </a:cxn>
                  <a:cxn ang="0">
                    <a:pos x="353" y="47"/>
                  </a:cxn>
                  <a:cxn ang="0">
                    <a:pos x="323" y="54"/>
                  </a:cxn>
                  <a:cxn ang="0">
                    <a:pos x="251" y="64"/>
                  </a:cxn>
                  <a:cxn ang="0">
                    <a:pos x="211" y="65"/>
                  </a:cxn>
                  <a:cxn ang="0">
                    <a:pos x="133" y="61"/>
                  </a:cxn>
                  <a:cxn ang="0">
                    <a:pos x="84" y="50"/>
                  </a:cxn>
                  <a:cxn ang="0">
                    <a:pos x="56" y="42"/>
                  </a:cxn>
                  <a:cxn ang="0">
                    <a:pos x="33" y="32"/>
                  </a:cxn>
                  <a:cxn ang="0">
                    <a:pos x="15" y="19"/>
                  </a:cxn>
                  <a:cxn ang="0">
                    <a:pos x="4" y="7"/>
                  </a:cxn>
                  <a:cxn ang="0">
                    <a:pos x="1" y="0"/>
                  </a:cxn>
                  <a:cxn ang="0">
                    <a:pos x="0" y="63"/>
                  </a:cxn>
                  <a:cxn ang="0">
                    <a:pos x="1" y="71"/>
                  </a:cxn>
                  <a:cxn ang="0">
                    <a:pos x="10" y="85"/>
                  </a:cxn>
                  <a:cxn ang="0">
                    <a:pos x="25" y="98"/>
                  </a:cxn>
                  <a:cxn ang="0">
                    <a:pos x="48" y="109"/>
                  </a:cxn>
                  <a:cxn ang="0">
                    <a:pos x="77" y="120"/>
                  </a:cxn>
                  <a:cxn ang="0">
                    <a:pos x="110" y="128"/>
                  </a:cxn>
                  <a:cxn ang="0">
                    <a:pos x="148" y="134"/>
                  </a:cxn>
                  <a:cxn ang="0">
                    <a:pos x="189" y="136"/>
                  </a:cxn>
                  <a:cxn ang="0">
                    <a:pos x="211" y="137"/>
                  </a:cxn>
                  <a:cxn ang="0">
                    <a:pos x="253" y="135"/>
                  </a:cxn>
                  <a:cxn ang="0">
                    <a:pos x="293" y="131"/>
                  </a:cxn>
                  <a:cxn ang="0">
                    <a:pos x="328" y="124"/>
                  </a:cxn>
                  <a:cxn ang="0">
                    <a:pos x="360" y="115"/>
                  </a:cxn>
                  <a:cxn ang="0">
                    <a:pos x="386" y="105"/>
                  </a:cxn>
                  <a:cxn ang="0">
                    <a:pos x="405" y="92"/>
                  </a:cxn>
                  <a:cxn ang="0">
                    <a:pos x="417" y="78"/>
                  </a:cxn>
                  <a:cxn ang="0">
                    <a:pos x="422" y="63"/>
                  </a:cxn>
                  <a:cxn ang="0">
                    <a:pos x="48" y="102"/>
                  </a:cxn>
                  <a:cxn ang="0">
                    <a:pos x="32" y="94"/>
                  </a:cxn>
                  <a:cxn ang="0">
                    <a:pos x="19" y="31"/>
                  </a:cxn>
                  <a:cxn ang="0">
                    <a:pos x="32" y="40"/>
                  </a:cxn>
                  <a:cxn ang="0">
                    <a:pos x="48" y="102"/>
                  </a:cxn>
                  <a:cxn ang="0">
                    <a:pos x="90" y="116"/>
                  </a:cxn>
                  <a:cxn ang="0">
                    <a:pos x="61" y="107"/>
                  </a:cxn>
                  <a:cxn ang="0">
                    <a:pos x="61" y="53"/>
                  </a:cxn>
                  <a:cxn ang="0">
                    <a:pos x="90" y="61"/>
                  </a:cxn>
                  <a:cxn ang="0">
                    <a:pos x="131" y="124"/>
                  </a:cxn>
                  <a:cxn ang="0">
                    <a:pos x="102" y="119"/>
                  </a:cxn>
                  <a:cxn ang="0">
                    <a:pos x="102" y="64"/>
                  </a:cxn>
                  <a:cxn ang="0">
                    <a:pos x="131" y="124"/>
                  </a:cxn>
                  <a:cxn ang="0">
                    <a:pos x="385" y="97"/>
                  </a:cxn>
                  <a:cxn ang="0">
                    <a:pos x="356" y="109"/>
                  </a:cxn>
                  <a:cxn ang="0">
                    <a:pos x="356" y="54"/>
                  </a:cxn>
                  <a:cxn ang="0">
                    <a:pos x="385" y="42"/>
                  </a:cxn>
                </a:cxnLst>
                <a:rect l="0" t="0" r="r" b="b"/>
                <a:pathLst>
                  <a:path w="422" h="137">
                    <a:moveTo>
                      <a:pt x="422" y="8"/>
                    </a:moveTo>
                    <a:lnTo>
                      <a:pt x="422" y="8"/>
                    </a:lnTo>
                    <a:lnTo>
                      <a:pt x="421" y="0"/>
                    </a:lnTo>
                    <a:lnTo>
                      <a:pt x="421" y="0"/>
                    </a:lnTo>
                    <a:lnTo>
                      <a:pt x="417" y="7"/>
                    </a:lnTo>
                    <a:lnTo>
                      <a:pt x="413" y="14"/>
                    </a:lnTo>
                    <a:lnTo>
                      <a:pt x="407" y="19"/>
                    </a:lnTo>
                    <a:lnTo>
                      <a:pt x="399" y="26"/>
                    </a:lnTo>
                    <a:lnTo>
                      <a:pt x="390" y="32"/>
                    </a:lnTo>
                    <a:lnTo>
                      <a:pt x="378" y="37"/>
                    </a:lnTo>
                    <a:lnTo>
                      <a:pt x="366" y="42"/>
                    </a:lnTo>
                    <a:lnTo>
                      <a:pt x="353" y="47"/>
                    </a:lnTo>
                    <a:lnTo>
                      <a:pt x="338" y="50"/>
                    </a:lnTo>
                    <a:lnTo>
                      <a:pt x="323" y="54"/>
                    </a:lnTo>
                    <a:lnTo>
                      <a:pt x="288" y="61"/>
                    </a:lnTo>
                    <a:lnTo>
                      <a:pt x="251" y="64"/>
                    </a:lnTo>
                    <a:lnTo>
                      <a:pt x="211" y="65"/>
                    </a:lnTo>
                    <a:lnTo>
                      <a:pt x="211" y="65"/>
                    </a:lnTo>
                    <a:lnTo>
                      <a:pt x="170" y="64"/>
                    </a:lnTo>
                    <a:lnTo>
                      <a:pt x="133" y="61"/>
                    </a:lnTo>
                    <a:lnTo>
                      <a:pt x="99" y="54"/>
                    </a:lnTo>
                    <a:lnTo>
                      <a:pt x="84" y="50"/>
                    </a:lnTo>
                    <a:lnTo>
                      <a:pt x="69" y="47"/>
                    </a:lnTo>
                    <a:lnTo>
                      <a:pt x="56" y="42"/>
                    </a:lnTo>
                    <a:lnTo>
                      <a:pt x="43" y="37"/>
                    </a:lnTo>
                    <a:lnTo>
                      <a:pt x="33" y="32"/>
                    </a:lnTo>
                    <a:lnTo>
                      <a:pt x="23" y="26"/>
                    </a:lnTo>
                    <a:lnTo>
                      <a:pt x="15" y="19"/>
                    </a:lnTo>
                    <a:lnTo>
                      <a:pt x="9" y="14"/>
                    </a:lnTo>
                    <a:lnTo>
                      <a:pt x="4" y="7"/>
                    </a:lnTo>
                    <a:lnTo>
                      <a:pt x="1" y="0"/>
                    </a:lnTo>
                    <a:lnTo>
                      <a:pt x="1" y="0"/>
                    </a:lnTo>
                    <a:lnTo>
                      <a:pt x="0" y="8"/>
                    </a:lnTo>
                    <a:lnTo>
                      <a:pt x="0" y="63"/>
                    </a:lnTo>
                    <a:lnTo>
                      <a:pt x="0" y="63"/>
                    </a:lnTo>
                    <a:lnTo>
                      <a:pt x="1" y="71"/>
                    </a:lnTo>
                    <a:lnTo>
                      <a:pt x="4" y="78"/>
                    </a:lnTo>
                    <a:lnTo>
                      <a:pt x="10" y="85"/>
                    </a:lnTo>
                    <a:lnTo>
                      <a:pt x="17" y="92"/>
                    </a:lnTo>
                    <a:lnTo>
                      <a:pt x="25" y="98"/>
                    </a:lnTo>
                    <a:lnTo>
                      <a:pt x="36" y="105"/>
                    </a:lnTo>
                    <a:lnTo>
                      <a:pt x="48" y="109"/>
                    </a:lnTo>
                    <a:lnTo>
                      <a:pt x="62" y="115"/>
                    </a:lnTo>
                    <a:lnTo>
                      <a:pt x="77" y="120"/>
                    </a:lnTo>
                    <a:lnTo>
                      <a:pt x="93" y="124"/>
                    </a:lnTo>
                    <a:lnTo>
                      <a:pt x="110" y="128"/>
                    </a:lnTo>
                    <a:lnTo>
                      <a:pt x="129" y="131"/>
                    </a:lnTo>
                    <a:lnTo>
                      <a:pt x="148" y="134"/>
                    </a:lnTo>
                    <a:lnTo>
                      <a:pt x="168" y="135"/>
                    </a:lnTo>
                    <a:lnTo>
                      <a:pt x="189" y="136"/>
                    </a:lnTo>
                    <a:lnTo>
                      <a:pt x="211" y="137"/>
                    </a:lnTo>
                    <a:lnTo>
                      <a:pt x="211" y="137"/>
                    </a:lnTo>
                    <a:lnTo>
                      <a:pt x="233" y="136"/>
                    </a:lnTo>
                    <a:lnTo>
                      <a:pt x="253" y="135"/>
                    </a:lnTo>
                    <a:lnTo>
                      <a:pt x="273" y="134"/>
                    </a:lnTo>
                    <a:lnTo>
                      <a:pt x="293" y="131"/>
                    </a:lnTo>
                    <a:lnTo>
                      <a:pt x="311" y="128"/>
                    </a:lnTo>
                    <a:lnTo>
                      <a:pt x="328" y="124"/>
                    </a:lnTo>
                    <a:lnTo>
                      <a:pt x="345" y="120"/>
                    </a:lnTo>
                    <a:lnTo>
                      <a:pt x="360" y="115"/>
                    </a:lnTo>
                    <a:lnTo>
                      <a:pt x="373" y="109"/>
                    </a:lnTo>
                    <a:lnTo>
                      <a:pt x="386" y="105"/>
                    </a:lnTo>
                    <a:lnTo>
                      <a:pt x="396" y="98"/>
                    </a:lnTo>
                    <a:lnTo>
                      <a:pt x="405" y="92"/>
                    </a:lnTo>
                    <a:lnTo>
                      <a:pt x="413" y="85"/>
                    </a:lnTo>
                    <a:lnTo>
                      <a:pt x="417" y="78"/>
                    </a:lnTo>
                    <a:lnTo>
                      <a:pt x="421" y="71"/>
                    </a:lnTo>
                    <a:lnTo>
                      <a:pt x="422" y="63"/>
                    </a:lnTo>
                    <a:lnTo>
                      <a:pt x="422" y="8"/>
                    </a:lnTo>
                    <a:close/>
                    <a:moveTo>
                      <a:pt x="48" y="102"/>
                    </a:moveTo>
                    <a:lnTo>
                      <a:pt x="48" y="102"/>
                    </a:lnTo>
                    <a:lnTo>
                      <a:pt x="32" y="94"/>
                    </a:lnTo>
                    <a:lnTo>
                      <a:pt x="19" y="86"/>
                    </a:lnTo>
                    <a:lnTo>
                      <a:pt x="19" y="31"/>
                    </a:lnTo>
                    <a:lnTo>
                      <a:pt x="19" y="31"/>
                    </a:lnTo>
                    <a:lnTo>
                      <a:pt x="32" y="40"/>
                    </a:lnTo>
                    <a:lnTo>
                      <a:pt x="48" y="47"/>
                    </a:lnTo>
                    <a:lnTo>
                      <a:pt x="48" y="102"/>
                    </a:lnTo>
                    <a:close/>
                    <a:moveTo>
                      <a:pt x="90" y="116"/>
                    </a:moveTo>
                    <a:lnTo>
                      <a:pt x="90" y="116"/>
                    </a:lnTo>
                    <a:lnTo>
                      <a:pt x="75" y="112"/>
                    </a:lnTo>
                    <a:lnTo>
                      <a:pt x="61" y="107"/>
                    </a:lnTo>
                    <a:lnTo>
                      <a:pt x="61" y="53"/>
                    </a:lnTo>
                    <a:lnTo>
                      <a:pt x="61" y="53"/>
                    </a:lnTo>
                    <a:lnTo>
                      <a:pt x="75" y="57"/>
                    </a:lnTo>
                    <a:lnTo>
                      <a:pt x="90" y="61"/>
                    </a:lnTo>
                    <a:lnTo>
                      <a:pt x="90" y="116"/>
                    </a:lnTo>
                    <a:close/>
                    <a:moveTo>
                      <a:pt x="131" y="124"/>
                    </a:moveTo>
                    <a:lnTo>
                      <a:pt x="131" y="124"/>
                    </a:lnTo>
                    <a:lnTo>
                      <a:pt x="102" y="119"/>
                    </a:lnTo>
                    <a:lnTo>
                      <a:pt x="102" y="64"/>
                    </a:lnTo>
                    <a:lnTo>
                      <a:pt x="102" y="64"/>
                    </a:lnTo>
                    <a:lnTo>
                      <a:pt x="131" y="69"/>
                    </a:lnTo>
                    <a:lnTo>
                      <a:pt x="131" y="124"/>
                    </a:lnTo>
                    <a:close/>
                    <a:moveTo>
                      <a:pt x="385" y="97"/>
                    </a:moveTo>
                    <a:lnTo>
                      <a:pt x="385" y="97"/>
                    </a:lnTo>
                    <a:lnTo>
                      <a:pt x="371" y="104"/>
                    </a:lnTo>
                    <a:lnTo>
                      <a:pt x="356" y="109"/>
                    </a:lnTo>
                    <a:lnTo>
                      <a:pt x="356" y="54"/>
                    </a:lnTo>
                    <a:lnTo>
                      <a:pt x="356" y="54"/>
                    </a:lnTo>
                    <a:lnTo>
                      <a:pt x="371" y="48"/>
                    </a:lnTo>
                    <a:lnTo>
                      <a:pt x="385" y="42"/>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8" name="Freeform 63">
                <a:extLst>
                  <a:ext uri="{FF2B5EF4-FFF2-40B4-BE49-F238E27FC236}">
                    <a16:creationId xmlns:a16="http://schemas.microsoft.com/office/drawing/2014/main" id="{159D9114-AA41-0619-A0B8-6DFED4D1B621}"/>
                  </a:ext>
                </a:extLst>
              </p:cNvPr>
              <p:cNvSpPr>
                <a:spLocks noEditPoints="1"/>
              </p:cNvSpPr>
              <p:nvPr/>
            </p:nvSpPr>
            <p:spPr bwMode="auto">
              <a:xfrm>
                <a:off x="2184400" y="2708275"/>
                <a:ext cx="112713" cy="36513"/>
              </a:xfrm>
              <a:custGeom>
                <a:avLst/>
                <a:gdLst/>
                <a:ahLst/>
                <a:cxnLst>
                  <a:cxn ang="0">
                    <a:pos x="422" y="8"/>
                  </a:cxn>
                  <a:cxn ang="0">
                    <a:pos x="421" y="0"/>
                  </a:cxn>
                  <a:cxn ang="0">
                    <a:pos x="413" y="14"/>
                  </a:cxn>
                  <a:cxn ang="0">
                    <a:pos x="399" y="25"/>
                  </a:cxn>
                  <a:cxn ang="0">
                    <a:pos x="378" y="37"/>
                  </a:cxn>
                  <a:cxn ang="0">
                    <a:pos x="353" y="47"/>
                  </a:cxn>
                  <a:cxn ang="0">
                    <a:pos x="323" y="54"/>
                  </a:cxn>
                  <a:cxn ang="0">
                    <a:pos x="251" y="64"/>
                  </a:cxn>
                  <a:cxn ang="0">
                    <a:pos x="211" y="66"/>
                  </a:cxn>
                  <a:cxn ang="0">
                    <a:pos x="133" y="61"/>
                  </a:cxn>
                  <a:cxn ang="0">
                    <a:pos x="84" y="51"/>
                  </a:cxn>
                  <a:cxn ang="0">
                    <a:pos x="56" y="41"/>
                  </a:cxn>
                  <a:cxn ang="0">
                    <a:pos x="33" y="31"/>
                  </a:cxn>
                  <a:cxn ang="0">
                    <a:pos x="15" y="19"/>
                  </a:cxn>
                  <a:cxn ang="0">
                    <a:pos x="4" y="7"/>
                  </a:cxn>
                  <a:cxn ang="0">
                    <a:pos x="1" y="0"/>
                  </a:cxn>
                  <a:cxn ang="0">
                    <a:pos x="0" y="63"/>
                  </a:cxn>
                  <a:cxn ang="0">
                    <a:pos x="1" y="70"/>
                  </a:cxn>
                  <a:cxn ang="0">
                    <a:pos x="10" y="85"/>
                  </a:cxn>
                  <a:cxn ang="0">
                    <a:pos x="25" y="98"/>
                  </a:cxn>
                  <a:cxn ang="0">
                    <a:pos x="48" y="109"/>
                  </a:cxn>
                  <a:cxn ang="0">
                    <a:pos x="77" y="120"/>
                  </a:cxn>
                  <a:cxn ang="0">
                    <a:pos x="110" y="128"/>
                  </a:cxn>
                  <a:cxn ang="0">
                    <a:pos x="148" y="134"/>
                  </a:cxn>
                  <a:cxn ang="0">
                    <a:pos x="189" y="136"/>
                  </a:cxn>
                  <a:cxn ang="0">
                    <a:pos x="211" y="136"/>
                  </a:cxn>
                  <a:cxn ang="0">
                    <a:pos x="253" y="135"/>
                  </a:cxn>
                  <a:cxn ang="0">
                    <a:pos x="293" y="130"/>
                  </a:cxn>
                  <a:cxn ang="0">
                    <a:pos x="328" y="124"/>
                  </a:cxn>
                  <a:cxn ang="0">
                    <a:pos x="360" y="115"/>
                  </a:cxn>
                  <a:cxn ang="0">
                    <a:pos x="386" y="104"/>
                  </a:cxn>
                  <a:cxn ang="0">
                    <a:pos x="405" y="92"/>
                  </a:cxn>
                  <a:cxn ang="0">
                    <a:pos x="417" y="78"/>
                  </a:cxn>
                  <a:cxn ang="0">
                    <a:pos x="422" y="63"/>
                  </a:cxn>
                  <a:cxn ang="0">
                    <a:pos x="48" y="103"/>
                  </a:cxn>
                  <a:cxn ang="0">
                    <a:pos x="32" y="94"/>
                  </a:cxn>
                  <a:cxn ang="0">
                    <a:pos x="19" y="31"/>
                  </a:cxn>
                  <a:cxn ang="0">
                    <a:pos x="32" y="39"/>
                  </a:cxn>
                  <a:cxn ang="0">
                    <a:pos x="48" y="103"/>
                  </a:cxn>
                  <a:cxn ang="0">
                    <a:pos x="90" y="116"/>
                  </a:cxn>
                  <a:cxn ang="0">
                    <a:pos x="61" y="107"/>
                  </a:cxn>
                  <a:cxn ang="0">
                    <a:pos x="61" y="53"/>
                  </a:cxn>
                  <a:cxn ang="0">
                    <a:pos x="90" y="61"/>
                  </a:cxn>
                  <a:cxn ang="0">
                    <a:pos x="131" y="124"/>
                  </a:cxn>
                  <a:cxn ang="0">
                    <a:pos x="102" y="119"/>
                  </a:cxn>
                  <a:cxn ang="0">
                    <a:pos x="102" y="64"/>
                  </a:cxn>
                  <a:cxn ang="0">
                    <a:pos x="131" y="124"/>
                  </a:cxn>
                  <a:cxn ang="0">
                    <a:pos x="385" y="97"/>
                  </a:cxn>
                  <a:cxn ang="0">
                    <a:pos x="356" y="108"/>
                  </a:cxn>
                  <a:cxn ang="0">
                    <a:pos x="356" y="54"/>
                  </a:cxn>
                  <a:cxn ang="0">
                    <a:pos x="385" y="43"/>
                  </a:cxn>
                </a:cxnLst>
                <a:rect l="0" t="0" r="r" b="b"/>
                <a:pathLst>
                  <a:path w="422" h="136">
                    <a:moveTo>
                      <a:pt x="422" y="8"/>
                    </a:moveTo>
                    <a:lnTo>
                      <a:pt x="422" y="8"/>
                    </a:lnTo>
                    <a:lnTo>
                      <a:pt x="421" y="0"/>
                    </a:lnTo>
                    <a:lnTo>
                      <a:pt x="421" y="0"/>
                    </a:lnTo>
                    <a:lnTo>
                      <a:pt x="417" y="7"/>
                    </a:lnTo>
                    <a:lnTo>
                      <a:pt x="413" y="14"/>
                    </a:lnTo>
                    <a:lnTo>
                      <a:pt x="407" y="19"/>
                    </a:lnTo>
                    <a:lnTo>
                      <a:pt x="399" y="25"/>
                    </a:lnTo>
                    <a:lnTo>
                      <a:pt x="390" y="31"/>
                    </a:lnTo>
                    <a:lnTo>
                      <a:pt x="378" y="37"/>
                    </a:lnTo>
                    <a:lnTo>
                      <a:pt x="366" y="41"/>
                    </a:lnTo>
                    <a:lnTo>
                      <a:pt x="353" y="47"/>
                    </a:lnTo>
                    <a:lnTo>
                      <a:pt x="338" y="51"/>
                    </a:lnTo>
                    <a:lnTo>
                      <a:pt x="323" y="54"/>
                    </a:lnTo>
                    <a:lnTo>
                      <a:pt x="288" y="61"/>
                    </a:lnTo>
                    <a:lnTo>
                      <a:pt x="251" y="64"/>
                    </a:lnTo>
                    <a:lnTo>
                      <a:pt x="211" y="66"/>
                    </a:lnTo>
                    <a:lnTo>
                      <a:pt x="211" y="66"/>
                    </a:lnTo>
                    <a:lnTo>
                      <a:pt x="170" y="64"/>
                    </a:lnTo>
                    <a:lnTo>
                      <a:pt x="133" y="61"/>
                    </a:lnTo>
                    <a:lnTo>
                      <a:pt x="99" y="54"/>
                    </a:lnTo>
                    <a:lnTo>
                      <a:pt x="84" y="51"/>
                    </a:lnTo>
                    <a:lnTo>
                      <a:pt x="69" y="47"/>
                    </a:lnTo>
                    <a:lnTo>
                      <a:pt x="56" y="41"/>
                    </a:lnTo>
                    <a:lnTo>
                      <a:pt x="43" y="37"/>
                    </a:lnTo>
                    <a:lnTo>
                      <a:pt x="33" y="31"/>
                    </a:lnTo>
                    <a:lnTo>
                      <a:pt x="23" y="25"/>
                    </a:lnTo>
                    <a:lnTo>
                      <a:pt x="15" y="19"/>
                    </a:lnTo>
                    <a:lnTo>
                      <a:pt x="9" y="14"/>
                    </a:lnTo>
                    <a:lnTo>
                      <a:pt x="4" y="7"/>
                    </a:lnTo>
                    <a:lnTo>
                      <a:pt x="1" y="0"/>
                    </a:lnTo>
                    <a:lnTo>
                      <a:pt x="1" y="0"/>
                    </a:lnTo>
                    <a:lnTo>
                      <a:pt x="0" y="8"/>
                    </a:lnTo>
                    <a:lnTo>
                      <a:pt x="0" y="63"/>
                    </a:lnTo>
                    <a:lnTo>
                      <a:pt x="0" y="63"/>
                    </a:lnTo>
                    <a:lnTo>
                      <a:pt x="1" y="70"/>
                    </a:lnTo>
                    <a:lnTo>
                      <a:pt x="4" y="78"/>
                    </a:lnTo>
                    <a:lnTo>
                      <a:pt x="10" y="85"/>
                    </a:lnTo>
                    <a:lnTo>
                      <a:pt x="17" y="92"/>
                    </a:lnTo>
                    <a:lnTo>
                      <a:pt x="25" y="98"/>
                    </a:lnTo>
                    <a:lnTo>
                      <a:pt x="36" y="104"/>
                    </a:lnTo>
                    <a:lnTo>
                      <a:pt x="48" y="109"/>
                    </a:lnTo>
                    <a:lnTo>
                      <a:pt x="62" y="115"/>
                    </a:lnTo>
                    <a:lnTo>
                      <a:pt x="77" y="120"/>
                    </a:lnTo>
                    <a:lnTo>
                      <a:pt x="93" y="124"/>
                    </a:lnTo>
                    <a:lnTo>
                      <a:pt x="110" y="128"/>
                    </a:lnTo>
                    <a:lnTo>
                      <a:pt x="129" y="130"/>
                    </a:lnTo>
                    <a:lnTo>
                      <a:pt x="148" y="134"/>
                    </a:lnTo>
                    <a:lnTo>
                      <a:pt x="168" y="135"/>
                    </a:lnTo>
                    <a:lnTo>
                      <a:pt x="189" y="136"/>
                    </a:lnTo>
                    <a:lnTo>
                      <a:pt x="211" y="136"/>
                    </a:lnTo>
                    <a:lnTo>
                      <a:pt x="211" y="136"/>
                    </a:lnTo>
                    <a:lnTo>
                      <a:pt x="233" y="136"/>
                    </a:lnTo>
                    <a:lnTo>
                      <a:pt x="253" y="135"/>
                    </a:lnTo>
                    <a:lnTo>
                      <a:pt x="273" y="134"/>
                    </a:lnTo>
                    <a:lnTo>
                      <a:pt x="293" y="130"/>
                    </a:lnTo>
                    <a:lnTo>
                      <a:pt x="311" y="128"/>
                    </a:lnTo>
                    <a:lnTo>
                      <a:pt x="328" y="124"/>
                    </a:lnTo>
                    <a:lnTo>
                      <a:pt x="345" y="120"/>
                    </a:lnTo>
                    <a:lnTo>
                      <a:pt x="360" y="115"/>
                    </a:lnTo>
                    <a:lnTo>
                      <a:pt x="373" y="109"/>
                    </a:lnTo>
                    <a:lnTo>
                      <a:pt x="386" y="104"/>
                    </a:lnTo>
                    <a:lnTo>
                      <a:pt x="396" y="98"/>
                    </a:lnTo>
                    <a:lnTo>
                      <a:pt x="405" y="92"/>
                    </a:lnTo>
                    <a:lnTo>
                      <a:pt x="413" y="85"/>
                    </a:lnTo>
                    <a:lnTo>
                      <a:pt x="417" y="78"/>
                    </a:lnTo>
                    <a:lnTo>
                      <a:pt x="421" y="70"/>
                    </a:lnTo>
                    <a:lnTo>
                      <a:pt x="422" y="63"/>
                    </a:lnTo>
                    <a:lnTo>
                      <a:pt x="422" y="8"/>
                    </a:lnTo>
                    <a:close/>
                    <a:moveTo>
                      <a:pt x="48" y="103"/>
                    </a:moveTo>
                    <a:lnTo>
                      <a:pt x="48" y="103"/>
                    </a:lnTo>
                    <a:lnTo>
                      <a:pt x="32" y="94"/>
                    </a:lnTo>
                    <a:lnTo>
                      <a:pt x="19" y="86"/>
                    </a:lnTo>
                    <a:lnTo>
                      <a:pt x="19" y="31"/>
                    </a:lnTo>
                    <a:lnTo>
                      <a:pt x="19" y="31"/>
                    </a:lnTo>
                    <a:lnTo>
                      <a:pt x="32" y="39"/>
                    </a:lnTo>
                    <a:lnTo>
                      <a:pt x="48" y="47"/>
                    </a:lnTo>
                    <a:lnTo>
                      <a:pt x="48" y="103"/>
                    </a:lnTo>
                    <a:close/>
                    <a:moveTo>
                      <a:pt x="90" y="116"/>
                    </a:moveTo>
                    <a:lnTo>
                      <a:pt x="90" y="116"/>
                    </a:lnTo>
                    <a:lnTo>
                      <a:pt x="75" y="112"/>
                    </a:lnTo>
                    <a:lnTo>
                      <a:pt x="61" y="107"/>
                    </a:lnTo>
                    <a:lnTo>
                      <a:pt x="61" y="53"/>
                    </a:lnTo>
                    <a:lnTo>
                      <a:pt x="61" y="53"/>
                    </a:lnTo>
                    <a:lnTo>
                      <a:pt x="75" y="58"/>
                    </a:lnTo>
                    <a:lnTo>
                      <a:pt x="90" y="61"/>
                    </a:lnTo>
                    <a:lnTo>
                      <a:pt x="90" y="116"/>
                    </a:lnTo>
                    <a:close/>
                    <a:moveTo>
                      <a:pt x="131" y="124"/>
                    </a:moveTo>
                    <a:lnTo>
                      <a:pt x="131" y="124"/>
                    </a:lnTo>
                    <a:lnTo>
                      <a:pt x="102" y="119"/>
                    </a:lnTo>
                    <a:lnTo>
                      <a:pt x="102" y="64"/>
                    </a:lnTo>
                    <a:lnTo>
                      <a:pt x="102" y="64"/>
                    </a:lnTo>
                    <a:lnTo>
                      <a:pt x="131" y="69"/>
                    </a:lnTo>
                    <a:lnTo>
                      <a:pt x="131" y="124"/>
                    </a:lnTo>
                    <a:close/>
                    <a:moveTo>
                      <a:pt x="385" y="97"/>
                    </a:moveTo>
                    <a:lnTo>
                      <a:pt x="385" y="97"/>
                    </a:lnTo>
                    <a:lnTo>
                      <a:pt x="371" y="103"/>
                    </a:lnTo>
                    <a:lnTo>
                      <a:pt x="356" y="108"/>
                    </a:lnTo>
                    <a:lnTo>
                      <a:pt x="356" y="54"/>
                    </a:lnTo>
                    <a:lnTo>
                      <a:pt x="356" y="54"/>
                    </a:lnTo>
                    <a:lnTo>
                      <a:pt x="371" y="48"/>
                    </a:lnTo>
                    <a:lnTo>
                      <a:pt x="385" y="43"/>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19" name="Freeform 64">
                <a:extLst>
                  <a:ext uri="{FF2B5EF4-FFF2-40B4-BE49-F238E27FC236}">
                    <a16:creationId xmlns:a16="http://schemas.microsoft.com/office/drawing/2014/main" id="{73E0BF75-E62F-C432-C761-46FC6AE3C0BC}"/>
                  </a:ext>
                </a:extLst>
              </p:cNvPr>
              <p:cNvSpPr>
                <a:spLocks noEditPoints="1"/>
              </p:cNvSpPr>
              <p:nvPr/>
            </p:nvSpPr>
            <p:spPr bwMode="auto">
              <a:xfrm>
                <a:off x="2184400" y="2733675"/>
                <a:ext cx="112713" cy="34925"/>
              </a:xfrm>
              <a:custGeom>
                <a:avLst/>
                <a:gdLst/>
                <a:ahLst/>
                <a:cxnLst>
                  <a:cxn ang="0">
                    <a:pos x="211" y="66"/>
                  </a:cxn>
                  <a:cxn ang="0">
                    <a:pos x="133" y="60"/>
                  </a:cxn>
                  <a:cxn ang="0">
                    <a:pos x="84" y="51"/>
                  </a:cxn>
                  <a:cxn ang="0">
                    <a:pos x="56" y="42"/>
                  </a:cxn>
                  <a:cxn ang="0">
                    <a:pos x="33" y="31"/>
                  </a:cxn>
                  <a:cxn ang="0">
                    <a:pos x="15" y="20"/>
                  </a:cxn>
                  <a:cxn ang="0">
                    <a:pos x="4" y="7"/>
                  </a:cxn>
                  <a:cxn ang="0">
                    <a:pos x="1" y="0"/>
                  </a:cxn>
                  <a:cxn ang="0">
                    <a:pos x="0" y="63"/>
                  </a:cxn>
                  <a:cxn ang="0">
                    <a:pos x="1" y="70"/>
                  </a:cxn>
                  <a:cxn ang="0">
                    <a:pos x="10" y="85"/>
                  </a:cxn>
                  <a:cxn ang="0">
                    <a:pos x="25" y="98"/>
                  </a:cxn>
                  <a:cxn ang="0">
                    <a:pos x="48" y="110"/>
                  </a:cxn>
                  <a:cxn ang="0">
                    <a:pos x="77" y="120"/>
                  </a:cxn>
                  <a:cxn ang="0">
                    <a:pos x="110" y="128"/>
                  </a:cxn>
                  <a:cxn ang="0">
                    <a:pos x="148" y="134"/>
                  </a:cxn>
                  <a:cxn ang="0">
                    <a:pos x="189" y="136"/>
                  </a:cxn>
                  <a:cxn ang="0">
                    <a:pos x="211" y="136"/>
                  </a:cxn>
                  <a:cxn ang="0">
                    <a:pos x="253" y="135"/>
                  </a:cxn>
                  <a:cxn ang="0">
                    <a:pos x="293" y="130"/>
                  </a:cxn>
                  <a:cxn ang="0">
                    <a:pos x="328" y="125"/>
                  </a:cxn>
                  <a:cxn ang="0">
                    <a:pos x="360" y="115"/>
                  </a:cxn>
                  <a:cxn ang="0">
                    <a:pos x="386" y="104"/>
                  </a:cxn>
                  <a:cxn ang="0">
                    <a:pos x="405" y="92"/>
                  </a:cxn>
                  <a:cxn ang="0">
                    <a:pos x="417" y="78"/>
                  </a:cxn>
                  <a:cxn ang="0">
                    <a:pos x="422" y="63"/>
                  </a:cxn>
                  <a:cxn ang="0">
                    <a:pos x="422" y="7"/>
                  </a:cxn>
                  <a:cxn ang="0">
                    <a:pos x="421" y="0"/>
                  </a:cxn>
                  <a:cxn ang="0">
                    <a:pos x="413" y="14"/>
                  </a:cxn>
                  <a:cxn ang="0">
                    <a:pos x="399" y="25"/>
                  </a:cxn>
                  <a:cxn ang="0">
                    <a:pos x="378" y="37"/>
                  </a:cxn>
                  <a:cxn ang="0">
                    <a:pos x="353" y="46"/>
                  </a:cxn>
                  <a:cxn ang="0">
                    <a:pos x="323" y="54"/>
                  </a:cxn>
                  <a:cxn ang="0">
                    <a:pos x="251" y="65"/>
                  </a:cxn>
                  <a:cxn ang="0">
                    <a:pos x="211" y="66"/>
                  </a:cxn>
                  <a:cxn ang="0">
                    <a:pos x="48" y="102"/>
                  </a:cxn>
                  <a:cxn ang="0">
                    <a:pos x="19" y="85"/>
                  </a:cxn>
                  <a:cxn ang="0">
                    <a:pos x="19" y="31"/>
                  </a:cxn>
                  <a:cxn ang="0">
                    <a:pos x="48" y="47"/>
                  </a:cxn>
                  <a:cxn ang="0">
                    <a:pos x="90" y="117"/>
                  </a:cxn>
                  <a:cxn ang="0">
                    <a:pos x="75" y="112"/>
                  </a:cxn>
                  <a:cxn ang="0">
                    <a:pos x="61" y="53"/>
                  </a:cxn>
                  <a:cxn ang="0">
                    <a:pos x="75" y="58"/>
                  </a:cxn>
                  <a:cxn ang="0">
                    <a:pos x="90" y="117"/>
                  </a:cxn>
                  <a:cxn ang="0">
                    <a:pos x="131" y="125"/>
                  </a:cxn>
                  <a:cxn ang="0">
                    <a:pos x="102" y="65"/>
                  </a:cxn>
                  <a:cxn ang="0">
                    <a:pos x="131" y="69"/>
                  </a:cxn>
                  <a:cxn ang="0">
                    <a:pos x="385" y="97"/>
                  </a:cxn>
                  <a:cxn ang="0">
                    <a:pos x="371" y="103"/>
                  </a:cxn>
                  <a:cxn ang="0">
                    <a:pos x="356" y="54"/>
                  </a:cxn>
                  <a:cxn ang="0">
                    <a:pos x="371" y="48"/>
                  </a:cxn>
                  <a:cxn ang="0">
                    <a:pos x="385" y="97"/>
                  </a:cxn>
                </a:cxnLst>
                <a:rect l="0" t="0" r="r" b="b"/>
                <a:pathLst>
                  <a:path w="422" h="136">
                    <a:moveTo>
                      <a:pt x="211" y="66"/>
                    </a:moveTo>
                    <a:lnTo>
                      <a:pt x="211" y="66"/>
                    </a:lnTo>
                    <a:lnTo>
                      <a:pt x="170" y="65"/>
                    </a:lnTo>
                    <a:lnTo>
                      <a:pt x="133" y="60"/>
                    </a:lnTo>
                    <a:lnTo>
                      <a:pt x="99" y="54"/>
                    </a:lnTo>
                    <a:lnTo>
                      <a:pt x="84" y="51"/>
                    </a:lnTo>
                    <a:lnTo>
                      <a:pt x="69" y="46"/>
                    </a:lnTo>
                    <a:lnTo>
                      <a:pt x="56" y="42"/>
                    </a:lnTo>
                    <a:lnTo>
                      <a:pt x="43" y="37"/>
                    </a:lnTo>
                    <a:lnTo>
                      <a:pt x="33" y="31"/>
                    </a:lnTo>
                    <a:lnTo>
                      <a:pt x="23" y="25"/>
                    </a:lnTo>
                    <a:lnTo>
                      <a:pt x="15" y="20"/>
                    </a:lnTo>
                    <a:lnTo>
                      <a:pt x="9" y="14"/>
                    </a:lnTo>
                    <a:lnTo>
                      <a:pt x="4" y="7"/>
                    </a:lnTo>
                    <a:lnTo>
                      <a:pt x="1" y="0"/>
                    </a:lnTo>
                    <a:lnTo>
                      <a:pt x="1" y="0"/>
                    </a:lnTo>
                    <a:lnTo>
                      <a:pt x="0" y="7"/>
                    </a:lnTo>
                    <a:lnTo>
                      <a:pt x="0" y="63"/>
                    </a:lnTo>
                    <a:lnTo>
                      <a:pt x="0" y="63"/>
                    </a:lnTo>
                    <a:lnTo>
                      <a:pt x="1" y="70"/>
                    </a:lnTo>
                    <a:lnTo>
                      <a:pt x="4" y="78"/>
                    </a:lnTo>
                    <a:lnTo>
                      <a:pt x="10" y="85"/>
                    </a:lnTo>
                    <a:lnTo>
                      <a:pt x="17" y="92"/>
                    </a:lnTo>
                    <a:lnTo>
                      <a:pt x="25" y="98"/>
                    </a:lnTo>
                    <a:lnTo>
                      <a:pt x="36" y="104"/>
                    </a:lnTo>
                    <a:lnTo>
                      <a:pt x="48" y="110"/>
                    </a:lnTo>
                    <a:lnTo>
                      <a:pt x="62" y="115"/>
                    </a:lnTo>
                    <a:lnTo>
                      <a:pt x="77" y="120"/>
                    </a:lnTo>
                    <a:lnTo>
                      <a:pt x="93" y="125"/>
                    </a:lnTo>
                    <a:lnTo>
                      <a:pt x="110" y="128"/>
                    </a:lnTo>
                    <a:lnTo>
                      <a:pt x="129" y="130"/>
                    </a:lnTo>
                    <a:lnTo>
                      <a:pt x="148" y="134"/>
                    </a:lnTo>
                    <a:lnTo>
                      <a:pt x="168" y="135"/>
                    </a:lnTo>
                    <a:lnTo>
                      <a:pt x="189" y="136"/>
                    </a:lnTo>
                    <a:lnTo>
                      <a:pt x="211" y="136"/>
                    </a:lnTo>
                    <a:lnTo>
                      <a:pt x="211" y="136"/>
                    </a:lnTo>
                    <a:lnTo>
                      <a:pt x="233" y="136"/>
                    </a:lnTo>
                    <a:lnTo>
                      <a:pt x="253" y="135"/>
                    </a:lnTo>
                    <a:lnTo>
                      <a:pt x="273" y="134"/>
                    </a:lnTo>
                    <a:lnTo>
                      <a:pt x="293" y="130"/>
                    </a:lnTo>
                    <a:lnTo>
                      <a:pt x="311" y="128"/>
                    </a:lnTo>
                    <a:lnTo>
                      <a:pt x="328" y="125"/>
                    </a:lnTo>
                    <a:lnTo>
                      <a:pt x="345" y="120"/>
                    </a:lnTo>
                    <a:lnTo>
                      <a:pt x="360" y="115"/>
                    </a:lnTo>
                    <a:lnTo>
                      <a:pt x="373" y="110"/>
                    </a:lnTo>
                    <a:lnTo>
                      <a:pt x="386" y="104"/>
                    </a:lnTo>
                    <a:lnTo>
                      <a:pt x="396" y="98"/>
                    </a:lnTo>
                    <a:lnTo>
                      <a:pt x="405" y="92"/>
                    </a:lnTo>
                    <a:lnTo>
                      <a:pt x="413" y="85"/>
                    </a:lnTo>
                    <a:lnTo>
                      <a:pt x="417" y="78"/>
                    </a:lnTo>
                    <a:lnTo>
                      <a:pt x="421" y="70"/>
                    </a:lnTo>
                    <a:lnTo>
                      <a:pt x="422" y="63"/>
                    </a:lnTo>
                    <a:lnTo>
                      <a:pt x="422" y="7"/>
                    </a:lnTo>
                    <a:lnTo>
                      <a:pt x="422" y="7"/>
                    </a:lnTo>
                    <a:lnTo>
                      <a:pt x="421" y="0"/>
                    </a:lnTo>
                    <a:lnTo>
                      <a:pt x="421" y="0"/>
                    </a:lnTo>
                    <a:lnTo>
                      <a:pt x="417" y="7"/>
                    </a:lnTo>
                    <a:lnTo>
                      <a:pt x="413" y="14"/>
                    </a:lnTo>
                    <a:lnTo>
                      <a:pt x="407" y="20"/>
                    </a:lnTo>
                    <a:lnTo>
                      <a:pt x="399" y="25"/>
                    </a:lnTo>
                    <a:lnTo>
                      <a:pt x="390" y="31"/>
                    </a:lnTo>
                    <a:lnTo>
                      <a:pt x="378" y="37"/>
                    </a:lnTo>
                    <a:lnTo>
                      <a:pt x="366" y="42"/>
                    </a:lnTo>
                    <a:lnTo>
                      <a:pt x="353" y="46"/>
                    </a:lnTo>
                    <a:lnTo>
                      <a:pt x="338" y="51"/>
                    </a:lnTo>
                    <a:lnTo>
                      <a:pt x="323" y="54"/>
                    </a:lnTo>
                    <a:lnTo>
                      <a:pt x="288" y="60"/>
                    </a:lnTo>
                    <a:lnTo>
                      <a:pt x="251" y="65"/>
                    </a:lnTo>
                    <a:lnTo>
                      <a:pt x="211" y="66"/>
                    </a:lnTo>
                    <a:lnTo>
                      <a:pt x="211" y="66"/>
                    </a:lnTo>
                    <a:close/>
                    <a:moveTo>
                      <a:pt x="48" y="102"/>
                    </a:moveTo>
                    <a:lnTo>
                      <a:pt x="48" y="102"/>
                    </a:lnTo>
                    <a:lnTo>
                      <a:pt x="32" y="95"/>
                    </a:lnTo>
                    <a:lnTo>
                      <a:pt x="19" y="85"/>
                    </a:lnTo>
                    <a:lnTo>
                      <a:pt x="19" y="31"/>
                    </a:lnTo>
                    <a:lnTo>
                      <a:pt x="19" y="31"/>
                    </a:lnTo>
                    <a:lnTo>
                      <a:pt x="32" y="39"/>
                    </a:lnTo>
                    <a:lnTo>
                      <a:pt x="48" y="47"/>
                    </a:lnTo>
                    <a:lnTo>
                      <a:pt x="48" y="102"/>
                    </a:lnTo>
                    <a:close/>
                    <a:moveTo>
                      <a:pt x="90" y="117"/>
                    </a:moveTo>
                    <a:lnTo>
                      <a:pt x="90" y="117"/>
                    </a:lnTo>
                    <a:lnTo>
                      <a:pt x="75" y="112"/>
                    </a:lnTo>
                    <a:lnTo>
                      <a:pt x="61" y="107"/>
                    </a:lnTo>
                    <a:lnTo>
                      <a:pt x="61" y="53"/>
                    </a:lnTo>
                    <a:lnTo>
                      <a:pt x="61" y="53"/>
                    </a:lnTo>
                    <a:lnTo>
                      <a:pt x="75" y="58"/>
                    </a:lnTo>
                    <a:lnTo>
                      <a:pt x="90" y="61"/>
                    </a:lnTo>
                    <a:lnTo>
                      <a:pt x="90" y="117"/>
                    </a:lnTo>
                    <a:close/>
                    <a:moveTo>
                      <a:pt x="131" y="125"/>
                    </a:moveTo>
                    <a:lnTo>
                      <a:pt x="131" y="125"/>
                    </a:lnTo>
                    <a:lnTo>
                      <a:pt x="102" y="119"/>
                    </a:lnTo>
                    <a:lnTo>
                      <a:pt x="102" y="65"/>
                    </a:lnTo>
                    <a:lnTo>
                      <a:pt x="102" y="65"/>
                    </a:lnTo>
                    <a:lnTo>
                      <a:pt x="131" y="69"/>
                    </a:lnTo>
                    <a:lnTo>
                      <a:pt x="131" y="125"/>
                    </a:lnTo>
                    <a:close/>
                    <a:moveTo>
                      <a:pt x="385" y="97"/>
                    </a:moveTo>
                    <a:lnTo>
                      <a:pt x="385" y="97"/>
                    </a:lnTo>
                    <a:lnTo>
                      <a:pt x="371" y="103"/>
                    </a:lnTo>
                    <a:lnTo>
                      <a:pt x="356" y="108"/>
                    </a:lnTo>
                    <a:lnTo>
                      <a:pt x="356" y="54"/>
                    </a:lnTo>
                    <a:lnTo>
                      <a:pt x="356" y="54"/>
                    </a:lnTo>
                    <a:lnTo>
                      <a:pt x="371" y="48"/>
                    </a:lnTo>
                    <a:lnTo>
                      <a:pt x="385" y="43"/>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0" name="Freeform 65">
                <a:extLst>
                  <a:ext uri="{FF2B5EF4-FFF2-40B4-BE49-F238E27FC236}">
                    <a16:creationId xmlns:a16="http://schemas.microsoft.com/office/drawing/2014/main" id="{6E32B8FB-0FC8-2A28-762B-C2161E5BF05D}"/>
                  </a:ext>
                </a:extLst>
              </p:cNvPr>
              <p:cNvSpPr>
                <a:spLocks noEditPoints="1"/>
              </p:cNvSpPr>
              <p:nvPr/>
            </p:nvSpPr>
            <p:spPr bwMode="auto">
              <a:xfrm>
                <a:off x="2335213" y="2522538"/>
                <a:ext cx="111125" cy="53975"/>
              </a:xfrm>
              <a:custGeom>
                <a:avLst/>
                <a:gdLst/>
                <a:ahLst/>
                <a:cxnLst>
                  <a:cxn ang="0">
                    <a:pos x="190" y="1"/>
                  </a:cxn>
                  <a:cxn ang="0">
                    <a:pos x="130" y="6"/>
                  </a:cxn>
                  <a:cxn ang="0">
                    <a:pos x="77" y="17"/>
                  </a:cxn>
                  <a:cxn ang="0">
                    <a:pos x="36" y="32"/>
                  </a:cxn>
                  <a:cxn ang="0">
                    <a:pos x="10" y="52"/>
                  </a:cxn>
                  <a:cxn ang="0">
                    <a:pos x="0" y="74"/>
                  </a:cxn>
                  <a:cxn ang="0">
                    <a:pos x="2" y="137"/>
                  </a:cxn>
                  <a:cxn ang="0">
                    <a:pos x="17" y="158"/>
                  </a:cxn>
                  <a:cxn ang="0">
                    <a:pos x="49" y="176"/>
                  </a:cxn>
                  <a:cxn ang="0">
                    <a:pos x="94" y="190"/>
                  </a:cxn>
                  <a:cxn ang="0">
                    <a:pos x="148" y="199"/>
                  </a:cxn>
                  <a:cxn ang="0">
                    <a:pos x="212" y="203"/>
                  </a:cxn>
                  <a:cxn ang="0">
                    <a:pos x="254" y="201"/>
                  </a:cxn>
                  <a:cxn ang="0">
                    <a:pos x="312" y="194"/>
                  </a:cxn>
                  <a:cxn ang="0">
                    <a:pos x="360" y="181"/>
                  </a:cxn>
                  <a:cxn ang="0">
                    <a:pos x="396" y="164"/>
                  </a:cxn>
                  <a:cxn ang="0">
                    <a:pos x="418" y="144"/>
                  </a:cxn>
                  <a:cxn ang="0">
                    <a:pos x="421" y="74"/>
                  </a:cxn>
                  <a:cxn ang="0">
                    <a:pos x="418" y="59"/>
                  </a:cxn>
                  <a:cxn ang="0">
                    <a:pos x="396" y="38"/>
                  </a:cxn>
                  <a:cxn ang="0">
                    <a:pos x="360" y="22"/>
                  </a:cxn>
                  <a:cxn ang="0">
                    <a:pos x="312" y="9"/>
                  </a:cxn>
                  <a:cxn ang="0">
                    <a:pos x="254" y="2"/>
                  </a:cxn>
                  <a:cxn ang="0">
                    <a:pos x="212" y="0"/>
                  </a:cxn>
                  <a:cxn ang="0">
                    <a:pos x="33" y="160"/>
                  </a:cxn>
                  <a:cxn ang="0">
                    <a:pos x="20" y="97"/>
                  </a:cxn>
                  <a:cxn ang="0">
                    <a:pos x="48" y="168"/>
                  </a:cxn>
                  <a:cxn ang="0">
                    <a:pos x="75" y="178"/>
                  </a:cxn>
                  <a:cxn ang="0">
                    <a:pos x="62" y="119"/>
                  </a:cxn>
                  <a:cxn ang="0">
                    <a:pos x="89" y="182"/>
                  </a:cxn>
                  <a:cxn ang="0">
                    <a:pos x="103" y="184"/>
                  </a:cxn>
                  <a:cxn ang="0">
                    <a:pos x="131" y="136"/>
                  </a:cxn>
                  <a:cxn ang="0">
                    <a:pos x="385" y="163"/>
                  </a:cxn>
                  <a:cxn ang="0">
                    <a:pos x="357" y="120"/>
                  </a:cxn>
                  <a:cxn ang="0">
                    <a:pos x="385" y="108"/>
                  </a:cxn>
                  <a:cxn ang="0">
                    <a:pos x="355" y="109"/>
                  </a:cxn>
                  <a:cxn ang="0">
                    <a:pos x="307" y="121"/>
                  </a:cxn>
                  <a:cxn ang="0">
                    <a:pos x="251" y="128"/>
                  </a:cxn>
                  <a:cxn ang="0">
                    <a:pos x="171" y="128"/>
                  </a:cxn>
                  <a:cxn ang="0">
                    <a:pos x="116" y="121"/>
                  </a:cxn>
                  <a:cxn ang="0">
                    <a:pos x="67" y="109"/>
                  </a:cxn>
                  <a:cxn ang="0">
                    <a:pos x="45" y="99"/>
                  </a:cxn>
                  <a:cxn ang="0">
                    <a:pos x="25" y="85"/>
                  </a:cxn>
                  <a:cxn ang="0">
                    <a:pos x="18" y="74"/>
                  </a:cxn>
                  <a:cxn ang="0">
                    <a:pos x="20" y="66"/>
                  </a:cxn>
                  <a:cxn ang="0">
                    <a:pos x="36" y="52"/>
                  </a:cxn>
                  <a:cxn ang="0">
                    <a:pos x="67" y="38"/>
                  </a:cxn>
                  <a:cxn ang="0">
                    <a:pos x="98" y="29"/>
                  </a:cxn>
                  <a:cxn ang="0">
                    <a:pos x="152" y="21"/>
                  </a:cxn>
                  <a:cxn ang="0">
                    <a:pos x="212" y="17"/>
                  </a:cxn>
                  <a:cxn ang="0">
                    <a:pos x="289" y="23"/>
                  </a:cxn>
                  <a:cxn ang="0">
                    <a:pos x="340" y="33"/>
                  </a:cxn>
                  <a:cxn ang="0">
                    <a:pos x="367" y="43"/>
                  </a:cxn>
                  <a:cxn ang="0">
                    <a:pos x="393" y="56"/>
                  </a:cxn>
                  <a:cxn ang="0">
                    <a:pos x="404" y="70"/>
                  </a:cxn>
                  <a:cxn ang="0">
                    <a:pos x="404" y="77"/>
                  </a:cxn>
                  <a:cxn ang="0">
                    <a:pos x="393" y="90"/>
                  </a:cxn>
                  <a:cxn ang="0">
                    <a:pos x="367" y="105"/>
                  </a:cxn>
                </a:cxnLst>
                <a:rect l="0" t="0" r="r" b="b"/>
                <a:pathLst>
                  <a:path w="421" h="203">
                    <a:moveTo>
                      <a:pt x="212" y="0"/>
                    </a:moveTo>
                    <a:lnTo>
                      <a:pt x="212" y="0"/>
                    </a:lnTo>
                    <a:lnTo>
                      <a:pt x="190" y="1"/>
                    </a:lnTo>
                    <a:lnTo>
                      <a:pt x="169" y="2"/>
                    </a:lnTo>
                    <a:lnTo>
                      <a:pt x="148" y="3"/>
                    </a:lnTo>
                    <a:lnTo>
                      <a:pt x="130" y="6"/>
                    </a:lnTo>
                    <a:lnTo>
                      <a:pt x="111" y="9"/>
                    </a:lnTo>
                    <a:lnTo>
                      <a:pt x="94" y="13"/>
                    </a:lnTo>
                    <a:lnTo>
                      <a:pt x="77" y="17"/>
                    </a:lnTo>
                    <a:lnTo>
                      <a:pt x="62" y="22"/>
                    </a:lnTo>
                    <a:lnTo>
                      <a:pt x="49" y="26"/>
                    </a:lnTo>
                    <a:lnTo>
                      <a:pt x="36" y="32"/>
                    </a:lnTo>
                    <a:lnTo>
                      <a:pt x="26" y="38"/>
                    </a:lnTo>
                    <a:lnTo>
                      <a:pt x="17" y="45"/>
                    </a:lnTo>
                    <a:lnTo>
                      <a:pt x="10" y="52"/>
                    </a:lnTo>
                    <a:lnTo>
                      <a:pt x="5" y="59"/>
                    </a:lnTo>
                    <a:lnTo>
                      <a:pt x="2" y="66"/>
                    </a:lnTo>
                    <a:lnTo>
                      <a:pt x="0" y="74"/>
                    </a:lnTo>
                    <a:lnTo>
                      <a:pt x="0" y="129"/>
                    </a:lnTo>
                    <a:lnTo>
                      <a:pt x="0" y="129"/>
                    </a:lnTo>
                    <a:lnTo>
                      <a:pt x="2" y="137"/>
                    </a:lnTo>
                    <a:lnTo>
                      <a:pt x="5" y="144"/>
                    </a:lnTo>
                    <a:lnTo>
                      <a:pt x="10" y="151"/>
                    </a:lnTo>
                    <a:lnTo>
                      <a:pt x="17" y="158"/>
                    </a:lnTo>
                    <a:lnTo>
                      <a:pt x="26" y="164"/>
                    </a:lnTo>
                    <a:lnTo>
                      <a:pt x="36" y="171"/>
                    </a:lnTo>
                    <a:lnTo>
                      <a:pt x="49" y="176"/>
                    </a:lnTo>
                    <a:lnTo>
                      <a:pt x="62" y="181"/>
                    </a:lnTo>
                    <a:lnTo>
                      <a:pt x="77" y="186"/>
                    </a:lnTo>
                    <a:lnTo>
                      <a:pt x="94" y="190"/>
                    </a:lnTo>
                    <a:lnTo>
                      <a:pt x="111" y="194"/>
                    </a:lnTo>
                    <a:lnTo>
                      <a:pt x="130" y="197"/>
                    </a:lnTo>
                    <a:lnTo>
                      <a:pt x="148" y="199"/>
                    </a:lnTo>
                    <a:lnTo>
                      <a:pt x="169" y="201"/>
                    </a:lnTo>
                    <a:lnTo>
                      <a:pt x="190" y="202"/>
                    </a:lnTo>
                    <a:lnTo>
                      <a:pt x="212" y="203"/>
                    </a:lnTo>
                    <a:lnTo>
                      <a:pt x="212" y="203"/>
                    </a:lnTo>
                    <a:lnTo>
                      <a:pt x="232" y="202"/>
                    </a:lnTo>
                    <a:lnTo>
                      <a:pt x="254" y="201"/>
                    </a:lnTo>
                    <a:lnTo>
                      <a:pt x="274" y="199"/>
                    </a:lnTo>
                    <a:lnTo>
                      <a:pt x="293" y="197"/>
                    </a:lnTo>
                    <a:lnTo>
                      <a:pt x="312" y="194"/>
                    </a:lnTo>
                    <a:lnTo>
                      <a:pt x="329" y="190"/>
                    </a:lnTo>
                    <a:lnTo>
                      <a:pt x="345" y="186"/>
                    </a:lnTo>
                    <a:lnTo>
                      <a:pt x="360" y="181"/>
                    </a:lnTo>
                    <a:lnTo>
                      <a:pt x="374" y="176"/>
                    </a:lnTo>
                    <a:lnTo>
                      <a:pt x="386" y="171"/>
                    </a:lnTo>
                    <a:lnTo>
                      <a:pt x="396" y="164"/>
                    </a:lnTo>
                    <a:lnTo>
                      <a:pt x="405" y="158"/>
                    </a:lnTo>
                    <a:lnTo>
                      <a:pt x="412" y="151"/>
                    </a:lnTo>
                    <a:lnTo>
                      <a:pt x="418" y="144"/>
                    </a:lnTo>
                    <a:lnTo>
                      <a:pt x="421" y="137"/>
                    </a:lnTo>
                    <a:lnTo>
                      <a:pt x="421" y="129"/>
                    </a:lnTo>
                    <a:lnTo>
                      <a:pt x="421" y="74"/>
                    </a:lnTo>
                    <a:lnTo>
                      <a:pt x="421" y="74"/>
                    </a:lnTo>
                    <a:lnTo>
                      <a:pt x="421" y="66"/>
                    </a:lnTo>
                    <a:lnTo>
                      <a:pt x="418" y="59"/>
                    </a:lnTo>
                    <a:lnTo>
                      <a:pt x="412" y="52"/>
                    </a:lnTo>
                    <a:lnTo>
                      <a:pt x="405" y="45"/>
                    </a:lnTo>
                    <a:lnTo>
                      <a:pt x="396" y="38"/>
                    </a:lnTo>
                    <a:lnTo>
                      <a:pt x="386" y="32"/>
                    </a:lnTo>
                    <a:lnTo>
                      <a:pt x="374" y="26"/>
                    </a:lnTo>
                    <a:lnTo>
                      <a:pt x="360" y="22"/>
                    </a:lnTo>
                    <a:lnTo>
                      <a:pt x="345" y="17"/>
                    </a:lnTo>
                    <a:lnTo>
                      <a:pt x="329" y="13"/>
                    </a:lnTo>
                    <a:lnTo>
                      <a:pt x="312" y="9"/>
                    </a:lnTo>
                    <a:lnTo>
                      <a:pt x="293" y="6"/>
                    </a:lnTo>
                    <a:lnTo>
                      <a:pt x="274" y="3"/>
                    </a:lnTo>
                    <a:lnTo>
                      <a:pt x="254" y="2"/>
                    </a:lnTo>
                    <a:lnTo>
                      <a:pt x="232" y="1"/>
                    </a:lnTo>
                    <a:lnTo>
                      <a:pt x="212" y="0"/>
                    </a:lnTo>
                    <a:lnTo>
                      <a:pt x="212" y="0"/>
                    </a:lnTo>
                    <a:close/>
                    <a:moveTo>
                      <a:pt x="48" y="168"/>
                    </a:moveTo>
                    <a:lnTo>
                      <a:pt x="48" y="168"/>
                    </a:lnTo>
                    <a:lnTo>
                      <a:pt x="33" y="160"/>
                    </a:lnTo>
                    <a:lnTo>
                      <a:pt x="20" y="152"/>
                    </a:lnTo>
                    <a:lnTo>
                      <a:pt x="20" y="97"/>
                    </a:lnTo>
                    <a:lnTo>
                      <a:pt x="20" y="97"/>
                    </a:lnTo>
                    <a:lnTo>
                      <a:pt x="33" y="106"/>
                    </a:lnTo>
                    <a:lnTo>
                      <a:pt x="48" y="113"/>
                    </a:lnTo>
                    <a:lnTo>
                      <a:pt x="48" y="168"/>
                    </a:lnTo>
                    <a:close/>
                    <a:moveTo>
                      <a:pt x="89" y="182"/>
                    </a:moveTo>
                    <a:lnTo>
                      <a:pt x="89" y="182"/>
                    </a:lnTo>
                    <a:lnTo>
                      <a:pt x="75" y="178"/>
                    </a:lnTo>
                    <a:lnTo>
                      <a:pt x="62" y="173"/>
                    </a:lnTo>
                    <a:lnTo>
                      <a:pt x="62" y="119"/>
                    </a:lnTo>
                    <a:lnTo>
                      <a:pt x="62" y="119"/>
                    </a:lnTo>
                    <a:lnTo>
                      <a:pt x="75" y="123"/>
                    </a:lnTo>
                    <a:lnTo>
                      <a:pt x="89" y="127"/>
                    </a:lnTo>
                    <a:lnTo>
                      <a:pt x="89" y="182"/>
                    </a:lnTo>
                    <a:close/>
                    <a:moveTo>
                      <a:pt x="131" y="190"/>
                    </a:moveTo>
                    <a:lnTo>
                      <a:pt x="131" y="190"/>
                    </a:lnTo>
                    <a:lnTo>
                      <a:pt x="103" y="184"/>
                    </a:lnTo>
                    <a:lnTo>
                      <a:pt x="103" y="130"/>
                    </a:lnTo>
                    <a:lnTo>
                      <a:pt x="103" y="130"/>
                    </a:lnTo>
                    <a:lnTo>
                      <a:pt x="131" y="136"/>
                    </a:lnTo>
                    <a:lnTo>
                      <a:pt x="131" y="190"/>
                    </a:lnTo>
                    <a:close/>
                    <a:moveTo>
                      <a:pt x="385" y="163"/>
                    </a:moveTo>
                    <a:lnTo>
                      <a:pt x="385" y="163"/>
                    </a:lnTo>
                    <a:lnTo>
                      <a:pt x="372" y="169"/>
                    </a:lnTo>
                    <a:lnTo>
                      <a:pt x="357" y="175"/>
                    </a:lnTo>
                    <a:lnTo>
                      <a:pt x="357" y="120"/>
                    </a:lnTo>
                    <a:lnTo>
                      <a:pt x="357" y="120"/>
                    </a:lnTo>
                    <a:lnTo>
                      <a:pt x="372" y="114"/>
                    </a:lnTo>
                    <a:lnTo>
                      <a:pt x="385" y="108"/>
                    </a:lnTo>
                    <a:lnTo>
                      <a:pt x="385" y="163"/>
                    </a:lnTo>
                    <a:close/>
                    <a:moveTo>
                      <a:pt x="355" y="109"/>
                    </a:moveTo>
                    <a:lnTo>
                      <a:pt x="355" y="109"/>
                    </a:lnTo>
                    <a:lnTo>
                      <a:pt x="340" y="114"/>
                    </a:lnTo>
                    <a:lnTo>
                      <a:pt x="323" y="118"/>
                    </a:lnTo>
                    <a:lnTo>
                      <a:pt x="307" y="121"/>
                    </a:lnTo>
                    <a:lnTo>
                      <a:pt x="289" y="124"/>
                    </a:lnTo>
                    <a:lnTo>
                      <a:pt x="270" y="127"/>
                    </a:lnTo>
                    <a:lnTo>
                      <a:pt x="251" y="128"/>
                    </a:lnTo>
                    <a:lnTo>
                      <a:pt x="212" y="129"/>
                    </a:lnTo>
                    <a:lnTo>
                      <a:pt x="212" y="129"/>
                    </a:lnTo>
                    <a:lnTo>
                      <a:pt x="171" y="128"/>
                    </a:lnTo>
                    <a:lnTo>
                      <a:pt x="152" y="127"/>
                    </a:lnTo>
                    <a:lnTo>
                      <a:pt x="133" y="124"/>
                    </a:lnTo>
                    <a:lnTo>
                      <a:pt x="116" y="121"/>
                    </a:lnTo>
                    <a:lnTo>
                      <a:pt x="98" y="118"/>
                    </a:lnTo>
                    <a:lnTo>
                      <a:pt x="82" y="114"/>
                    </a:lnTo>
                    <a:lnTo>
                      <a:pt x="67" y="109"/>
                    </a:lnTo>
                    <a:lnTo>
                      <a:pt x="67" y="109"/>
                    </a:lnTo>
                    <a:lnTo>
                      <a:pt x="56" y="105"/>
                    </a:lnTo>
                    <a:lnTo>
                      <a:pt x="45" y="99"/>
                    </a:lnTo>
                    <a:lnTo>
                      <a:pt x="36" y="94"/>
                    </a:lnTo>
                    <a:lnTo>
                      <a:pt x="29" y="90"/>
                    </a:lnTo>
                    <a:lnTo>
                      <a:pt x="25" y="85"/>
                    </a:lnTo>
                    <a:lnTo>
                      <a:pt x="20" y="81"/>
                    </a:lnTo>
                    <a:lnTo>
                      <a:pt x="19" y="77"/>
                    </a:lnTo>
                    <a:lnTo>
                      <a:pt x="18" y="74"/>
                    </a:lnTo>
                    <a:lnTo>
                      <a:pt x="18" y="74"/>
                    </a:lnTo>
                    <a:lnTo>
                      <a:pt x="19" y="70"/>
                    </a:lnTo>
                    <a:lnTo>
                      <a:pt x="20" y="66"/>
                    </a:lnTo>
                    <a:lnTo>
                      <a:pt x="25" y="61"/>
                    </a:lnTo>
                    <a:lnTo>
                      <a:pt x="29" y="56"/>
                    </a:lnTo>
                    <a:lnTo>
                      <a:pt x="36" y="52"/>
                    </a:lnTo>
                    <a:lnTo>
                      <a:pt x="45" y="47"/>
                    </a:lnTo>
                    <a:lnTo>
                      <a:pt x="56" y="43"/>
                    </a:lnTo>
                    <a:lnTo>
                      <a:pt x="67" y="38"/>
                    </a:lnTo>
                    <a:lnTo>
                      <a:pt x="67" y="38"/>
                    </a:lnTo>
                    <a:lnTo>
                      <a:pt x="82" y="33"/>
                    </a:lnTo>
                    <a:lnTo>
                      <a:pt x="98" y="29"/>
                    </a:lnTo>
                    <a:lnTo>
                      <a:pt x="116" y="25"/>
                    </a:lnTo>
                    <a:lnTo>
                      <a:pt x="133" y="23"/>
                    </a:lnTo>
                    <a:lnTo>
                      <a:pt x="152" y="21"/>
                    </a:lnTo>
                    <a:lnTo>
                      <a:pt x="171" y="18"/>
                    </a:lnTo>
                    <a:lnTo>
                      <a:pt x="212" y="17"/>
                    </a:lnTo>
                    <a:lnTo>
                      <a:pt x="212" y="17"/>
                    </a:lnTo>
                    <a:lnTo>
                      <a:pt x="251" y="18"/>
                    </a:lnTo>
                    <a:lnTo>
                      <a:pt x="270" y="21"/>
                    </a:lnTo>
                    <a:lnTo>
                      <a:pt x="289" y="23"/>
                    </a:lnTo>
                    <a:lnTo>
                      <a:pt x="307" y="25"/>
                    </a:lnTo>
                    <a:lnTo>
                      <a:pt x="323" y="29"/>
                    </a:lnTo>
                    <a:lnTo>
                      <a:pt x="340" y="33"/>
                    </a:lnTo>
                    <a:lnTo>
                      <a:pt x="355" y="38"/>
                    </a:lnTo>
                    <a:lnTo>
                      <a:pt x="355" y="38"/>
                    </a:lnTo>
                    <a:lnTo>
                      <a:pt x="367" y="43"/>
                    </a:lnTo>
                    <a:lnTo>
                      <a:pt x="378" y="47"/>
                    </a:lnTo>
                    <a:lnTo>
                      <a:pt x="386" y="52"/>
                    </a:lnTo>
                    <a:lnTo>
                      <a:pt x="393" y="56"/>
                    </a:lnTo>
                    <a:lnTo>
                      <a:pt x="398" y="61"/>
                    </a:lnTo>
                    <a:lnTo>
                      <a:pt x="402" y="66"/>
                    </a:lnTo>
                    <a:lnTo>
                      <a:pt x="404" y="70"/>
                    </a:lnTo>
                    <a:lnTo>
                      <a:pt x="405" y="74"/>
                    </a:lnTo>
                    <a:lnTo>
                      <a:pt x="405" y="74"/>
                    </a:lnTo>
                    <a:lnTo>
                      <a:pt x="404" y="77"/>
                    </a:lnTo>
                    <a:lnTo>
                      <a:pt x="402" y="81"/>
                    </a:lnTo>
                    <a:lnTo>
                      <a:pt x="398" y="85"/>
                    </a:lnTo>
                    <a:lnTo>
                      <a:pt x="393" y="90"/>
                    </a:lnTo>
                    <a:lnTo>
                      <a:pt x="386" y="94"/>
                    </a:lnTo>
                    <a:lnTo>
                      <a:pt x="378" y="99"/>
                    </a:lnTo>
                    <a:lnTo>
                      <a:pt x="367" y="105"/>
                    </a:lnTo>
                    <a:lnTo>
                      <a:pt x="355" y="109"/>
                    </a:lnTo>
                    <a:lnTo>
                      <a:pt x="355"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1" name="Freeform 66">
                <a:extLst>
                  <a:ext uri="{FF2B5EF4-FFF2-40B4-BE49-F238E27FC236}">
                    <a16:creationId xmlns:a16="http://schemas.microsoft.com/office/drawing/2014/main" id="{820AD7D5-C4BE-9FF6-74C8-EF6956CC558C}"/>
                  </a:ext>
                </a:extLst>
              </p:cNvPr>
              <p:cNvSpPr>
                <a:spLocks/>
              </p:cNvSpPr>
              <p:nvPr/>
            </p:nvSpPr>
            <p:spPr bwMode="auto">
              <a:xfrm>
                <a:off x="2371725" y="2528888"/>
                <a:ext cx="39688" cy="25400"/>
              </a:xfrm>
              <a:custGeom>
                <a:avLst/>
                <a:gdLst/>
                <a:ahLst/>
                <a:cxnLst>
                  <a:cxn ang="0">
                    <a:pos x="127" y="45"/>
                  </a:cxn>
                  <a:cxn ang="0">
                    <a:pos x="97" y="38"/>
                  </a:cxn>
                  <a:cxn ang="0">
                    <a:pos x="65" y="30"/>
                  </a:cxn>
                  <a:cxn ang="0">
                    <a:pos x="60" y="27"/>
                  </a:cxn>
                  <a:cxn ang="0">
                    <a:pos x="60" y="25"/>
                  </a:cxn>
                  <a:cxn ang="0">
                    <a:pos x="62" y="20"/>
                  </a:cxn>
                  <a:cxn ang="0">
                    <a:pos x="65" y="19"/>
                  </a:cxn>
                  <a:cxn ang="0">
                    <a:pos x="70" y="19"/>
                  </a:cxn>
                  <a:cxn ang="0">
                    <a:pos x="79" y="20"/>
                  </a:cxn>
                  <a:cxn ang="0">
                    <a:pos x="80" y="22"/>
                  </a:cxn>
                  <a:cxn ang="0">
                    <a:pos x="82" y="30"/>
                  </a:cxn>
                  <a:cxn ang="0">
                    <a:pos x="139" y="30"/>
                  </a:cxn>
                  <a:cxn ang="0">
                    <a:pos x="140" y="27"/>
                  </a:cxn>
                  <a:cxn ang="0">
                    <a:pos x="137" y="19"/>
                  </a:cxn>
                  <a:cxn ang="0">
                    <a:pos x="127" y="13"/>
                  </a:cxn>
                  <a:cxn ang="0">
                    <a:pos x="120" y="11"/>
                  </a:cxn>
                  <a:cxn ang="0">
                    <a:pos x="86" y="7"/>
                  </a:cxn>
                  <a:cxn ang="0">
                    <a:pos x="60" y="0"/>
                  </a:cxn>
                  <a:cxn ang="0">
                    <a:pos x="60" y="7"/>
                  </a:cxn>
                  <a:cxn ang="0">
                    <a:pos x="23" y="11"/>
                  </a:cxn>
                  <a:cxn ang="0">
                    <a:pos x="15" y="13"/>
                  </a:cxn>
                  <a:cxn ang="0">
                    <a:pos x="4" y="19"/>
                  </a:cxn>
                  <a:cxn ang="0">
                    <a:pos x="0" y="27"/>
                  </a:cxn>
                  <a:cxn ang="0">
                    <a:pos x="1" y="30"/>
                  </a:cxn>
                  <a:cxn ang="0">
                    <a:pos x="4" y="35"/>
                  </a:cxn>
                  <a:cxn ang="0">
                    <a:pos x="7" y="38"/>
                  </a:cxn>
                  <a:cxn ang="0">
                    <a:pos x="24" y="45"/>
                  </a:cxn>
                  <a:cxn ang="0">
                    <a:pos x="60" y="53"/>
                  </a:cxn>
                  <a:cxn ang="0">
                    <a:pos x="72" y="57"/>
                  </a:cxn>
                  <a:cxn ang="0">
                    <a:pos x="79" y="60"/>
                  </a:cxn>
                  <a:cxn ang="0">
                    <a:pos x="82" y="70"/>
                  </a:cxn>
                  <a:cxn ang="0">
                    <a:pos x="80" y="72"/>
                  </a:cxn>
                  <a:cxn ang="0">
                    <a:pos x="78" y="73"/>
                  </a:cxn>
                  <a:cxn ang="0">
                    <a:pos x="70" y="75"/>
                  </a:cxn>
                  <a:cxn ang="0">
                    <a:pos x="64" y="74"/>
                  </a:cxn>
                  <a:cxn ang="0">
                    <a:pos x="61" y="73"/>
                  </a:cxn>
                  <a:cxn ang="0">
                    <a:pos x="60" y="63"/>
                  </a:cxn>
                  <a:cxn ang="0">
                    <a:pos x="1" y="58"/>
                  </a:cxn>
                  <a:cxn ang="0">
                    <a:pos x="1" y="62"/>
                  </a:cxn>
                  <a:cxn ang="0">
                    <a:pos x="5" y="73"/>
                  </a:cxn>
                  <a:cxn ang="0">
                    <a:pos x="18" y="80"/>
                  </a:cxn>
                  <a:cxn ang="0">
                    <a:pos x="27" y="83"/>
                  </a:cxn>
                  <a:cxn ang="0">
                    <a:pos x="60" y="87"/>
                  </a:cxn>
                  <a:cxn ang="0">
                    <a:pos x="86" y="94"/>
                  </a:cxn>
                  <a:cxn ang="0">
                    <a:pos x="86" y="87"/>
                  </a:cxn>
                  <a:cxn ang="0">
                    <a:pos x="113" y="85"/>
                  </a:cxn>
                  <a:cxn ang="0">
                    <a:pos x="131" y="80"/>
                  </a:cxn>
                  <a:cxn ang="0">
                    <a:pos x="138" y="77"/>
                  </a:cxn>
                  <a:cxn ang="0">
                    <a:pos x="145" y="67"/>
                  </a:cxn>
                  <a:cxn ang="0">
                    <a:pos x="146" y="63"/>
                  </a:cxn>
                  <a:cxn ang="0">
                    <a:pos x="145" y="57"/>
                  </a:cxn>
                  <a:cxn ang="0">
                    <a:pos x="140" y="52"/>
                  </a:cxn>
                  <a:cxn ang="0">
                    <a:pos x="135" y="48"/>
                  </a:cxn>
                  <a:cxn ang="0">
                    <a:pos x="127" y="45"/>
                  </a:cxn>
                </a:cxnLst>
                <a:rect l="0" t="0" r="r" b="b"/>
                <a:pathLst>
                  <a:path w="146" h="94">
                    <a:moveTo>
                      <a:pt x="127" y="45"/>
                    </a:moveTo>
                    <a:lnTo>
                      <a:pt x="127" y="45"/>
                    </a:lnTo>
                    <a:lnTo>
                      <a:pt x="97" y="38"/>
                    </a:lnTo>
                    <a:lnTo>
                      <a:pt x="97" y="38"/>
                    </a:lnTo>
                    <a:lnTo>
                      <a:pt x="65" y="30"/>
                    </a:lnTo>
                    <a:lnTo>
                      <a:pt x="65" y="30"/>
                    </a:lnTo>
                    <a:lnTo>
                      <a:pt x="61" y="28"/>
                    </a:lnTo>
                    <a:lnTo>
                      <a:pt x="60" y="27"/>
                    </a:lnTo>
                    <a:lnTo>
                      <a:pt x="60" y="25"/>
                    </a:lnTo>
                    <a:lnTo>
                      <a:pt x="60" y="25"/>
                    </a:lnTo>
                    <a:lnTo>
                      <a:pt x="61" y="22"/>
                    </a:lnTo>
                    <a:lnTo>
                      <a:pt x="62" y="20"/>
                    </a:lnTo>
                    <a:lnTo>
                      <a:pt x="62" y="20"/>
                    </a:lnTo>
                    <a:lnTo>
                      <a:pt x="65" y="19"/>
                    </a:lnTo>
                    <a:lnTo>
                      <a:pt x="70" y="19"/>
                    </a:lnTo>
                    <a:lnTo>
                      <a:pt x="70" y="19"/>
                    </a:lnTo>
                    <a:lnTo>
                      <a:pt x="76" y="19"/>
                    </a:lnTo>
                    <a:lnTo>
                      <a:pt x="79" y="20"/>
                    </a:lnTo>
                    <a:lnTo>
                      <a:pt x="79" y="20"/>
                    </a:lnTo>
                    <a:lnTo>
                      <a:pt x="80" y="22"/>
                    </a:lnTo>
                    <a:lnTo>
                      <a:pt x="82" y="27"/>
                    </a:lnTo>
                    <a:lnTo>
                      <a:pt x="82" y="30"/>
                    </a:lnTo>
                    <a:lnTo>
                      <a:pt x="139" y="30"/>
                    </a:lnTo>
                    <a:lnTo>
                      <a:pt x="139" y="30"/>
                    </a:lnTo>
                    <a:lnTo>
                      <a:pt x="140" y="27"/>
                    </a:lnTo>
                    <a:lnTo>
                      <a:pt x="140" y="27"/>
                    </a:lnTo>
                    <a:lnTo>
                      <a:pt x="139" y="22"/>
                    </a:lnTo>
                    <a:lnTo>
                      <a:pt x="137" y="19"/>
                    </a:lnTo>
                    <a:lnTo>
                      <a:pt x="132" y="15"/>
                    </a:lnTo>
                    <a:lnTo>
                      <a:pt x="127" y="13"/>
                    </a:lnTo>
                    <a:lnTo>
                      <a:pt x="127" y="13"/>
                    </a:lnTo>
                    <a:lnTo>
                      <a:pt x="120" y="11"/>
                    </a:lnTo>
                    <a:lnTo>
                      <a:pt x="109" y="8"/>
                    </a:lnTo>
                    <a:lnTo>
                      <a:pt x="86" y="7"/>
                    </a:lnTo>
                    <a:lnTo>
                      <a:pt x="86" y="0"/>
                    </a:lnTo>
                    <a:lnTo>
                      <a:pt x="60" y="0"/>
                    </a:lnTo>
                    <a:lnTo>
                      <a:pt x="60" y="7"/>
                    </a:lnTo>
                    <a:lnTo>
                      <a:pt x="60" y="7"/>
                    </a:lnTo>
                    <a:lnTo>
                      <a:pt x="33" y="8"/>
                    </a:lnTo>
                    <a:lnTo>
                      <a:pt x="23" y="11"/>
                    </a:lnTo>
                    <a:lnTo>
                      <a:pt x="15" y="13"/>
                    </a:lnTo>
                    <a:lnTo>
                      <a:pt x="15" y="13"/>
                    </a:lnTo>
                    <a:lnTo>
                      <a:pt x="9" y="15"/>
                    </a:lnTo>
                    <a:lnTo>
                      <a:pt x="4" y="19"/>
                    </a:lnTo>
                    <a:lnTo>
                      <a:pt x="1" y="22"/>
                    </a:lnTo>
                    <a:lnTo>
                      <a:pt x="0" y="27"/>
                    </a:lnTo>
                    <a:lnTo>
                      <a:pt x="0" y="27"/>
                    </a:lnTo>
                    <a:lnTo>
                      <a:pt x="1" y="30"/>
                    </a:lnTo>
                    <a:lnTo>
                      <a:pt x="2" y="33"/>
                    </a:lnTo>
                    <a:lnTo>
                      <a:pt x="4" y="35"/>
                    </a:lnTo>
                    <a:lnTo>
                      <a:pt x="7" y="38"/>
                    </a:lnTo>
                    <a:lnTo>
                      <a:pt x="7" y="38"/>
                    </a:lnTo>
                    <a:lnTo>
                      <a:pt x="15" y="42"/>
                    </a:lnTo>
                    <a:lnTo>
                      <a:pt x="24" y="45"/>
                    </a:lnTo>
                    <a:lnTo>
                      <a:pt x="24" y="45"/>
                    </a:lnTo>
                    <a:lnTo>
                      <a:pt x="60" y="53"/>
                    </a:lnTo>
                    <a:lnTo>
                      <a:pt x="60" y="53"/>
                    </a:lnTo>
                    <a:lnTo>
                      <a:pt x="72" y="57"/>
                    </a:lnTo>
                    <a:lnTo>
                      <a:pt x="79" y="60"/>
                    </a:lnTo>
                    <a:lnTo>
                      <a:pt x="79" y="60"/>
                    </a:lnTo>
                    <a:lnTo>
                      <a:pt x="80" y="64"/>
                    </a:lnTo>
                    <a:lnTo>
                      <a:pt x="82" y="70"/>
                    </a:lnTo>
                    <a:lnTo>
                      <a:pt x="82" y="70"/>
                    </a:lnTo>
                    <a:lnTo>
                      <a:pt x="80" y="72"/>
                    </a:lnTo>
                    <a:lnTo>
                      <a:pt x="78" y="73"/>
                    </a:lnTo>
                    <a:lnTo>
                      <a:pt x="78" y="73"/>
                    </a:lnTo>
                    <a:lnTo>
                      <a:pt x="75" y="74"/>
                    </a:lnTo>
                    <a:lnTo>
                      <a:pt x="70" y="75"/>
                    </a:lnTo>
                    <a:lnTo>
                      <a:pt x="70" y="75"/>
                    </a:lnTo>
                    <a:lnTo>
                      <a:pt x="64" y="74"/>
                    </a:lnTo>
                    <a:lnTo>
                      <a:pt x="61" y="73"/>
                    </a:lnTo>
                    <a:lnTo>
                      <a:pt x="61" y="73"/>
                    </a:lnTo>
                    <a:lnTo>
                      <a:pt x="60" y="70"/>
                    </a:lnTo>
                    <a:lnTo>
                      <a:pt x="60" y="63"/>
                    </a:lnTo>
                    <a:lnTo>
                      <a:pt x="60" y="58"/>
                    </a:lnTo>
                    <a:lnTo>
                      <a:pt x="1" y="58"/>
                    </a:lnTo>
                    <a:lnTo>
                      <a:pt x="1" y="62"/>
                    </a:lnTo>
                    <a:lnTo>
                      <a:pt x="1" y="62"/>
                    </a:lnTo>
                    <a:lnTo>
                      <a:pt x="2" y="68"/>
                    </a:lnTo>
                    <a:lnTo>
                      <a:pt x="5" y="73"/>
                    </a:lnTo>
                    <a:lnTo>
                      <a:pt x="11" y="78"/>
                    </a:lnTo>
                    <a:lnTo>
                      <a:pt x="18" y="80"/>
                    </a:lnTo>
                    <a:lnTo>
                      <a:pt x="18" y="80"/>
                    </a:lnTo>
                    <a:lnTo>
                      <a:pt x="27" y="83"/>
                    </a:lnTo>
                    <a:lnTo>
                      <a:pt x="38" y="85"/>
                    </a:lnTo>
                    <a:lnTo>
                      <a:pt x="60" y="87"/>
                    </a:lnTo>
                    <a:lnTo>
                      <a:pt x="60" y="94"/>
                    </a:lnTo>
                    <a:lnTo>
                      <a:pt x="86" y="94"/>
                    </a:lnTo>
                    <a:lnTo>
                      <a:pt x="86" y="87"/>
                    </a:lnTo>
                    <a:lnTo>
                      <a:pt x="86" y="87"/>
                    </a:lnTo>
                    <a:lnTo>
                      <a:pt x="100" y="86"/>
                    </a:lnTo>
                    <a:lnTo>
                      <a:pt x="113" y="85"/>
                    </a:lnTo>
                    <a:lnTo>
                      <a:pt x="123" y="82"/>
                    </a:lnTo>
                    <a:lnTo>
                      <a:pt x="131" y="80"/>
                    </a:lnTo>
                    <a:lnTo>
                      <a:pt x="131" y="80"/>
                    </a:lnTo>
                    <a:lnTo>
                      <a:pt x="138" y="77"/>
                    </a:lnTo>
                    <a:lnTo>
                      <a:pt x="143" y="72"/>
                    </a:lnTo>
                    <a:lnTo>
                      <a:pt x="145" y="67"/>
                    </a:lnTo>
                    <a:lnTo>
                      <a:pt x="146" y="63"/>
                    </a:lnTo>
                    <a:lnTo>
                      <a:pt x="146" y="63"/>
                    </a:lnTo>
                    <a:lnTo>
                      <a:pt x="146" y="59"/>
                    </a:lnTo>
                    <a:lnTo>
                      <a:pt x="145" y="57"/>
                    </a:lnTo>
                    <a:lnTo>
                      <a:pt x="143" y="55"/>
                    </a:lnTo>
                    <a:lnTo>
                      <a:pt x="140" y="52"/>
                    </a:lnTo>
                    <a:lnTo>
                      <a:pt x="140" y="52"/>
                    </a:lnTo>
                    <a:lnTo>
                      <a:pt x="135" y="48"/>
                    </a:lnTo>
                    <a:lnTo>
                      <a:pt x="127" y="45"/>
                    </a:lnTo>
                    <a:lnTo>
                      <a:pt x="127"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2" name="Freeform 67">
                <a:extLst>
                  <a:ext uri="{FF2B5EF4-FFF2-40B4-BE49-F238E27FC236}">
                    <a16:creationId xmlns:a16="http://schemas.microsoft.com/office/drawing/2014/main" id="{3F66FCF1-550E-3818-7922-8B556670BCE0}"/>
                  </a:ext>
                </a:extLst>
              </p:cNvPr>
              <p:cNvSpPr>
                <a:spLocks noEditPoints="1"/>
              </p:cNvSpPr>
              <p:nvPr/>
            </p:nvSpPr>
            <p:spPr bwMode="auto">
              <a:xfrm>
                <a:off x="2335213" y="2563813"/>
                <a:ext cx="111125" cy="36513"/>
              </a:xfrm>
              <a:custGeom>
                <a:avLst/>
                <a:gdLst/>
                <a:ahLst/>
                <a:cxnLst>
                  <a:cxn ang="0">
                    <a:pos x="212" y="66"/>
                  </a:cxn>
                  <a:cxn ang="0">
                    <a:pos x="134" y="62"/>
                  </a:cxn>
                  <a:cxn ang="0">
                    <a:pos x="85" y="51"/>
                  </a:cxn>
                  <a:cxn ang="0">
                    <a:pos x="56" y="43"/>
                  </a:cxn>
                  <a:cxn ang="0">
                    <a:pos x="33" y="33"/>
                  </a:cxn>
                  <a:cxn ang="0">
                    <a:pos x="15" y="20"/>
                  </a:cxn>
                  <a:cxn ang="0">
                    <a:pos x="4" y="7"/>
                  </a:cxn>
                  <a:cxn ang="0">
                    <a:pos x="2" y="0"/>
                  </a:cxn>
                  <a:cxn ang="0">
                    <a:pos x="0" y="64"/>
                  </a:cxn>
                  <a:cxn ang="0">
                    <a:pos x="2" y="72"/>
                  </a:cxn>
                  <a:cxn ang="0">
                    <a:pos x="10" y="86"/>
                  </a:cxn>
                  <a:cxn ang="0">
                    <a:pos x="26" y="99"/>
                  </a:cxn>
                  <a:cxn ang="0">
                    <a:pos x="49" y="110"/>
                  </a:cxn>
                  <a:cxn ang="0">
                    <a:pos x="77" y="120"/>
                  </a:cxn>
                  <a:cxn ang="0">
                    <a:pos x="111" y="129"/>
                  </a:cxn>
                  <a:cxn ang="0">
                    <a:pos x="148" y="134"/>
                  </a:cxn>
                  <a:cxn ang="0">
                    <a:pos x="190" y="137"/>
                  </a:cxn>
                  <a:cxn ang="0">
                    <a:pos x="212" y="138"/>
                  </a:cxn>
                  <a:cxn ang="0">
                    <a:pos x="254" y="135"/>
                  </a:cxn>
                  <a:cxn ang="0">
                    <a:pos x="293" y="132"/>
                  </a:cxn>
                  <a:cxn ang="0">
                    <a:pos x="329" y="125"/>
                  </a:cxn>
                  <a:cxn ang="0">
                    <a:pos x="360" y="116"/>
                  </a:cxn>
                  <a:cxn ang="0">
                    <a:pos x="386" y="105"/>
                  </a:cxn>
                  <a:cxn ang="0">
                    <a:pos x="405" y="93"/>
                  </a:cxn>
                  <a:cxn ang="0">
                    <a:pos x="418" y="79"/>
                  </a:cxn>
                  <a:cxn ang="0">
                    <a:pos x="421" y="64"/>
                  </a:cxn>
                  <a:cxn ang="0">
                    <a:pos x="421" y="9"/>
                  </a:cxn>
                  <a:cxn ang="0">
                    <a:pos x="421" y="0"/>
                  </a:cxn>
                  <a:cxn ang="0">
                    <a:pos x="413" y="14"/>
                  </a:cxn>
                  <a:cxn ang="0">
                    <a:pos x="398" y="27"/>
                  </a:cxn>
                  <a:cxn ang="0">
                    <a:pos x="379" y="37"/>
                  </a:cxn>
                  <a:cxn ang="0">
                    <a:pos x="353" y="48"/>
                  </a:cxn>
                  <a:cxn ang="0">
                    <a:pos x="322" y="56"/>
                  </a:cxn>
                  <a:cxn ang="0">
                    <a:pos x="251" y="65"/>
                  </a:cxn>
                  <a:cxn ang="0">
                    <a:pos x="212" y="66"/>
                  </a:cxn>
                  <a:cxn ang="0">
                    <a:pos x="48" y="103"/>
                  </a:cxn>
                  <a:cxn ang="0">
                    <a:pos x="20" y="87"/>
                  </a:cxn>
                  <a:cxn ang="0">
                    <a:pos x="20" y="32"/>
                  </a:cxn>
                  <a:cxn ang="0">
                    <a:pos x="48" y="48"/>
                  </a:cxn>
                  <a:cxn ang="0">
                    <a:pos x="89" y="117"/>
                  </a:cxn>
                  <a:cxn ang="0">
                    <a:pos x="75" y="112"/>
                  </a:cxn>
                  <a:cxn ang="0">
                    <a:pos x="62" y="54"/>
                  </a:cxn>
                  <a:cxn ang="0">
                    <a:pos x="75" y="58"/>
                  </a:cxn>
                  <a:cxn ang="0">
                    <a:pos x="89" y="117"/>
                  </a:cxn>
                  <a:cxn ang="0">
                    <a:pos x="131" y="125"/>
                  </a:cxn>
                  <a:cxn ang="0">
                    <a:pos x="103" y="65"/>
                  </a:cxn>
                  <a:cxn ang="0">
                    <a:pos x="131" y="70"/>
                  </a:cxn>
                  <a:cxn ang="0">
                    <a:pos x="385" y="97"/>
                  </a:cxn>
                  <a:cxn ang="0">
                    <a:pos x="372" y="104"/>
                  </a:cxn>
                  <a:cxn ang="0">
                    <a:pos x="357" y="55"/>
                  </a:cxn>
                  <a:cxn ang="0">
                    <a:pos x="372" y="49"/>
                  </a:cxn>
                  <a:cxn ang="0">
                    <a:pos x="385" y="97"/>
                  </a:cxn>
                </a:cxnLst>
                <a:rect l="0" t="0" r="r" b="b"/>
                <a:pathLst>
                  <a:path w="421" h="138">
                    <a:moveTo>
                      <a:pt x="212" y="66"/>
                    </a:moveTo>
                    <a:lnTo>
                      <a:pt x="212" y="66"/>
                    </a:lnTo>
                    <a:lnTo>
                      <a:pt x="171" y="65"/>
                    </a:lnTo>
                    <a:lnTo>
                      <a:pt x="134" y="62"/>
                    </a:lnTo>
                    <a:lnTo>
                      <a:pt x="100" y="56"/>
                    </a:lnTo>
                    <a:lnTo>
                      <a:pt x="85" y="51"/>
                    </a:lnTo>
                    <a:lnTo>
                      <a:pt x="70" y="48"/>
                    </a:lnTo>
                    <a:lnTo>
                      <a:pt x="56" y="43"/>
                    </a:lnTo>
                    <a:lnTo>
                      <a:pt x="44" y="37"/>
                    </a:lnTo>
                    <a:lnTo>
                      <a:pt x="33" y="33"/>
                    </a:lnTo>
                    <a:lnTo>
                      <a:pt x="23" y="27"/>
                    </a:lnTo>
                    <a:lnTo>
                      <a:pt x="15" y="20"/>
                    </a:lnTo>
                    <a:lnTo>
                      <a:pt x="10" y="14"/>
                    </a:lnTo>
                    <a:lnTo>
                      <a:pt x="4" y="7"/>
                    </a:lnTo>
                    <a:lnTo>
                      <a:pt x="2" y="0"/>
                    </a:lnTo>
                    <a:lnTo>
                      <a:pt x="2" y="0"/>
                    </a:lnTo>
                    <a:lnTo>
                      <a:pt x="0" y="9"/>
                    </a:lnTo>
                    <a:lnTo>
                      <a:pt x="0" y="64"/>
                    </a:lnTo>
                    <a:lnTo>
                      <a:pt x="0" y="64"/>
                    </a:lnTo>
                    <a:lnTo>
                      <a:pt x="2" y="72"/>
                    </a:lnTo>
                    <a:lnTo>
                      <a:pt x="5" y="79"/>
                    </a:lnTo>
                    <a:lnTo>
                      <a:pt x="10" y="86"/>
                    </a:lnTo>
                    <a:lnTo>
                      <a:pt x="17" y="93"/>
                    </a:lnTo>
                    <a:lnTo>
                      <a:pt x="26" y="99"/>
                    </a:lnTo>
                    <a:lnTo>
                      <a:pt x="36" y="105"/>
                    </a:lnTo>
                    <a:lnTo>
                      <a:pt x="49" y="110"/>
                    </a:lnTo>
                    <a:lnTo>
                      <a:pt x="62" y="116"/>
                    </a:lnTo>
                    <a:lnTo>
                      <a:pt x="77" y="120"/>
                    </a:lnTo>
                    <a:lnTo>
                      <a:pt x="94" y="125"/>
                    </a:lnTo>
                    <a:lnTo>
                      <a:pt x="111" y="129"/>
                    </a:lnTo>
                    <a:lnTo>
                      <a:pt x="130" y="132"/>
                    </a:lnTo>
                    <a:lnTo>
                      <a:pt x="148" y="134"/>
                    </a:lnTo>
                    <a:lnTo>
                      <a:pt x="169" y="135"/>
                    </a:lnTo>
                    <a:lnTo>
                      <a:pt x="190" y="137"/>
                    </a:lnTo>
                    <a:lnTo>
                      <a:pt x="212" y="138"/>
                    </a:lnTo>
                    <a:lnTo>
                      <a:pt x="212" y="138"/>
                    </a:lnTo>
                    <a:lnTo>
                      <a:pt x="232" y="137"/>
                    </a:lnTo>
                    <a:lnTo>
                      <a:pt x="254" y="135"/>
                    </a:lnTo>
                    <a:lnTo>
                      <a:pt x="274" y="134"/>
                    </a:lnTo>
                    <a:lnTo>
                      <a:pt x="293" y="132"/>
                    </a:lnTo>
                    <a:lnTo>
                      <a:pt x="312" y="129"/>
                    </a:lnTo>
                    <a:lnTo>
                      <a:pt x="329" y="125"/>
                    </a:lnTo>
                    <a:lnTo>
                      <a:pt x="345" y="120"/>
                    </a:lnTo>
                    <a:lnTo>
                      <a:pt x="360" y="116"/>
                    </a:lnTo>
                    <a:lnTo>
                      <a:pt x="374" y="110"/>
                    </a:lnTo>
                    <a:lnTo>
                      <a:pt x="386" y="105"/>
                    </a:lnTo>
                    <a:lnTo>
                      <a:pt x="396" y="99"/>
                    </a:lnTo>
                    <a:lnTo>
                      <a:pt x="405" y="93"/>
                    </a:lnTo>
                    <a:lnTo>
                      <a:pt x="412" y="86"/>
                    </a:lnTo>
                    <a:lnTo>
                      <a:pt x="418" y="79"/>
                    </a:lnTo>
                    <a:lnTo>
                      <a:pt x="421" y="72"/>
                    </a:lnTo>
                    <a:lnTo>
                      <a:pt x="421" y="64"/>
                    </a:lnTo>
                    <a:lnTo>
                      <a:pt x="421" y="9"/>
                    </a:lnTo>
                    <a:lnTo>
                      <a:pt x="421" y="9"/>
                    </a:lnTo>
                    <a:lnTo>
                      <a:pt x="421" y="0"/>
                    </a:lnTo>
                    <a:lnTo>
                      <a:pt x="421" y="0"/>
                    </a:lnTo>
                    <a:lnTo>
                      <a:pt x="418" y="7"/>
                    </a:lnTo>
                    <a:lnTo>
                      <a:pt x="413" y="14"/>
                    </a:lnTo>
                    <a:lnTo>
                      <a:pt x="406" y="20"/>
                    </a:lnTo>
                    <a:lnTo>
                      <a:pt x="398" y="27"/>
                    </a:lnTo>
                    <a:lnTo>
                      <a:pt x="389" y="33"/>
                    </a:lnTo>
                    <a:lnTo>
                      <a:pt x="379" y="37"/>
                    </a:lnTo>
                    <a:lnTo>
                      <a:pt x="366" y="43"/>
                    </a:lnTo>
                    <a:lnTo>
                      <a:pt x="353" y="48"/>
                    </a:lnTo>
                    <a:lnTo>
                      <a:pt x="338" y="51"/>
                    </a:lnTo>
                    <a:lnTo>
                      <a:pt x="322" y="56"/>
                    </a:lnTo>
                    <a:lnTo>
                      <a:pt x="289" y="62"/>
                    </a:lnTo>
                    <a:lnTo>
                      <a:pt x="251" y="65"/>
                    </a:lnTo>
                    <a:lnTo>
                      <a:pt x="212" y="66"/>
                    </a:lnTo>
                    <a:lnTo>
                      <a:pt x="212" y="66"/>
                    </a:lnTo>
                    <a:close/>
                    <a:moveTo>
                      <a:pt x="48" y="103"/>
                    </a:moveTo>
                    <a:lnTo>
                      <a:pt x="48" y="103"/>
                    </a:lnTo>
                    <a:lnTo>
                      <a:pt x="33" y="95"/>
                    </a:lnTo>
                    <a:lnTo>
                      <a:pt x="20" y="87"/>
                    </a:lnTo>
                    <a:lnTo>
                      <a:pt x="20" y="32"/>
                    </a:lnTo>
                    <a:lnTo>
                      <a:pt x="20" y="32"/>
                    </a:lnTo>
                    <a:lnTo>
                      <a:pt x="33" y="41"/>
                    </a:lnTo>
                    <a:lnTo>
                      <a:pt x="48" y="48"/>
                    </a:lnTo>
                    <a:lnTo>
                      <a:pt x="48" y="103"/>
                    </a:lnTo>
                    <a:close/>
                    <a:moveTo>
                      <a:pt x="89" y="117"/>
                    </a:moveTo>
                    <a:lnTo>
                      <a:pt x="89" y="117"/>
                    </a:lnTo>
                    <a:lnTo>
                      <a:pt x="75" y="112"/>
                    </a:lnTo>
                    <a:lnTo>
                      <a:pt x="62" y="108"/>
                    </a:lnTo>
                    <a:lnTo>
                      <a:pt x="62" y="54"/>
                    </a:lnTo>
                    <a:lnTo>
                      <a:pt x="62" y="54"/>
                    </a:lnTo>
                    <a:lnTo>
                      <a:pt x="75" y="58"/>
                    </a:lnTo>
                    <a:lnTo>
                      <a:pt x="89" y="62"/>
                    </a:lnTo>
                    <a:lnTo>
                      <a:pt x="89" y="117"/>
                    </a:lnTo>
                    <a:close/>
                    <a:moveTo>
                      <a:pt x="131" y="125"/>
                    </a:moveTo>
                    <a:lnTo>
                      <a:pt x="131" y="125"/>
                    </a:lnTo>
                    <a:lnTo>
                      <a:pt x="103" y="119"/>
                    </a:lnTo>
                    <a:lnTo>
                      <a:pt x="103" y="65"/>
                    </a:lnTo>
                    <a:lnTo>
                      <a:pt x="103" y="65"/>
                    </a:lnTo>
                    <a:lnTo>
                      <a:pt x="131" y="70"/>
                    </a:lnTo>
                    <a:lnTo>
                      <a:pt x="131" y="125"/>
                    </a:lnTo>
                    <a:close/>
                    <a:moveTo>
                      <a:pt x="385" y="97"/>
                    </a:moveTo>
                    <a:lnTo>
                      <a:pt x="385" y="97"/>
                    </a:lnTo>
                    <a:lnTo>
                      <a:pt x="372" y="104"/>
                    </a:lnTo>
                    <a:lnTo>
                      <a:pt x="357" y="110"/>
                    </a:lnTo>
                    <a:lnTo>
                      <a:pt x="357" y="55"/>
                    </a:lnTo>
                    <a:lnTo>
                      <a:pt x="357" y="55"/>
                    </a:lnTo>
                    <a:lnTo>
                      <a:pt x="372" y="49"/>
                    </a:lnTo>
                    <a:lnTo>
                      <a:pt x="385" y="43"/>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3" name="Freeform 68">
                <a:extLst>
                  <a:ext uri="{FF2B5EF4-FFF2-40B4-BE49-F238E27FC236}">
                    <a16:creationId xmlns:a16="http://schemas.microsoft.com/office/drawing/2014/main" id="{9F620836-9C5C-DF5D-9403-EA6439779FEF}"/>
                  </a:ext>
                </a:extLst>
              </p:cNvPr>
              <p:cNvSpPr>
                <a:spLocks noEditPoints="1"/>
              </p:cNvSpPr>
              <p:nvPr/>
            </p:nvSpPr>
            <p:spPr bwMode="auto">
              <a:xfrm>
                <a:off x="2335213" y="2587625"/>
                <a:ext cx="111125" cy="36513"/>
              </a:xfrm>
              <a:custGeom>
                <a:avLst/>
                <a:gdLst/>
                <a:ahLst/>
                <a:cxnLst>
                  <a:cxn ang="0">
                    <a:pos x="212" y="65"/>
                  </a:cxn>
                  <a:cxn ang="0">
                    <a:pos x="134" y="61"/>
                  </a:cxn>
                  <a:cxn ang="0">
                    <a:pos x="85" y="50"/>
                  </a:cxn>
                  <a:cxn ang="0">
                    <a:pos x="56" y="41"/>
                  </a:cxn>
                  <a:cxn ang="0">
                    <a:pos x="33" y="31"/>
                  </a:cxn>
                  <a:cxn ang="0">
                    <a:pos x="15" y="19"/>
                  </a:cxn>
                  <a:cxn ang="0">
                    <a:pos x="4" y="7"/>
                  </a:cxn>
                  <a:cxn ang="0">
                    <a:pos x="2" y="0"/>
                  </a:cxn>
                  <a:cxn ang="0">
                    <a:pos x="0" y="63"/>
                  </a:cxn>
                  <a:cxn ang="0">
                    <a:pos x="2" y="70"/>
                  </a:cxn>
                  <a:cxn ang="0">
                    <a:pos x="10" y="85"/>
                  </a:cxn>
                  <a:cxn ang="0">
                    <a:pos x="26" y="98"/>
                  </a:cxn>
                  <a:cxn ang="0">
                    <a:pos x="49" y="109"/>
                  </a:cxn>
                  <a:cxn ang="0">
                    <a:pos x="77" y="120"/>
                  </a:cxn>
                  <a:cxn ang="0">
                    <a:pos x="111" y="128"/>
                  </a:cxn>
                  <a:cxn ang="0">
                    <a:pos x="148" y="133"/>
                  </a:cxn>
                  <a:cxn ang="0">
                    <a:pos x="190" y="136"/>
                  </a:cxn>
                  <a:cxn ang="0">
                    <a:pos x="212" y="136"/>
                  </a:cxn>
                  <a:cxn ang="0">
                    <a:pos x="254" y="135"/>
                  </a:cxn>
                  <a:cxn ang="0">
                    <a:pos x="293" y="130"/>
                  </a:cxn>
                  <a:cxn ang="0">
                    <a:pos x="329" y="124"/>
                  </a:cxn>
                  <a:cxn ang="0">
                    <a:pos x="360" y="115"/>
                  </a:cxn>
                  <a:cxn ang="0">
                    <a:pos x="386" y="103"/>
                  </a:cxn>
                  <a:cxn ang="0">
                    <a:pos x="405" y="92"/>
                  </a:cxn>
                  <a:cxn ang="0">
                    <a:pos x="418" y="78"/>
                  </a:cxn>
                  <a:cxn ang="0">
                    <a:pos x="421" y="63"/>
                  </a:cxn>
                  <a:cxn ang="0">
                    <a:pos x="421" y="8"/>
                  </a:cxn>
                  <a:cxn ang="0">
                    <a:pos x="421" y="0"/>
                  </a:cxn>
                  <a:cxn ang="0">
                    <a:pos x="413" y="13"/>
                  </a:cxn>
                  <a:cxn ang="0">
                    <a:pos x="398" y="25"/>
                  </a:cxn>
                  <a:cxn ang="0">
                    <a:pos x="379" y="37"/>
                  </a:cxn>
                  <a:cxn ang="0">
                    <a:pos x="353" y="47"/>
                  </a:cxn>
                  <a:cxn ang="0">
                    <a:pos x="322" y="54"/>
                  </a:cxn>
                  <a:cxn ang="0">
                    <a:pos x="251" y="64"/>
                  </a:cxn>
                  <a:cxn ang="0">
                    <a:pos x="212" y="65"/>
                  </a:cxn>
                  <a:cxn ang="0">
                    <a:pos x="48" y="102"/>
                  </a:cxn>
                  <a:cxn ang="0">
                    <a:pos x="20" y="86"/>
                  </a:cxn>
                  <a:cxn ang="0">
                    <a:pos x="20" y="31"/>
                  </a:cxn>
                  <a:cxn ang="0">
                    <a:pos x="48" y="47"/>
                  </a:cxn>
                  <a:cxn ang="0">
                    <a:pos x="89" y="116"/>
                  </a:cxn>
                  <a:cxn ang="0">
                    <a:pos x="75" y="112"/>
                  </a:cxn>
                  <a:cxn ang="0">
                    <a:pos x="62" y="53"/>
                  </a:cxn>
                  <a:cxn ang="0">
                    <a:pos x="75" y="57"/>
                  </a:cxn>
                  <a:cxn ang="0">
                    <a:pos x="89" y="116"/>
                  </a:cxn>
                  <a:cxn ang="0">
                    <a:pos x="131" y="124"/>
                  </a:cxn>
                  <a:cxn ang="0">
                    <a:pos x="103" y="64"/>
                  </a:cxn>
                  <a:cxn ang="0">
                    <a:pos x="131" y="69"/>
                  </a:cxn>
                  <a:cxn ang="0">
                    <a:pos x="385" y="97"/>
                  </a:cxn>
                  <a:cxn ang="0">
                    <a:pos x="372" y="102"/>
                  </a:cxn>
                  <a:cxn ang="0">
                    <a:pos x="357" y="54"/>
                  </a:cxn>
                  <a:cxn ang="0">
                    <a:pos x="372" y="48"/>
                  </a:cxn>
                  <a:cxn ang="0">
                    <a:pos x="385" y="97"/>
                  </a:cxn>
                </a:cxnLst>
                <a:rect l="0" t="0" r="r" b="b"/>
                <a:pathLst>
                  <a:path w="421" h="136">
                    <a:moveTo>
                      <a:pt x="212" y="65"/>
                    </a:moveTo>
                    <a:lnTo>
                      <a:pt x="212" y="65"/>
                    </a:lnTo>
                    <a:lnTo>
                      <a:pt x="171" y="64"/>
                    </a:lnTo>
                    <a:lnTo>
                      <a:pt x="134" y="61"/>
                    </a:lnTo>
                    <a:lnTo>
                      <a:pt x="100" y="54"/>
                    </a:lnTo>
                    <a:lnTo>
                      <a:pt x="85" y="50"/>
                    </a:lnTo>
                    <a:lnTo>
                      <a:pt x="70" y="47"/>
                    </a:lnTo>
                    <a:lnTo>
                      <a:pt x="56" y="41"/>
                    </a:lnTo>
                    <a:lnTo>
                      <a:pt x="44" y="37"/>
                    </a:lnTo>
                    <a:lnTo>
                      <a:pt x="33" y="31"/>
                    </a:lnTo>
                    <a:lnTo>
                      <a:pt x="23" y="25"/>
                    </a:lnTo>
                    <a:lnTo>
                      <a:pt x="15" y="19"/>
                    </a:lnTo>
                    <a:lnTo>
                      <a:pt x="10" y="13"/>
                    </a:lnTo>
                    <a:lnTo>
                      <a:pt x="4" y="7"/>
                    </a:lnTo>
                    <a:lnTo>
                      <a:pt x="2" y="0"/>
                    </a:lnTo>
                    <a:lnTo>
                      <a:pt x="2" y="0"/>
                    </a:lnTo>
                    <a:lnTo>
                      <a:pt x="0" y="8"/>
                    </a:lnTo>
                    <a:lnTo>
                      <a:pt x="0" y="63"/>
                    </a:lnTo>
                    <a:lnTo>
                      <a:pt x="0" y="63"/>
                    </a:lnTo>
                    <a:lnTo>
                      <a:pt x="2" y="70"/>
                    </a:lnTo>
                    <a:lnTo>
                      <a:pt x="5" y="78"/>
                    </a:lnTo>
                    <a:lnTo>
                      <a:pt x="10" y="85"/>
                    </a:lnTo>
                    <a:lnTo>
                      <a:pt x="17" y="92"/>
                    </a:lnTo>
                    <a:lnTo>
                      <a:pt x="26" y="98"/>
                    </a:lnTo>
                    <a:lnTo>
                      <a:pt x="36" y="103"/>
                    </a:lnTo>
                    <a:lnTo>
                      <a:pt x="49" y="109"/>
                    </a:lnTo>
                    <a:lnTo>
                      <a:pt x="62" y="115"/>
                    </a:lnTo>
                    <a:lnTo>
                      <a:pt x="77" y="120"/>
                    </a:lnTo>
                    <a:lnTo>
                      <a:pt x="94" y="124"/>
                    </a:lnTo>
                    <a:lnTo>
                      <a:pt x="111" y="128"/>
                    </a:lnTo>
                    <a:lnTo>
                      <a:pt x="130" y="130"/>
                    </a:lnTo>
                    <a:lnTo>
                      <a:pt x="148" y="133"/>
                    </a:lnTo>
                    <a:lnTo>
                      <a:pt x="169" y="135"/>
                    </a:lnTo>
                    <a:lnTo>
                      <a:pt x="190" y="136"/>
                    </a:lnTo>
                    <a:lnTo>
                      <a:pt x="212" y="136"/>
                    </a:lnTo>
                    <a:lnTo>
                      <a:pt x="212" y="136"/>
                    </a:lnTo>
                    <a:lnTo>
                      <a:pt x="232" y="136"/>
                    </a:lnTo>
                    <a:lnTo>
                      <a:pt x="254" y="135"/>
                    </a:lnTo>
                    <a:lnTo>
                      <a:pt x="274" y="133"/>
                    </a:lnTo>
                    <a:lnTo>
                      <a:pt x="293" y="130"/>
                    </a:lnTo>
                    <a:lnTo>
                      <a:pt x="312" y="128"/>
                    </a:lnTo>
                    <a:lnTo>
                      <a:pt x="329" y="124"/>
                    </a:lnTo>
                    <a:lnTo>
                      <a:pt x="345" y="120"/>
                    </a:lnTo>
                    <a:lnTo>
                      <a:pt x="360" y="115"/>
                    </a:lnTo>
                    <a:lnTo>
                      <a:pt x="374" y="109"/>
                    </a:lnTo>
                    <a:lnTo>
                      <a:pt x="386" y="103"/>
                    </a:lnTo>
                    <a:lnTo>
                      <a:pt x="396" y="98"/>
                    </a:lnTo>
                    <a:lnTo>
                      <a:pt x="405" y="92"/>
                    </a:lnTo>
                    <a:lnTo>
                      <a:pt x="412" y="85"/>
                    </a:lnTo>
                    <a:lnTo>
                      <a:pt x="418" y="78"/>
                    </a:lnTo>
                    <a:lnTo>
                      <a:pt x="421" y="70"/>
                    </a:lnTo>
                    <a:lnTo>
                      <a:pt x="421" y="63"/>
                    </a:lnTo>
                    <a:lnTo>
                      <a:pt x="421" y="8"/>
                    </a:lnTo>
                    <a:lnTo>
                      <a:pt x="421" y="8"/>
                    </a:lnTo>
                    <a:lnTo>
                      <a:pt x="421" y="0"/>
                    </a:lnTo>
                    <a:lnTo>
                      <a:pt x="421" y="0"/>
                    </a:lnTo>
                    <a:lnTo>
                      <a:pt x="418" y="7"/>
                    </a:lnTo>
                    <a:lnTo>
                      <a:pt x="413" y="13"/>
                    </a:lnTo>
                    <a:lnTo>
                      <a:pt x="406" y="19"/>
                    </a:lnTo>
                    <a:lnTo>
                      <a:pt x="398" y="25"/>
                    </a:lnTo>
                    <a:lnTo>
                      <a:pt x="389" y="31"/>
                    </a:lnTo>
                    <a:lnTo>
                      <a:pt x="379" y="37"/>
                    </a:lnTo>
                    <a:lnTo>
                      <a:pt x="366" y="41"/>
                    </a:lnTo>
                    <a:lnTo>
                      <a:pt x="353" y="47"/>
                    </a:lnTo>
                    <a:lnTo>
                      <a:pt x="338" y="50"/>
                    </a:lnTo>
                    <a:lnTo>
                      <a:pt x="322" y="54"/>
                    </a:lnTo>
                    <a:lnTo>
                      <a:pt x="289" y="61"/>
                    </a:lnTo>
                    <a:lnTo>
                      <a:pt x="251" y="64"/>
                    </a:lnTo>
                    <a:lnTo>
                      <a:pt x="212" y="65"/>
                    </a:lnTo>
                    <a:lnTo>
                      <a:pt x="212" y="65"/>
                    </a:lnTo>
                    <a:close/>
                    <a:moveTo>
                      <a:pt x="48" y="102"/>
                    </a:moveTo>
                    <a:lnTo>
                      <a:pt x="48" y="102"/>
                    </a:lnTo>
                    <a:lnTo>
                      <a:pt x="33" y="94"/>
                    </a:lnTo>
                    <a:lnTo>
                      <a:pt x="20" y="86"/>
                    </a:lnTo>
                    <a:lnTo>
                      <a:pt x="20" y="31"/>
                    </a:lnTo>
                    <a:lnTo>
                      <a:pt x="20" y="31"/>
                    </a:lnTo>
                    <a:lnTo>
                      <a:pt x="33" y="39"/>
                    </a:lnTo>
                    <a:lnTo>
                      <a:pt x="48" y="47"/>
                    </a:lnTo>
                    <a:lnTo>
                      <a:pt x="48" y="102"/>
                    </a:lnTo>
                    <a:close/>
                    <a:moveTo>
                      <a:pt x="89" y="116"/>
                    </a:moveTo>
                    <a:lnTo>
                      <a:pt x="89" y="116"/>
                    </a:lnTo>
                    <a:lnTo>
                      <a:pt x="75" y="112"/>
                    </a:lnTo>
                    <a:lnTo>
                      <a:pt x="62" y="107"/>
                    </a:lnTo>
                    <a:lnTo>
                      <a:pt x="62" y="53"/>
                    </a:lnTo>
                    <a:lnTo>
                      <a:pt x="62" y="53"/>
                    </a:lnTo>
                    <a:lnTo>
                      <a:pt x="75" y="57"/>
                    </a:lnTo>
                    <a:lnTo>
                      <a:pt x="89" y="61"/>
                    </a:lnTo>
                    <a:lnTo>
                      <a:pt x="89" y="116"/>
                    </a:lnTo>
                    <a:close/>
                    <a:moveTo>
                      <a:pt x="131" y="124"/>
                    </a:moveTo>
                    <a:lnTo>
                      <a:pt x="131" y="124"/>
                    </a:lnTo>
                    <a:lnTo>
                      <a:pt x="103" y="118"/>
                    </a:lnTo>
                    <a:lnTo>
                      <a:pt x="103" y="64"/>
                    </a:lnTo>
                    <a:lnTo>
                      <a:pt x="103" y="64"/>
                    </a:lnTo>
                    <a:lnTo>
                      <a:pt x="131" y="69"/>
                    </a:lnTo>
                    <a:lnTo>
                      <a:pt x="131" y="124"/>
                    </a:lnTo>
                    <a:close/>
                    <a:moveTo>
                      <a:pt x="385" y="97"/>
                    </a:moveTo>
                    <a:lnTo>
                      <a:pt x="385" y="97"/>
                    </a:lnTo>
                    <a:lnTo>
                      <a:pt x="372" y="102"/>
                    </a:lnTo>
                    <a:lnTo>
                      <a:pt x="357" y="108"/>
                    </a:lnTo>
                    <a:lnTo>
                      <a:pt x="357" y="54"/>
                    </a:lnTo>
                    <a:lnTo>
                      <a:pt x="357" y="54"/>
                    </a:lnTo>
                    <a:lnTo>
                      <a:pt x="372" y="48"/>
                    </a:lnTo>
                    <a:lnTo>
                      <a:pt x="385" y="42"/>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4" name="Freeform 69">
                <a:extLst>
                  <a:ext uri="{FF2B5EF4-FFF2-40B4-BE49-F238E27FC236}">
                    <a16:creationId xmlns:a16="http://schemas.microsoft.com/office/drawing/2014/main" id="{45B03DFC-ADC6-6BF6-5DFA-71C89316F90C}"/>
                  </a:ext>
                </a:extLst>
              </p:cNvPr>
              <p:cNvSpPr>
                <a:spLocks noEditPoints="1"/>
              </p:cNvSpPr>
              <p:nvPr/>
            </p:nvSpPr>
            <p:spPr bwMode="auto">
              <a:xfrm>
                <a:off x="2335213" y="2611438"/>
                <a:ext cx="111125" cy="36513"/>
              </a:xfrm>
              <a:custGeom>
                <a:avLst/>
                <a:gdLst/>
                <a:ahLst/>
                <a:cxnLst>
                  <a:cxn ang="0">
                    <a:pos x="212" y="66"/>
                  </a:cxn>
                  <a:cxn ang="0">
                    <a:pos x="134" y="60"/>
                  </a:cxn>
                  <a:cxn ang="0">
                    <a:pos x="85" y="51"/>
                  </a:cxn>
                  <a:cxn ang="0">
                    <a:pos x="56" y="41"/>
                  </a:cxn>
                  <a:cxn ang="0">
                    <a:pos x="33" y="31"/>
                  </a:cxn>
                  <a:cxn ang="0">
                    <a:pos x="15" y="19"/>
                  </a:cxn>
                  <a:cxn ang="0">
                    <a:pos x="4" y="7"/>
                  </a:cxn>
                  <a:cxn ang="0">
                    <a:pos x="2" y="0"/>
                  </a:cxn>
                  <a:cxn ang="0">
                    <a:pos x="0" y="63"/>
                  </a:cxn>
                  <a:cxn ang="0">
                    <a:pos x="2" y="70"/>
                  </a:cxn>
                  <a:cxn ang="0">
                    <a:pos x="10" y="85"/>
                  </a:cxn>
                  <a:cxn ang="0">
                    <a:pos x="26" y="98"/>
                  </a:cxn>
                  <a:cxn ang="0">
                    <a:pos x="49" y="109"/>
                  </a:cxn>
                  <a:cxn ang="0">
                    <a:pos x="77" y="120"/>
                  </a:cxn>
                  <a:cxn ang="0">
                    <a:pos x="111" y="128"/>
                  </a:cxn>
                  <a:cxn ang="0">
                    <a:pos x="148" y="134"/>
                  </a:cxn>
                  <a:cxn ang="0">
                    <a:pos x="190" y="136"/>
                  </a:cxn>
                  <a:cxn ang="0">
                    <a:pos x="212" y="136"/>
                  </a:cxn>
                  <a:cxn ang="0">
                    <a:pos x="254" y="135"/>
                  </a:cxn>
                  <a:cxn ang="0">
                    <a:pos x="293" y="130"/>
                  </a:cxn>
                  <a:cxn ang="0">
                    <a:pos x="329" y="124"/>
                  </a:cxn>
                  <a:cxn ang="0">
                    <a:pos x="360" y="115"/>
                  </a:cxn>
                  <a:cxn ang="0">
                    <a:pos x="386" y="104"/>
                  </a:cxn>
                  <a:cxn ang="0">
                    <a:pos x="405" y="92"/>
                  </a:cxn>
                  <a:cxn ang="0">
                    <a:pos x="418" y="78"/>
                  </a:cxn>
                  <a:cxn ang="0">
                    <a:pos x="421" y="63"/>
                  </a:cxn>
                  <a:cxn ang="0">
                    <a:pos x="421" y="8"/>
                  </a:cxn>
                  <a:cxn ang="0">
                    <a:pos x="421" y="0"/>
                  </a:cxn>
                  <a:cxn ang="0">
                    <a:pos x="413" y="14"/>
                  </a:cxn>
                  <a:cxn ang="0">
                    <a:pos x="398" y="25"/>
                  </a:cxn>
                  <a:cxn ang="0">
                    <a:pos x="379" y="37"/>
                  </a:cxn>
                  <a:cxn ang="0">
                    <a:pos x="353" y="46"/>
                  </a:cxn>
                  <a:cxn ang="0">
                    <a:pos x="322" y="54"/>
                  </a:cxn>
                  <a:cxn ang="0">
                    <a:pos x="251" y="64"/>
                  </a:cxn>
                  <a:cxn ang="0">
                    <a:pos x="212" y="66"/>
                  </a:cxn>
                  <a:cxn ang="0">
                    <a:pos x="48" y="101"/>
                  </a:cxn>
                  <a:cxn ang="0">
                    <a:pos x="20" y="85"/>
                  </a:cxn>
                  <a:cxn ang="0">
                    <a:pos x="20" y="31"/>
                  </a:cxn>
                  <a:cxn ang="0">
                    <a:pos x="48" y="47"/>
                  </a:cxn>
                  <a:cxn ang="0">
                    <a:pos x="89" y="116"/>
                  </a:cxn>
                  <a:cxn ang="0">
                    <a:pos x="75" y="112"/>
                  </a:cxn>
                  <a:cxn ang="0">
                    <a:pos x="62" y="53"/>
                  </a:cxn>
                  <a:cxn ang="0">
                    <a:pos x="75" y="57"/>
                  </a:cxn>
                  <a:cxn ang="0">
                    <a:pos x="89" y="116"/>
                  </a:cxn>
                  <a:cxn ang="0">
                    <a:pos x="131" y="124"/>
                  </a:cxn>
                  <a:cxn ang="0">
                    <a:pos x="103" y="64"/>
                  </a:cxn>
                  <a:cxn ang="0">
                    <a:pos x="131" y="69"/>
                  </a:cxn>
                  <a:cxn ang="0">
                    <a:pos x="385" y="97"/>
                  </a:cxn>
                  <a:cxn ang="0">
                    <a:pos x="372" y="102"/>
                  </a:cxn>
                  <a:cxn ang="0">
                    <a:pos x="357" y="54"/>
                  </a:cxn>
                  <a:cxn ang="0">
                    <a:pos x="372" y="48"/>
                  </a:cxn>
                  <a:cxn ang="0">
                    <a:pos x="385" y="97"/>
                  </a:cxn>
                </a:cxnLst>
                <a:rect l="0" t="0" r="r" b="b"/>
                <a:pathLst>
                  <a:path w="421" h="136">
                    <a:moveTo>
                      <a:pt x="212" y="66"/>
                    </a:moveTo>
                    <a:lnTo>
                      <a:pt x="212" y="66"/>
                    </a:lnTo>
                    <a:lnTo>
                      <a:pt x="171" y="64"/>
                    </a:lnTo>
                    <a:lnTo>
                      <a:pt x="134" y="60"/>
                    </a:lnTo>
                    <a:lnTo>
                      <a:pt x="100" y="54"/>
                    </a:lnTo>
                    <a:lnTo>
                      <a:pt x="85" y="51"/>
                    </a:lnTo>
                    <a:lnTo>
                      <a:pt x="70" y="46"/>
                    </a:lnTo>
                    <a:lnTo>
                      <a:pt x="56" y="41"/>
                    </a:lnTo>
                    <a:lnTo>
                      <a:pt x="44" y="37"/>
                    </a:lnTo>
                    <a:lnTo>
                      <a:pt x="33" y="31"/>
                    </a:lnTo>
                    <a:lnTo>
                      <a:pt x="23" y="25"/>
                    </a:lnTo>
                    <a:lnTo>
                      <a:pt x="15" y="19"/>
                    </a:lnTo>
                    <a:lnTo>
                      <a:pt x="10" y="14"/>
                    </a:lnTo>
                    <a:lnTo>
                      <a:pt x="4" y="7"/>
                    </a:lnTo>
                    <a:lnTo>
                      <a:pt x="2" y="0"/>
                    </a:lnTo>
                    <a:lnTo>
                      <a:pt x="2" y="0"/>
                    </a:lnTo>
                    <a:lnTo>
                      <a:pt x="0" y="8"/>
                    </a:lnTo>
                    <a:lnTo>
                      <a:pt x="0" y="63"/>
                    </a:lnTo>
                    <a:lnTo>
                      <a:pt x="0" y="63"/>
                    </a:lnTo>
                    <a:lnTo>
                      <a:pt x="2" y="70"/>
                    </a:lnTo>
                    <a:lnTo>
                      <a:pt x="5" y="78"/>
                    </a:lnTo>
                    <a:lnTo>
                      <a:pt x="10" y="85"/>
                    </a:lnTo>
                    <a:lnTo>
                      <a:pt x="17" y="92"/>
                    </a:lnTo>
                    <a:lnTo>
                      <a:pt x="26" y="98"/>
                    </a:lnTo>
                    <a:lnTo>
                      <a:pt x="36" y="104"/>
                    </a:lnTo>
                    <a:lnTo>
                      <a:pt x="49" y="109"/>
                    </a:lnTo>
                    <a:lnTo>
                      <a:pt x="62" y="115"/>
                    </a:lnTo>
                    <a:lnTo>
                      <a:pt x="77" y="120"/>
                    </a:lnTo>
                    <a:lnTo>
                      <a:pt x="94" y="124"/>
                    </a:lnTo>
                    <a:lnTo>
                      <a:pt x="111" y="128"/>
                    </a:lnTo>
                    <a:lnTo>
                      <a:pt x="130" y="130"/>
                    </a:lnTo>
                    <a:lnTo>
                      <a:pt x="148" y="134"/>
                    </a:lnTo>
                    <a:lnTo>
                      <a:pt x="169" y="135"/>
                    </a:lnTo>
                    <a:lnTo>
                      <a:pt x="190" y="136"/>
                    </a:lnTo>
                    <a:lnTo>
                      <a:pt x="212" y="136"/>
                    </a:lnTo>
                    <a:lnTo>
                      <a:pt x="212" y="136"/>
                    </a:lnTo>
                    <a:lnTo>
                      <a:pt x="232" y="136"/>
                    </a:lnTo>
                    <a:lnTo>
                      <a:pt x="254" y="135"/>
                    </a:lnTo>
                    <a:lnTo>
                      <a:pt x="274" y="134"/>
                    </a:lnTo>
                    <a:lnTo>
                      <a:pt x="293" y="130"/>
                    </a:lnTo>
                    <a:lnTo>
                      <a:pt x="312" y="128"/>
                    </a:lnTo>
                    <a:lnTo>
                      <a:pt x="329" y="124"/>
                    </a:lnTo>
                    <a:lnTo>
                      <a:pt x="345" y="120"/>
                    </a:lnTo>
                    <a:lnTo>
                      <a:pt x="360" y="115"/>
                    </a:lnTo>
                    <a:lnTo>
                      <a:pt x="374" y="109"/>
                    </a:lnTo>
                    <a:lnTo>
                      <a:pt x="386" y="104"/>
                    </a:lnTo>
                    <a:lnTo>
                      <a:pt x="396" y="98"/>
                    </a:lnTo>
                    <a:lnTo>
                      <a:pt x="405" y="92"/>
                    </a:lnTo>
                    <a:lnTo>
                      <a:pt x="412" y="85"/>
                    </a:lnTo>
                    <a:lnTo>
                      <a:pt x="418" y="78"/>
                    </a:lnTo>
                    <a:lnTo>
                      <a:pt x="421" y="70"/>
                    </a:lnTo>
                    <a:lnTo>
                      <a:pt x="421" y="63"/>
                    </a:lnTo>
                    <a:lnTo>
                      <a:pt x="421" y="8"/>
                    </a:lnTo>
                    <a:lnTo>
                      <a:pt x="421" y="8"/>
                    </a:lnTo>
                    <a:lnTo>
                      <a:pt x="421" y="0"/>
                    </a:lnTo>
                    <a:lnTo>
                      <a:pt x="421" y="0"/>
                    </a:lnTo>
                    <a:lnTo>
                      <a:pt x="418" y="7"/>
                    </a:lnTo>
                    <a:lnTo>
                      <a:pt x="413" y="14"/>
                    </a:lnTo>
                    <a:lnTo>
                      <a:pt x="406" y="19"/>
                    </a:lnTo>
                    <a:lnTo>
                      <a:pt x="398" y="25"/>
                    </a:lnTo>
                    <a:lnTo>
                      <a:pt x="389" y="31"/>
                    </a:lnTo>
                    <a:lnTo>
                      <a:pt x="379" y="37"/>
                    </a:lnTo>
                    <a:lnTo>
                      <a:pt x="366" y="41"/>
                    </a:lnTo>
                    <a:lnTo>
                      <a:pt x="353" y="46"/>
                    </a:lnTo>
                    <a:lnTo>
                      <a:pt x="338" y="51"/>
                    </a:lnTo>
                    <a:lnTo>
                      <a:pt x="322" y="54"/>
                    </a:lnTo>
                    <a:lnTo>
                      <a:pt x="289" y="60"/>
                    </a:lnTo>
                    <a:lnTo>
                      <a:pt x="251" y="64"/>
                    </a:lnTo>
                    <a:lnTo>
                      <a:pt x="212" y="66"/>
                    </a:lnTo>
                    <a:lnTo>
                      <a:pt x="212" y="66"/>
                    </a:lnTo>
                    <a:close/>
                    <a:moveTo>
                      <a:pt x="48" y="101"/>
                    </a:moveTo>
                    <a:lnTo>
                      <a:pt x="48" y="101"/>
                    </a:lnTo>
                    <a:lnTo>
                      <a:pt x="33" y="94"/>
                    </a:lnTo>
                    <a:lnTo>
                      <a:pt x="20" y="85"/>
                    </a:lnTo>
                    <a:lnTo>
                      <a:pt x="20" y="31"/>
                    </a:lnTo>
                    <a:lnTo>
                      <a:pt x="20" y="31"/>
                    </a:lnTo>
                    <a:lnTo>
                      <a:pt x="33" y="39"/>
                    </a:lnTo>
                    <a:lnTo>
                      <a:pt x="48" y="47"/>
                    </a:lnTo>
                    <a:lnTo>
                      <a:pt x="48" y="101"/>
                    </a:lnTo>
                    <a:close/>
                    <a:moveTo>
                      <a:pt x="89" y="116"/>
                    </a:moveTo>
                    <a:lnTo>
                      <a:pt x="89" y="116"/>
                    </a:lnTo>
                    <a:lnTo>
                      <a:pt x="75" y="112"/>
                    </a:lnTo>
                    <a:lnTo>
                      <a:pt x="62" y="107"/>
                    </a:lnTo>
                    <a:lnTo>
                      <a:pt x="62" y="53"/>
                    </a:lnTo>
                    <a:lnTo>
                      <a:pt x="62" y="53"/>
                    </a:lnTo>
                    <a:lnTo>
                      <a:pt x="75" y="57"/>
                    </a:lnTo>
                    <a:lnTo>
                      <a:pt x="89" y="61"/>
                    </a:lnTo>
                    <a:lnTo>
                      <a:pt x="89" y="116"/>
                    </a:lnTo>
                    <a:close/>
                    <a:moveTo>
                      <a:pt x="131" y="124"/>
                    </a:moveTo>
                    <a:lnTo>
                      <a:pt x="131" y="124"/>
                    </a:lnTo>
                    <a:lnTo>
                      <a:pt x="103" y="119"/>
                    </a:lnTo>
                    <a:lnTo>
                      <a:pt x="103" y="64"/>
                    </a:lnTo>
                    <a:lnTo>
                      <a:pt x="103" y="64"/>
                    </a:lnTo>
                    <a:lnTo>
                      <a:pt x="131" y="69"/>
                    </a:lnTo>
                    <a:lnTo>
                      <a:pt x="131" y="124"/>
                    </a:lnTo>
                    <a:close/>
                    <a:moveTo>
                      <a:pt x="385" y="97"/>
                    </a:moveTo>
                    <a:lnTo>
                      <a:pt x="385" y="97"/>
                    </a:lnTo>
                    <a:lnTo>
                      <a:pt x="372" y="102"/>
                    </a:lnTo>
                    <a:lnTo>
                      <a:pt x="357" y="108"/>
                    </a:lnTo>
                    <a:lnTo>
                      <a:pt x="357" y="54"/>
                    </a:lnTo>
                    <a:lnTo>
                      <a:pt x="357" y="54"/>
                    </a:lnTo>
                    <a:lnTo>
                      <a:pt x="372" y="48"/>
                    </a:lnTo>
                    <a:lnTo>
                      <a:pt x="385" y="42"/>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5" name="Freeform 70">
                <a:extLst>
                  <a:ext uri="{FF2B5EF4-FFF2-40B4-BE49-F238E27FC236}">
                    <a16:creationId xmlns:a16="http://schemas.microsoft.com/office/drawing/2014/main" id="{2A9A21B9-F3DA-0476-9605-F2B6603DBBDB}"/>
                  </a:ext>
                </a:extLst>
              </p:cNvPr>
              <p:cNvSpPr>
                <a:spLocks noEditPoints="1"/>
              </p:cNvSpPr>
              <p:nvPr/>
            </p:nvSpPr>
            <p:spPr bwMode="auto">
              <a:xfrm>
                <a:off x="2335213" y="2635250"/>
                <a:ext cx="111125" cy="36513"/>
              </a:xfrm>
              <a:custGeom>
                <a:avLst/>
                <a:gdLst/>
                <a:ahLst/>
                <a:cxnLst>
                  <a:cxn ang="0">
                    <a:pos x="212" y="66"/>
                  </a:cxn>
                  <a:cxn ang="0">
                    <a:pos x="134" y="60"/>
                  </a:cxn>
                  <a:cxn ang="0">
                    <a:pos x="85" y="51"/>
                  </a:cxn>
                  <a:cxn ang="0">
                    <a:pos x="56" y="41"/>
                  </a:cxn>
                  <a:cxn ang="0">
                    <a:pos x="33" y="31"/>
                  </a:cxn>
                  <a:cxn ang="0">
                    <a:pos x="15" y="20"/>
                  </a:cxn>
                  <a:cxn ang="0">
                    <a:pos x="4" y="7"/>
                  </a:cxn>
                  <a:cxn ang="0">
                    <a:pos x="2" y="0"/>
                  </a:cxn>
                  <a:cxn ang="0">
                    <a:pos x="0" y="63"/>
                  </a:cxn>
                  <a:cxn ang="0">
                    <a:pos x="2" y="70"/>
                  </a:cxn>
                  <a:cxn ang="0">
                    <a:pos x="10" y="85"/>
                  </a:cxn>
                  <a:cxn ang="0">
                    <a:pos x="26" y="98"/>
                  </a:cxn>
                  <a:cxn ang="0">
                    <a:pos x="49" y="110"/>
                  </a:cxn>
                  <a:cxn ang="0">
                    <a:pos x="77" y="120"/>
                  </a:cxn>
                  <a:cxn ang="0">
                    <a:pos x="111" y="128"/>
                  </a:cxn>
                  <a:cxn ang="0">
                    <a:pos x="148" y="133"/>
                  </a:cxn>
                  <a:cxn ang="0">
                    <a:pos x="190" y="136"/>
                  </a:cxn>
                  <a:cxn ang="0">
                    <a:pos x="212" y="136"/>
                  </a:cxn>
                  <a:cxn ang="0">
                    <a:pos x="254" y="135"/>
                  </a:cxn>
                  <a:cxn ang="0">
                    <a:pos x="293" y="130"/>
                  </a:cxn>
                  <a:cxn ang="0">
                    <a:pos x="329" y="123"/>
                  </a:cxn>
                  <a:cxn ang="0">
                    <a:pos x="360" y="115"/>
                  </a:cxn>
                  <a:cxn ang="0">
                    <a:pos x="386" y="104"/>
                  </a:cxn>
                  <a:cxn ang="0">
                    <a:pos x="405" y="91"/>
                  </a:cxn>
                  <a:cxn ang="0">
                    <a:pos x="418" y="78"/>
                  </a:cxn>
                  <a:cxn ang="0">
                    <a:pos x="421" y="63"/>
                  </a:cxn>
                  <a:cxn ang="0">
                    <a:pos x="421" y="7"/>
                  </a:cxn>
                  <a:cxn ang="0">
                    <a:pos x="421" y="0"/>
                  </a:cxn>
                  <a:cxn ang="0">
                    <a:pos x="413" y="13"/>
                  </a:cxn>
                  <a:cxn ang="0">
                    <a:pos x="398" y="25"/>
                  </a:cxn>
                  <a:cxn ang="0">
                    <a:pos x="379" y="37"/>
                  </a:cxn>
                  <a:cxn ang="0">
                    <a:pos x="353" y="46"/>
                  </a:cxn>
                  <a:cxn ang="0">
                    <a:pos x="322" y="54"/>
                  </a:cxn>
                  <a:cxn ang="0">
                    <a:pos x="251" y="65"/>
                  </a:cxn>
                  <a:cxn ang="0">
                    <a:pos x="212" y="66"/>
                  </a:cxn>
                  <a:cxn ang="0">
                    <a:pos x="48" y="101"/>
                  </a:cxn>
                  <a:cxn ang="0">
                    <a:pos x="20" y="85"/>
                  </a:cxn>
                  <a:cxn ang="0">
                    <a:pos x="20" y="31"/>
                  </a:cxn>
                  <a:cxn ang="0">
                    <a:pos x="48" y="47"/>
                  </a:cxn>
                  <a:cxn ang="0">
                    <a:pos x="89" y="115"/>
                  </a:cxn>
                  <a:cxn ang="0">
                    <a:pos x="75" y="112"/>
                  </a:cxn>
                  <a:cxn ang="0">
                    <a:pos x="62" y="53"/>
                  </a:cxn>
                  <a:cxn ang="0">
                    <a:pos x="75" y="56"/>
                  </a:cxn>
                  <a:cxn ang="0">
                    <a:pos x="89" y="115"/>
                  </a:cxn>
                  <a:cxn ang="0">
                    <a:pos x="131" y="125"/>
                  </a:cxn>
                  <a:cxn ang="0">
                    <a:pos x="103" y="65"/>
                  </a:cxn>
                  <a:cxn ang="0">
                    <a:pos x="131" y="69"/>
                  </a:cxn>
                  <a:cxn ang="0">
                    <a:pos x="385" y="97"/>
                  </a:cxn>
                  <a:cxn ang="0">
                    <a:pos x="372" y="103"/>
                  </a:cxn>
                  <a:cxn ang="0">
                    <a:pos x="357" y="54"/>
                  </a:cxn>
                  <a:cxn ang="0">
                    <a:pos x="372" y="48"/>
                  </a:cxn>
                  <a:cxn ang="0">
                    <a:pos x="385" y="97"/>
                  </a:cxn>
                </a:cxnLst>
                <a:rect l="0" t="0" r="r" b="b"/>
                <a:pathLst>
                  <a:path w="421" h="136">
                    <a:moveTo>
                      <a:pt x="212" y="66"/>
                    </a:moveTo>
                    <a:lnTo>
                      <a:pt x="212" y="66"/>
                    </a:lnTo>
                    <a:lnTo>
                      <a:pt x="171" y="65"/>
                    </a:lnTo>
                    <a:lnTo>
                      <a:pt x="134" y="60"/>
                    </a:lnTo>
                    <a:lnTo>
                      <a:pt x="100" y="54"/>
                    </a:lnTo>
                    <a:lnTo>
                      <a:pt x="85" y="51"/>
                    </a:lnTo>
                    <a:lnTo>
                      <a:pt x="70" y="46"/>
                    </a:lnTo>
                    <a:lnTo>
                      <a:pt x="56" y="41"/>
                    </a:lnTo>
                    <a:lnTo>
                      <a:pt x="44" y="37"/>
                    </a:lnTo>
                    <a:lnTo>
                      <a:pt x="33" y="31"/>
                    </a:lnTo>
                    <a:lnTo>
                      <a:pt x="23" y="25"/>
                    </a:lnTo>
                    <a:lnTo>
                      <a:pt x="15" y="20"/>
                    </a:lnTo>
                    <a:lnTo>
                      <a:pt x="10" y="13"/>
                    </a:lnTo>
                    <a:lnTo>
                      <a:pt x="4" y="7"/>
                    </a:lnTo>
                    <a:lnTo>
                      <a:pt x="2" y="0"/>
                    </a:lnTo>
                    <a:lnTo>
                      <a:pt x="2" y="0"/>
                    </a:lnTo>
                    <a:lnTo>
                      <a:pt x="0" y="7"/>
                    </a:lnTo>
                    <a:lnTo>
                      <a:pt x="0" y="63"/>
                    </a:lnTo>
                    <a:lnTo>
                      <a:pt x="0" y="63"/>
                    </a:lnTo>
                    <a:lnTo>
                      <a:pt x="2" y="70"/>
                    </a:lnTo>
                    <a:lnTo>
                      <a:pt x="5" y="78"/>
                    </a:lnTo>
                    <a:lnTo>
                      <a:pt x="10" y="85"/>
                    </a:lnTo>
                    <a:lnTo>
                      <a:pt x="17" y="91"/>
                    </a:lnTo>
                    <a:lnTo>
                      <a:pt x="26" y="98"/>
                    </a:lnTo>
                    <a:lnTo>
                      <a:pt x="36" y="104"/>
                    </a:lnTo>
                    <a:lnTo>
                      <a:pt x="49" y="110"/>
                    </a:lnTo>
                    <a:lnTo>
                      <a:pt x="62" y="115"/>
                    </a:lnTo>
                    <a:lnTo>
                      <a:pt x="77" y="120"/>
                    </a:lnTo>
                    <a:lnTo>
                      <a:pt x="94" y="123"/>
                    </a:lnTo>
                    <a:lnTo>
                      <a:pt x="111" y="128"/>
                    </a:lnTo>
                    <a:lnTo>
                      <a:pt x="130" y="130"/>
                    </a:lnTo>
                    <a:lnTo>
                      <a:pt x="148" y="133"/>
                    </a:lnTo>
                    <a:lnTo>
                      <a:pt x="169" y="135"/>
                    </a:lnTo>
                    <a:lnTo>
                      <a:pt x="190" y="136"/>
                    </a:lnTo>
                    <a:lnTo>
                      <a:pt x="212" y="136"/>
                    </a:lnTo>
                    <a:lnTo>
                      <a:pt x="212" y="136"/>
                    </a:lnTo>
                    <a:lnTo>
                      <a:pt x="232" y="136"/>
                    </a:lnTo>
                    <a:lnTo>
                      <a:pt x="254" y="135"/>
                    </a:lnTo>
                    <a:lnTo>
                      <a:pt x="274" y="133"/>
                    </a:lnTo>
                    <a:lnTo>
                      <a:pt x="293" y="130"/>
                    </a:lnTo>
                    <a:lnTo>
                      <a:pt x="312" y="128"/>
                    </a:lnTo>
                    <a:lnTo>
                      <a:pt x="329" y="123"/>
                    </a:lnTo>
                    <a:lnTo>
                      <a:pt x="345" y="120"/>
                    </a:lnTo>
                    <a:lnTo>
                      <a:pt x="360" y="115"/>
                    </a:lnTo>
                    <a:lnTo>
                      <a:pt x="374" y="110"/>
                    </a:lnTo>
                    <a:lnTo>
                      <a:pt x="386" y="104"/>
                    </a:lnTo>
                    <a:lnTo>
                      <a:pt x="396" y="98"/>
                    </a:lnTo>
                    <a:lnTo>
                      <a:pt x="405" y="91"/>
                    </a:lnTo>
                    <a:lnTo>
                      <a:pt x="412" y="85"/>
                    </a:lnTo>
                    <a:lnTo>
                      <a:pt x="418" y="78"/>
                    </a:lnTo>
                    <a:lnTo>
                      <a:pt x="421" y="70"/>
                    </a:lnTo>
                    <a:lnTo>
                      <a:pt x="421" y="63"/>
                    </a:lnTo>
                    <a:lnTo>
                      <a:pt x="421" y="7"/>
                    </a:lnTo>
                    <a:lnTo>
                      <a:pt x="421" y="7"/>
                    </a:lnTo>
                    <a:lnTo>
                      <a:pt x="421" y="0"/>
                    </a:lnTo>
                    <a:lnTo>
                      <a:pt x="421" y="0"/>
                    </a:lnTo>
                    <a:lnTo>
                      <a:pt x="418" y="7"/>
                    </a:lnTo>
                    <a:lnTo>
                      <a:pt x="413" y="13"/>
                    </a:lnTo>
                    <a:lnTo>
                      <a:pt x="406" y="20"/>
                    </a:lnTo>
                    <a:lnTo>
                      <a:pt x="398" y="25"/>
                    </a:lnTo>
                    <a:lnTo>
                      <a:pt x="389" y="31"/>
                    </a:lnTo>
                    <a:lnTo>
                      <a:pt x="379" y="37"/>
                    </a:lnTo>
                    <a:lnTo>
                      <a:pt x="366" y="41"/>
                    </a:lnTo>
                    <a:lnTo>
                      <a:pt x="353" y="46"/>
                    </a:lnTo>
                    <a:lnTo>
                      <a:pt x="338" y="51"/>
                    </a:lnTo>
                    <a:lnTo>
                      <a:pt x="322" y="54"/>
                    </a:lnTo>
                    <a:lnTo>
                      <a:pt x="289" y="60"/>
                    </a:lnTo>
                    <a:lnTo>
                      <a:pt x="251" y="65"/>
                    </a:lnTo>
                    <a:lnTo>
                      <a:pt x="212" y="66"/>
                    </a:lnTo>
                    <a:lnTo>
                      <a:pt x="212" y="66"/>
                    </a:lnTo>
                    <a:close/>
                    <a:moveTo>
                      <a:pt x="48" y="101"/>
                    </a:moveTo>
                    <a:lnTo>
                      <a:pt x="48" y="101"/>
                    </a:lnTo>
                    <a:lnTo>
                      <a:pt x="33" y="95"/>
                    </a:lnTo>
                    <a:lnTo>
                      <a:pt x="20" y="85"/>
                    </a:lnTo>
                    <a:lnTo>
                      <a:pt x="20" y="31"/>
                    </a:lnTo>
                    <a:lnTo>
                      <a:pt x="20" y="31"/>
                    </a:lnTo>
                    <a:lnTo>
                      <a:pt x="33" y="39"/>
                    </a:lnTo>
                    <a:lnTo>
                      <a:pt x="48" y="47"/>
                    </a:lnTo>
                    <a:lnTo>
                      <a:pt x="48" y="101"/>
                    </a:lnTo>
                    <a:close/>
                    <a:moveTo>
                      <a:pt x="89" y="115"/>
                    </a:moveTo>
                    <a:lnTo>
                      <a:pt x="89" y="115"/>
                    </a:lnTo>
                    <a:lnTo>
                      <a:pt x="75" y="112"/>
                    </a:lnTo>
                    <a:lnTo>
                      <a:pt x="62" y="107"/>
                    </a:lnTo>
                    <a:lnTo>
                      <a:pt x="62" y="53"/>
                    </a:lnTo>
                    <a:lnTo>
                      <a:pt x="62" y="53"/>
                    </a:lnTo>
                    <a:lnTo>
                      <a:pt x="75" y="56"/>
                    </a:lnTo>
                    <a:lnTo>
                      <a:pt x="89" y="61"/>
                    </a:lnTo>
                    <a:lnTo>
                      <a:pt x="89" y="115"/>
                    </a:lnTo>
                    <a:close/>
                    <a:moveTo>
                      <a:pt x="131" y="125"/>
                    </a:moveTo>
                    <a:lnTo>
                      <a:pt x="131" y="125"/>
                    </a:lnTo>
                    <a:lnTo>
                      <a:pt x="103" y="119"/>
                    </a:lnTo>
                    <a:lnTo>
                      <a:pt x="103" y="65"/>
                    </a:lnTo>
                    <a:lnTo>
                      <a:pt x="103" y="65"/>
                    </a:lnTo>
                    <a:lnTo>
                      <a:pt x="131" y="69"/>
                    </a:lnTo>
                    <a:lnTo>
                      <a:pt x="131" y="125"/>
                    </a:lnTo>
                    <a:close/>
                    <a:moveTo>
                      <a:pt x="385" y="97"/>
                    </a:moveTo>
                    <a:lnTo>
                      <a:pt x="385" y="97"/>
                    </a:lnTo>
                    <a:lnTo>
                      <a:pt x="372" y="103"/>
                    </a:lnTo>
                    <a:lnTo>
                      <a:pt x="357" y="108"/>
                    </a:lnTo>
                    <a:lnTo>
                      <a:pt x="357" y="54"/>
                    </a:lnTo>
                    <a:lnTo>
                      <a:pt x="357" y="54"/>
                    </a:lnTo>
                    <a:lnTo>
                      <a:pt x="372" y="48"/>
                    </a:lnTo>
                    <a:lnTo>
                      <a:pt x="385" y="43"/>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6" name="Freeform 71">
                <a:extLst>
                  <a:ext uri="{FF2B5EF4-FFF2-40B4-BE49-F238E27FC236}">
                    <a16:creationId xmlns:a16="http://schemas.microsoft.com/office/drawing/2014/main" id="{50F27128-992E-0C6A-5CE7-64B8D5F2BB8B}"/>
                  </a:ext>
                </a:extLst>
              </p:cNvPr>
              <p:cNvSpPr>
                <a:spLocks noEditPoints="1"/>
              </p:cNvSpPr>
              <p:nvPr/>
            </p:nvSpPr>
            <p:spPr bwMode="auto">
              <a:xfrm>
                <a:off x="2335213" y="2660650"/>
                <a:ext cx="111125" cy="34925"/>
              </a:xfrm>
              <a:custGeom>
                <a:avLst/>
                <a:gdLst/>
                <a:ahLst/>
                <a:cxnLst>
                  <a:cxn ang="0">
                    <a:pos x="212" y="66"/>
                  </a:cxn>
                  <a:cxn ang="0">
                    <a:pos x="134" y="60"/>
                  </a:cxn>
                  <a:cxn ang="0">
                    <a:pos x="85" y="51"/>
                  </a:cxn>
                  <a:cxn ang="0">
                    <a:pos x="56" y="42"/>
                  </a:cxn>
                  <a:cxn ang="0">
                    <a:pos x="33" y="31"/>
                  </a:cxn>
                  <a:cxn ang="0">
                    <a:pos x="15" y="20"/>
                  </a:cxn>
                  <a:cxn ang="0">
                    <a:pos x="4" y="7"/>
                  </a:cxn>
                  <a:cxn ang="0">
                    <a:pos x="2" y="0"/>
                  </a:cxn>
                  <a:cxn ang="0">
                    <a:pos x="0" y="64"/>
                  </a:cxn>
                  <a:cxn ang="0">
                    <a:pos x="2" y="70"/>
                  </a:cxn>
                  <a:cxn ang="0">
                    <a:pos x="10" y="85"/>
                  </a:cxn>
                  <a:cxn ang="0">
                    <a:pos x="26" y="98"/>
                  </a:cxn>
                  <a:cxn ang="0">
                    <a:pos x="49" y="110"/>
                  </a:cxn>
                  <a:cxn ang="0">
                    <a:pos x="77" y="120"/>
                  </a:cxn>
                  <a:cxn ang="0">
                    <a:pos x="111" y="127"/>
                  </a:cxn>
                  <a:cxn ang="0">
                    <a:pos x="148" y="133"/>
                  </a:cxn>
                  <a:cxn ang="0">
                    <a:pos x="190" y="136"/>
                  </a:cxn>
                  <a:cxn ang="0">
                    <a:pos x="212" y="136"/>
                  </a:cxn>
                  <a:cxn ang="0">
                    <a:pos x="254" y="135"/>
                  </a:cxn>
                  <a:cxn ang="0">
                    <a:pos x="293" y="130"/>
                  </a:cxn>
                  <a:cxn ang="0">
                    <a:pos x="329" y="124"/>
                  </a:cxn>
                  <a:cxn ang="0">
                    <a:pos x="360" y="115"/>
                  </a:cxn>
                  <a:cxn ang="0">
                    <a:pos x="386" y="104"/>
                  </a:cxn>
                  <a:cxn ang="0">
                    <a:pos x="405" y="91"/>
                  </a:cxn>
                  <a:cxn ang="0">
                    <a:pos x="418" y="77"/>
                  </a:cxn>
                  <a:cxn ang="0">
                    <a:pos x="421" y="64"/>
                  </a:cxn>
                  <a:cxn ang="0">
                    <a:pos x="421" y="7"/>
                  </a:cxn>
                  <a:cxn ang="0">
                    <a:pos x="421" y="0"/>
                  </a:cxn>
                  <a:cxn ang="0">
                    <a:pos x="413" y="13"/>
                  </a:cxn>
                  <a:cxn ang="0">
                    <a:pos x="398" y="25"/>
                  </a:cxn>
                  <a:cxn ang="0">
                    <a:pos x="379" y="37"/>
                  </a:cxn>
                  <a:cxn ang="0">
                    <a:pos x="353" y="46"/>
                  </a:cxn>
                  <a:cxn ang="0">
                    <a:pos x="322" y="54"/>
                  </a:cxn>
                  <a:cxn ang="0">
                    <a:pos x="251" y="65"/>
                  </a:cxn>
                  <a:cxn ang="0">
                    <a:pos x="212" y="66"/>
                  </a:cxn>
                  <a:cxn ang="0">
                    <a:pos x="48" y="102"/>
                  </a:cxn>
                  <a:cxn ang="0">
                    <a:pos x="20" y="85"/>
                  </a:cxn>
                  <a:cxn ang="0">
                    <a:pos x="20" y="31"/>
                  </a:cxn>
                  <a:cxn ang="0">
                    <a:pos x="48" y="47"/>
                  </a:cxn>
                  <a:cxn ang="0">
                    <a:pos x="89" y="115"/>
                  </a:cxn>
                  <a:cxn ang="0">
                    <a:pos x="75" y="112"/>
                  </a:cxn>
                  <a:cxn ang="0">
                    <a:pos x="62" y="52"/>
                  </a:cxn>
                  <a:cxn ang="0">
                    <a:pos x="75" y="57"/>
                  </a:cxn>
                  <a:cxn ang="0">
                    <a:pos x="89" y="115"/>
                  </a:cxn>
                  <a:cxn ang="0">
                    <a:pos x="131" y="124"/>
                  </a:cxn>
                  <a:cxn ang="0">
                    <a:pos x="103" y="65"/>
                  </a:cxn>
                  <a:cxn ang="0">
                    <a:pos x="131" y="69"/>
                  </a:cxn>
                  <a:cxn ang="0">
                    <a:pos x="385" y="97"/>
                  </a:cxn>
                  <a:cxn ang="0">
                    <a:pos x="372" y="103"/>
                  </a:cxn>
                  <a:cxn ang="0">
                    <a:pos x="357" y="54"/>
                  </a:cxn>
                  <a:cxn ang="0">
                    <a:pos x="372" y="49"/>
                  </a:cxn>
                  <a:cxn ang="0">
                    <a:pos x="385" y="97"/>
                  </a:cxn>
                </a:cxnLst>
                <a:rect l="0" t="0" r="r" b="b"/>
                <a:pathLst>
                  <a:path w="421" h="136">
                    <a:moveTo>
                      <a:pt x="212" y="66"/>
                    </a:moveTo>
                    <a:lnTo>
                      <a:pt x="212" y="66"/>
                    </a:lnTo>
                    <a:lnTo>
                      <a:pt x="171" y="65"/>
                    </a:lnTo>
                    <a:lnTo>
                      <a:pt x="134" y="60"/>
                    </a:lnTo>
                    <a:lnTo>
                      <a:pt x="100" y="54"/>
                    </a:lnTo>
                    <a:lnTo>
                      <a:pt x="85" y="51"/>
                    </a:lnTo>
                    <a:lnTo>
                      <a:pt x="70" y="46"/>
                    </a:lnTo>
                    <a:lnTo>
                      <a:pt x="56" y="42"/>
                    </a:lnTo>
                    <a:lnTo>
                      <a:pt x="44" y="37"/>
                    </a:lnTo>
                    <a:lnTo>
                      <a:pt x="33" y="31"/>
                    </a:lnTo>
                    <a:lnTo>
                      <a:pt x="23" y="25"/>
                    </a:lnTo>
                    <a:lnTo>
                      <a:pt x="15" y="20"/>
                    </a:lnTo>
                    <a:lnTo>
                      <a:pt x="10" y="13"/>
                    </a:lnTo>
                    <a:lnTo>
                      <a:pt x="4" y="7"/>
                    </a:lnTo>
                    <a:lnTo>
                      <a:pt x="2" y="0"/>
                    </a:lnTo>
                    <a:lnTo>
                      <a:pt x="2" y="0"/>
                    </a:lnTo>
                    <a:lnTo>
                      <a:pt x="0" y="7"/>
                    </a:lnTo>
                    <a:lnTo>
                      <a:pt x="0" y="64"/>
                    </a:lnTo>
                    <a:lnTo>
                      <a:pt x="0" y="64"/>
                    </a:lnTo>
                    <a:lnTo>
                      <a:pt x="2" y="70"/>
                    </a:lnTo>
                    <a:lnTo>
                      <a:pt x="5" y="77"/>
                    </a:lnTo>
                    <a:lnTo>
                      <a:pt x="10" y="85"/>
                    </a:lnTo>
                    <a:lnTo>
                      <a:pt x="17" y="91"/>
                    </a:lnTo>
                    <a:lnTo>
                      <a:pt x="26" y="98"/>
                    </a:lnTo>
                    <a:lnTo>
                      <a:pt x="36" y="104"/>
                    </a:lnTo>
                    <a:lnTo>
                      <a:pt x="49" y="110"/>
                    </a:lnTo>
                    <a:lnTo>
                      <a:pt x="62" y="115"/>
                    </a:lnTo>
                    <a:lnTo>
                      <a:pt x="77" y="120"/>
                    </a:lnTo>
                    <a:lnTo>
                      <a:pt x="94" y="124"/>
                    </a:lnTo>
                    <a:lnTo>
                      <a:pt x="111" y="127"/>
                    </a:lnTo>
                    <a:lnTo>
                      <a:pt x="130" y="130"/>
                    </a:lnTo>
                    <a:lnTo>
                      <a:pt x="148" y="133"/>
                    </a:lnTo>
                    <a:lnTo>
                      <a:pt x="169" y="135"/>
                    </a:lnTo>
                    <a:lnTo>
                      <a:pt x="190" y="136"/>
                    </a:lnTo>
                    <a:lnTo>
                      <a:pt x="212" y="136"/>
                    </a:lnTo>
                    <a:lnTo>
                      <a:pt x="212" y="136"/>
                    </a:lnTo>
                    <a:lnTo>
                      <a:pt x="232" y="136"/>
                    </a:lnTo>
                    <a:lnTo>
                      <a:pt x="254" y="135"/>
                    </a:lnTo>
                    <a:lnTo>
                      <a:pt x="274" y="133"/>
                    </a:lnTo>
                    <a:lnTo>
                      <a:pt x="293" y="130"/>
                    </a:lnTo>
                    <a:lnTo>
                      <a:pt x="312" y="127"/>
                    </a:lnTo>
                    <a:lnTo>
                      <a:pt x="329" y="124"/>
                    </a:lnTo>
                    <a:lnTo>
                      <a:pt x="345" y="120"/>
                    </a:lnTo>
                    <a:lnTo>
                      <a:pt x="360" y="115"/>
                    </a:lnTo>
                    <a:lnTo>
                      <a:pt x="374" y="110"/>
                    </a:lnTo>
                    <a:lnTo>
                      <a:pt x="386" y="104"/>
                    </a:lnTo>
                    <a:lnTo>
                      <a:pt x="396" y="98"/>
                    </a:lnTo>
                    <a:lnTo>
                      <a:pt x="405" y="91"/>
                    </a:lnTo>
                    <a:lnTo>
                      <a:pt x="412" y="85"/>
                    </a:lnTo>
                    <a:lnTo>
                      <a:pt x="418" y="77"/>
                    </a:lnTo>
                    <a:lnTo>
                      <a:pt x="421" y="70"/>
                    </a:lnTo>
                    <a:lnTo>
                      <a:pt x="421" y="64"/>
                    </a:lnTo>
                    <a:lnTo>
                      <a:pt x="421" y="7"/>
                    </a:lnTo>
                    <a:lnTo>
                      <a:pt x="421" y="7"/>
                    </a:lnTo>
                    <a:lnTo>
                      <a:pt x="421" y="0"/>
                    </a:lnTo>
                    <a:lnTo>
                      <a:pt x="421" y="0"/>
                    </a:lnTo>
                    <a:lnTo>
                      <a:pt x="418" y="7"/>
                    </a:lnTo>
                    <a:lnTo>
                      <a:pt x="413" y="13"/>
                    </a:lnTo>
                    <a:lnTo>
                      <a:pt x="406" y="20"/>
                    </a:lnTo>
                    <a:lnTo>
                      <a:pt x="398" y="25"/>
                    </a:lnTo>
                    <a:lnTo>
                      <a:pt x="389" y="31"/>
                    </a:lnTo>
                    <a:lnTo>
                      <a:pt x="379" y="37"/>
                    </a:lnTo>
                    <a:lnTo>
                      <a:pt x="366" y="42"/>
                    </a:lnTo>
                    <a:lnTo>
                      <a:pt x="353" y="46"/>
                    </a:lnTo>
                    <a:lnTo>
                      <a:pt x="338" y="51"/>
                    </a:lnTo>
                    <a:lnTo>
                      <a:pt x="322" y="54"/>
                    </a:lnTo>
                    <a:lnTo>
                      <a:pt x="289" y="60"/>
                    </a:lnTo>
                    <a:lnTo>
                      <a:pt x="251" y="65"/>
                    </a:lnTo>
                    <a:lnTo>
                      <a:pt x="212" y="66"/>
                    </a:lnTo>
                    <a:lnTo>
                      <a:pt x="212" y="66"/>
                    </a:lnTo>
                    <a:close/>
                    <a:moveTo>
                      <a:pt x="48" y="102"/>
                    </a:moveTo>
                    <a:lnTo>
                      <a:pt x="48" y="102"/>
                    </a:lnTo>
                    <a:lnTo>
                      <a:pt x="33" y="95"/>
                    </a:lnTo>
                    <a:lnTo>
                      <a:pt x="20" y="85"/>
                    </a:lnTo>
                    <a:lnTo>
                      <a:pt x="20" y="31"/>
                    </a:lnTo>
                    <a:lnTo>
                      <a:pt x="20" y="31"/>
                    </a:lnTo>
                    <a:lnTo>
                      <a:pt x="33" y="39"/>
                    </a:lnTo>
                    <a:lnTo>
                      <a:pt x="48" y="47"/>
                    </a:lnTo>
                    <a:lnTo>
                      <a:pt x="48" y="102"/>
                    </a:lnTo>
                    <a:close/>
                    <a:moveTo>
                      <a:pt x="89" y="115"/>
                    </a:moveTo>
                    <a:lnTo>
                      <a:pt x="89" y="115"/>
                    </a:lnTo>
                    <a:lnTo>
                      <a:pt x="75" y="112"/>
                    </a:lnTo>
                    <a:lnTo>
                      <a:pt x="62" y="107"/>
                    </a:lnTo>
                    <a:lnTo>
                      <a:pt x="62" y="52"/>
                    </a:lnTo>
                    <a:lnTo>
                      <a:pt x="62" y="52"/>
                    </a:lnTo>
                    <a:lnTo>
                      <a:pt x="75" y="57"/>
                    </a:lnTo>
                    <a:lnTo>
                      <a:pt x="89" y="61"/>
                    </a:lnTo>
                    <a:lnTo>
                      <a:pt x="89" y="115"/>
                    </a:lnTo>
                    <a:close/>
                    <a:moveTo>
                      <a:pt x="131" y="124"/>
                    </a:moveTo>
                    <a:lnTo>
                      <a:pt x="131" y="124"/>
                    </a:lnTo>
                    <a:lnTo>
                      <a:pt x="103" y="119"/>
                    </a:lnTo>
                    <a:lnTo>
                      <a:pt x="103" y="65"/>
                    </a:lnTo>
                    <a:lnTo>
                      <a:pt x="103" y="65"/>
                    </a:lnTo>
                    <a:lnTo>
                      <a:pt x="131" y="69"/>
                    </a:lnTo>
                    <a:lnTo>
                      <a:pt x="131" y="124"/>
                    </a:lnTo>
                    <a:close/>
                    <a:moveTo>
                      <a:pt x="385" y="97"/>
                    </a:moveTo>
                    <a:lnTo>
                      <a:pt x="385" y="97"/>
                    </a:lnTo>
                    <a:lnTo>
                      <a:pt x="372" y="103"/>
                    </a:lnTo>
                    <a:lnTo>
                      <a:pt x="357" y="109"/>
                    </a:lnTo>
                    <a:lnTo>
                      <a:pt x="357" y="54"/>
                    </a:lnTo>
                    <a:lnTo>
                      <a:pt x="357" y="54"/>
                    </a:lnTo>
                    <a:lnTo>
                      <a:pt x="372" y="49"/>
                    </a:lnTo>
                    <a:lnTo>
                      <a:pt x="385" y="42"/>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7" name="Freeform 72">
                <a:extLst>
                  <a:ext uri="{FF2B5EF4-FFF2-40B4-BE49-F238E27FC236}">
                    <a16:creationId xmlns:a16="http://schemas.microsoft.com/office/drawing/2014/main" id="{470E5457-762A-A3E6-3BC5-3B3ECCFC51E1}"/>
                  </a:ext>
                </a:extLst>
              </p:cNvPr>
              <p:cNvSpPr>
                <a:spLocks noEditPoints="1"/>
              </p:cNvSpPr>
              <p:nvPr/>
            </p:nvSpPr>
            <p:spPr bwMode="auto">
              <a:xfrm>
                <a:off x="2335213" y="2684463"/>
                <a:ext cx="111125" cy="34925"/>
              </a:xfrm>
              <a:custGeom>
                <a:avLst/>
                <a:gdLst/>
                <a:ahLst/>
                <a:cxnLst>
                  <a:cxn ang="0">
                    <a:pos x="212" y="66"/>
                  </a:cxn>
                  <a:cxn ang="0">
                    <a:pos x="134" y="60"/>
                  </a:cxn>
                  <a:cxn ang="0">
                    <a:pos x="85" y="51"/>
                  </a:cxn>
                  <a:cxn ang="0">
                    <a:pos x="56" y="42"/>
                  </a:cxn>
                  <a:cxn ang="0">
                    <a:pos x="33" y="31"/>
                  </a:cxn>
                  <a:cxn ang="0">
                    <a:pos x="15" y="20"/>
                  </a:cxn>
                  <a:cxn ang="0">
                    <a:pos x="4" y="7"/>
                  </a:cxn>
                  <a:cxn ang="0">
                    <a:pos x="2" y="0"/>
                  </a:cxn>
                  <a:cxn ang="0">
                    <a:pos x="0" y="64"/>
                  </a:cxn>
                  <a:cxn ang="0">
                    <a:pos x="2" y="71"/>
                  </a:cxn>
                  <a:cxn ang="0">
                    <a:pos x="10" y="84"/>
                  </a:cxn>
                  <a:cxn ang="0">
                    <a:pos x="26" y="98"/>
                  </a:cxn>
                  <a:cxn ang="0">
                    <a:pos x="49" y="110"/>
                  </a:cxn>
                  <a:cxn ang="0">
                    <a:pos x="77" y="120"/>
                  </a:cxn>
                  <a:cxn ang="0">
                    <a:pos x="111" y="127"/>
                  </a:cxn>
                  <a:cxn ang="0">
                    <a:pos x="148" y="133"/>
                  </a:cxn>
                  <a:cxn ang="0">
                    <a:pos x="190" y="136"/>
                  </a:cxn>
                  <a:cxn ang="0">
                    <a:pos x="212" y="136"/>
                  </a:cxn>
                  <a:cxn ang="0">
                    <a:pos x="254" y="135"/>
                  </a:cxn>
                  <a:cxn ang="0">
                    <a:pos x="293" y="131"/>
                  </a:cxn>
                  <a:cxn ang="0">
                    <a:pos x="329" y="124"/>
                  </a:cxn>
                  <a:cxn ang="0">
                    <a:pos x="360" y="114"/>
                  </a:cxn>
                  <a:cxn ang="0">
                    <a:pos x="386" y="104"/>
                  </a:cxn>
                  <a:cxn ang="0">
                    <a:pos x="405" y="91"/>
                  </a:cxn>
                  <a:cxn ang="0">
                    <a:pos x="418" y="78"/>
                  </a:cxn>
                  <a:cxn ang="0">
                    <a:pos x="421" y="64"/>
                  </a:cxn>
                  <a:cxn ang="0">
                    <a:pos x="421" y="7"/>
                  </a:cxn>
                  <a:cxn ang="0">
                    <a:pos x="421" y="0"/>
                  </a:cxn>
                  <a:cxn ang="0">
                    <a:pos x="413" y="13"/>
                  </a:cxn>
                  <a:cxn ang="0">
                    <a:pos x="398" y="26"/>
                  </a:cxn>
                  <a:cxn ang="0">
                    <a:pos x="379" y="37"/>
                  </a:cxn>
                  <a:cxn ang="0">
                    <a:pos x="353" y="46"/>
                  </a:cxn>
                  <a:cxn ang="0">
                    <a:pos x="322" y="54"/>
                  </a:cxn>
                  <a:cxn ang="0">
                    <a:pos x="251" y="64"/>
                  </a:cxn>
                  <a:cxn ang="0">
                    <a:pos x="212" y="66"/>
                  </a:cxn>
                  <a:cxn ang="0">
                    <a:pos x="48" y="102"/>
                  </a:cxn>
                  <a:cxn ang="0">
                    <a:pos x="20" y="86"/>
                  </a:cxn>
                  <a:cxn ang="0">
                    <a:pos x="20" y="31"/>
                  </a:cxn>
                  <a:cxn ang="0">
                    <a:pos x="48" y="48"/>
                  </a:cxn>
                  <a:cxn ang="0">
                    <a:pos x="89" y="116"/>
                  </a:cxn>
                  <a:cxn ang="0">
                    <a:pos x="75" y="112"/>
                  </a:cxn>
                  <a:cxn ang="0">
                    <a:pos x="62" y="52"/>
                  </a:cxn>
                  <a:cxn ang="0">
                    <a:pos x="75" y="57"/>
                  </a:cxn>
                  <a:cxn ang="0">
                    <a:pos x="89" y="116"/>
                  </a:cxn>
                  <a:cxn ang="0">
                    <a:pos x="131" y="124"/>
                  </a:cxn>
                  <a:cxn ang="0">
                    <a:pos x="103" y="65"/>
                  </a:cxn>
                  <a:cxn ang="0">
                    <a:pos x="131" y="69"/>
                  </a:cxn>
                  <a:cxn ang="0">
                    <a:pos x="385" y="97"/>
                  </a:cxn>
                  <a:cxn ang="0">
                    <a:pos x="372" y="103"/>
                  </a:cxn>
                  <a:cxn ang="0">
                    <a:pos x="357" y="54"/>
                  </a:cxn>
                  <a:cxn ang="0">
                    <a:pos x="372" y="49"/>
                  </a:cxn>
                  <a:cxn ang="0">
                    <a:pos x="385" y="97"/>
                  </a:cxn>
                </a:cxnLst>
                <a:rect l="0" t="0" r="r" b="b"/>
                <a:pathLst>
                  <a:path w="421" h="136">
                    <a:moveTo>
                      <a:pt x="212" y="66"/>
                    </a:moveTo>
                    <a:lnTo>
                      <a:pt x="212" y="66"/>
                    </a:lnTo>
                    <a:lnTo>
                      <a:pt x="171" y="64"/>
                    </a:lnTo>
                    <a:lnTo>
                      <a:pt x="134" y="60"/>
                    </a:lnTo>
                    <a:lnTo>
                      <a:pt x="100" y="54"/>
                    </a:lnTo>
                    <a:lnTo>
                      <a:pt x="85" y="51"/>
                    </a:lnTo>
                    <a:lnTo>
                      <a:pt x="70" y="46"/>
                    </a:lnTo>
                    <a:lnTo>
                      <a:pt x="56" y="42"/>
                    </a:lnTo>
                    <a:lnTo>
                      <a:pt x="44" y="37"/>
                    </a:lnTo>
                    <a:lnTo>
                      <a:pt x="33" y="31"/>
                    </a:lnTo>
                    <a:lnTo>
                      <a:pt x="23" y="26"/>
                    </a:lnTo>
                    <a:lnTo>
                      <a:pt x="15" y="20"/>
                    </a:lnTo>
                    <a:lnTo>
                      <a:pt x="10" y="13"/>
                    </a:lnTo>
                    <a:lnTo>
                      <a:pt x="4" y="7"/>
                    </a:lnTo>
                    <a:lnTo>
                      <a:pt x="2" y="0"/>
                    </a:lnTo>
                    <a:lnTo>
                      <a:pt x="2" y="0"/>
                    </a:lnTo>
                    <a:lnTo>
                      <a:pt x="0" y="7"/>
                    </a:lnTo>
                    <a:lnTo>
                      <a:pt x="0" y="64"/>
                    </a:lnTo>
                    <a:lnTo>
                      <a:pt x="0" y="64"/>
                    </a:lnTo>
                    <a:lnTo>
                      <a:pt x="2" y="71"/>
                    </a:lnTo>
                    <a:lnTo>
                      <a:pt x="5" y="78"/>
                    </a:lnTo>
                    <a:lnTo>
                      <a:pt x="10" y="84"/>
                    </a:lnTo>
                    <a:lnTo>
                      <a:pt x="17" y="91"/>
                    </a:lnTo>
                    <a:lnTo>
                      <a:pt x="26" y="98"/>
                    </a:lnTo>
                    <a:lnTo>
                      <a:pt x="36" y="104"/>
                    </a:lnTo>
                    <a:lnTo>
                      <a:pt x="49" y="110"/>
                    </a:lnTo>
                    <a:lnTo>
                      <a:pt x="62" y="114"/>
                    </a:lnTo>
                    <a:lnTo>
                      <a:pt x="77" y="120"/>
                    </a:lnTo>
                    <a:lnTo>
                      <a:pt x="94" y="124"/>
                    </a:lnTo>
                    <a:lnTo>
                      <a:pt x="111" y="127"/>
                    </a:lnTo>
                    <a:lnTo>
                      <a:pt x="130" y="131"/>
                    </a:lnTo>
                    <a:lnTo>
                      <a:pt x="148" y="133"/>
                    </a:lnTo>
                    <a:lnTo>
                      <a:pt x="169" y="135"/>
                    </a:lnTo>
                    <a:lnTo>
                      <a:pt x="190" y="136"/>
                    </a:lnTo>
                    <a:lnTo>
                      <a:pt x="212" y="136"/>
                    </a:lnTo>
                    <a:lnTo>
                      <a:pt x="212" y="136"/>
                    </a:lnTo>
                    <a:lnTo>
                      <a:pt x="232" y="136"/>
                    </a:lnTo>
                    <a:lnTo>
                      <a:pt x="254" y="135"/>
                    </a:lnTo>
                    <a:lnTo>
                      <a:pt x="274" y="133"/>
                    </a:lnTo>
                    <a:lnTo>
                      <a:pt x="293" y="131"/>
                    </a:lnTo>
                    <a:lnTo>
                      <a:pt x="312" y="127"/>
                    </a:lnTo>
                    <a:lnTo>
                      <a:pt x="329" y="124"/>
                    </a:lnTo>
                    <a:lnTo>
                      <a:pt x="345" y="120"/>
                    </a:lnTo>
                    <a:lnTo>
                      <a:pt x="360" y="114"/>
                    </a:lnTo>
                    <a:lnTo>
                      <a:pt x="374" y="110"/>
                    </a:lnTo>
                    <a:lnTo>
                      <a:pt x="386" y="104"/>
                    </a:lnTo>
                    <a:lnTo>
                      <a:pt x="396" y="98"/>
                    </a:lnTo>
                    <a:lnTo>
                      <a:pt x="405" y="91"/>
                    </a:lnTo>
                    <a:lnTo>
                      <a:pt x="412" y="84"/>
                    </a:lnTo>
                    <a:lnTo>
                      <a:pt x="418" y="78"/>
                    </a:lnTo>
                    <a:lnTo>
                      <a:pt x="421" y="71"/>
                    </a:lnTo>
                    <a:lnTo>
                      <a:pt x="421" y="64"/>
                    </a:lnTo>
                    <a:lnTo>
                      <a:pt x="421" y="7"/>
                    </a:lnTo>
                    <a:lnTo>
                      <a:pt x="421" y="7"/>
                    </a:lnTo>
                    <a:lnTo>
                      <a:pt x="421" y="0"/>
                    </a:lnTo>
                    <a:lnTo>
                      <a:pt x="421" y="0"/>
                    </a:lnTo>
                    <a:lnTo>
                      <a:pt x="418" y="7"/>
                    </a:lnTo>
                    <a:lnTo>
                      <a:pt x="413" y="13"/>
                    </a:lnTo>
                    <a:lnTo>
                      <a:pt x="406" y="20"/>
                    </a:lnTo>
                    <a:lnTo>
                      <a:pt x="398" y="26"/>
                    </a:lnTo>
                    <a:lnTo>
                      <a:pt x="389" y="31"/>
                    </a:lnTo>
                    <a:lnTo>
                      <a:pt x="379" y="37"/>
                    </a:lnTo>
                    <a:lnTo>
                      <a:pt x="366" y="42"/>
                    </a:lnTo>
                    <a:lnTo>
                      <a:pt x="353" y="46"/>
                    </a:lnTo>
                    <a:lnTo>
                      <a:pt x="338" y="51"/>
                    </a:lnTo>
                    <a:lnTo>
                      <a:pt x="322" y="54"/>
                    </a:lnTo>
                    <a:lnTo>
                      <a:pt x="289" y="60"/>
                    </a:lnTo>
                    <a:lnTo>
                      <a:pt x="251" y="64"/>
                    </a:lnTo>
                    <a:lnTo>
                      <a:pt x="212" y="66"/>
                    </a:lnTo>
                    <a:lnTo>
                      <a:pt x="212" y="66"/>
                    </a:lnTo>
                    <a:close/>
                    <a:moveTo>
                      <a:pt x="48" y="102"/>
                    </a:moveTo>
                    <a:lnTo>
                      <a:pt x="48" y="102"/>
                    </a:lnTo>
                    <a:lnTo>
                      <a:pt x="33" y="94"/>
                    </a:lnTo>
                    <a:lnTo>
                      <a:pt x="20" y="86"/>
                    </a:lnTo>
                    <a:lnTo>
                      <a:pt x="20" y="31"/>
                    </a:lnTo>
                    <a:lnTo>
                      <a:pt x="20" y="31"/>
                    </a:lnTo>
                    <a:lnTo>
                      <a:pt x="33" y="39"/>
                    </a:lnTo>
                    <a:lnTo>
                      <a:pt x="48" y="48"/>
                    </a:lnTo>
                    <a:lnTo>
                      <a:pt x="48" y="102"/>
                    </a:lnTo>
                    <a:close/>
                    <a:moveTo>
                      <a:pt x="89" y="116"/>
                    </a:moveTo>
                    <a:lnTo>
                      <a:pt x="89" y="116"/>
                    </a:lnTo>
                    <a:lnTo>
                      <a:pt x="75" y="112"/>
                    </a:lnTo>
                    <a:lnTo>
                      <a:pt x="62" y="108"/>
                    </a:lnTo>
                    <a:lnTo>
                      <a:pt x="62" y="52"/>
                    </a:lnTo>
                    <a:lnTo>
                      <a:pt x="62" y="52"/>
                    </a:lnTo>
                    <a:lnTo>
                      <a:pt x="75" y="57"/>
                    </a:lnTo>
                    <a:lnTo>
                      <a:pt x="89" y="61"/>
                    </a:lnTo>
                    <a:lnTo>
                      <a:pt x="89" y="116"/>
                    </a:lnTo>
                    <a:close/>
                    <a:moveTo>
                      <a:pt x="131" y="124"/>
                    </a:moveTo>
                    <a:lnTo>
                      <a:pt x="131" y="124"/>
                    </a:lnTo>
                    <a:lnTo>
                      <a:pt x="103" y="119"/>
                    </a:lnTo>
                    <a:lnTo>
                      <a:pt x="103" y="65"/>
                    </a:lnTo>
                    <a:lnTo>
                      <a:pt x="103" y="65"/>
                    </a:lnTo>
                    <a:lnTo>
                      <a:pt x="131" y="69"/>
                    </a:lnTo>
                    <a:lnTo>
                      <a:pt x="131" y="124"/>
                    </a:lnTo>
                    <a:close/>
                    <a:moveTo>
                      <a:pt x="385" y="97"/>
                    </a:moveTo>
                    <a:lnTo>
                      <a:pt x="385" y="97"/>
                    </a:lnTo>
                    <a:lnTo>
                      <a:pt x="372" y="103"/>
                    </a:lnTo>
                    <a:lnTo>
                      <a:pt x="357" y="109"/>
                    </a:lnTo>
                    <a:lnTo>
                      <a:pt x="357" y="54"/>
                    </a:lnTo>
                    <a:lnTo>
                      <a:pt x="357" y="54"/>
                    </a:lnTo>
                    <a:lnTo>
                      <a:pt x="372" y="49"/>
                    </a:lnTo>
                    <a:lnTo>
                      <a:pt x="385" y="42"/>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8" name="Freeform 73">
                <a:extLst>
                  <a:ext uri="{FF2B5EF4-FFF2-40B4-BE49-F238E27FC236}">
                    <a16:creationId xmlns:a16="http://schemas.microsoft.com/office/drawing/2014/main" id="{BE276F09-30B2-1111-51B1-26A8DD4F5325}"/>
                  </a:ext>
                </a:extLst>
              </p:cNvPr>
              <p:cNvSpPr>
                <a:spLocks noEditPoints="1"/>
              </p:cNvSpPr>
              <p:nvPr/>
            </p:nvSpPr>
            <p:spPr bwMode="auto">
              <a:xfrm>
                <a:off x="2335213" y="2708275"/>
                <a:ext cx="111125" cy="36513"/>
              </a:xfrm>
              <a:custGeom>
                <a:avLst/>
                <a:gdLst/>
                <a:ahLst/>
                <a:cxnLst>
                  <a:cxn ang="0">
                    <a:pos x="212" y="65"/>
                  </a:cxn>
                  <a:cxn ang="0">
                    <a:pos x="134" y="60"/>
                  </a:cxn>
                  <a:cxn ang="0">
                    <a:pos x="85" y="51"/>
                  </a:cxn>
                  <a:cxn ang="0">
                    <a:pos x="56" y="42"/>
                  </a:cxn>
                  <a:cxn ang="0">
                    <a:pos x="33" y="32"/>
                  </a:cxn>
                  <a:cxn ang="0">
                    <a:pos x="15" y="20"/>
                  </a:cxn>
                  <a:cxn ang="0">
                    <a:pos x="4" y="6"/>
                  </a:cxn>
                  <a:cxn ang="0">
                    <a:pos x="2" y="0"/>
                  </a:cxn>
                  <a:cxn ang="0">
                    <a:pos x="0" y="63"/>
                  </a:cxn>
                  <a:cxn ang="0">
                    <a:pos x="2" y="71"/>
                  </a:cxn>
                  <a:cxn ang="0">
                    <a:pos x="10" y="85"/>
                  </a:cxn>
                  <a:cxn ang="0">
                    <a:pos x="26" y="98"/>
                  </a:cxn>
                  <a:cxn ang="0">
                    <a:pos x="49" y="110"/>
                  </a:cxn>
                  <a:cxn ang="0">
                    <a:pos x="77" y="119"/>
                  </a:cxn>
                  <a:cxn ang="0">
                    <a:pos x="111" y="127"/>
                  </a:cxn>
                  <a:cxn ang="0">
                    <a:pos x="148" y="133"/>
                  </a:cxn>
                  <a:cxn ang="0">
                    <a:pos x="190" y="137"/>
                  </a:cxn>
                  <a:cxn ang="0">
                    <a:pos x="212" y="137"/>
                  </a:cxn>
                  <a:cxn ang="0">
                    <a:pos x="254" y="135"/>
                  </a:cxn>
                  <a:cxn ang="0">
                    <a:pos x="293" y="131"/>
                  </a:cxn>
                  <a:cxn ang="0">
                    <a:pos x="329" y="124"/>
                  </a:cxn>
                  <a:cxn ang="0">
                    <a:pos x="360" y="115"/>
                  </a:cxn>
                  <a:cxn ang="0">
                    <a:pos x="386" y="104"/>
                  </a:cxn>
                  <a:cxn ang="0">
                    <a:pos x="405" y="92"/>
                  </a:cxn>
                  <a:cxn ang="0">
                    <a:pos x="418" y="78"/>
                  </a:cxn>
                  <a:cxn ang="0">
                    <a:pos x="421" y="63"/>
                  </a:cxn>
                  <a:cxn ang="0">
                    <a:pos x="421" y="7"/>
                  </a:cxn>
                  <a:cxn ang="0">
                    <a:pos x="421" y="0"/>
                  </a:cxn>
                  <a:cxn ang="0">
                    <a:pos x="413" y="13"/>
                  </a:cxn>
                  <a:cxn ang="0">
                    <a:pos x="398" y="26"/>
                  </a:cxn>
                  <a:cxn ang="0">
                    <a:pos x="379" y="37"/>
                  </a:cxn>
                  <a:cxn ang="0">
                    <a:pos x="353" y="47"/>
                  </a:cxn>
                  <a:cxn ang="0">
                    <a:pos x="322" y="55"/>
                  </a:cxn>
                  <a:cxn ang="0">
                    <a:pos x="251" y="64"/>
                  </a:cxn>
                  <a:cxn ang="0">
                    <a:pos x="212" y="65"/>
                  </a:cxn>
                  <a:cxn ang="0">
                    <a:pos x="48" y="102"/>
                  </a:cxn>
                  <a:cxn ang="0">
                    <a:pos x="20" y="86"/>
                  </a:cxn>
                  <a:cxn ang="0">
                    <a:pos x="20" y="32"/>
                  </a:cxn>
                  <a:cxn ang="0">
                    <a:pos x="48" y="48"/>
                  </a:cxn>
                  <a:cxn ang="0">
                    <a:pos x="89" y="116"/>
                  </a:cxn>
                  <a:cxn ang="0">
                    <a:pos x="75" y="112"/>
                  </a:cxn>
                  <a:cxn ang="0">
                    <a:pos x="62" y="52"/>
                  </a:cxn>
                  <a:cxn ang="0">
                    <a:pos x="75" y="57"/>
                  </a:cxn>
                  <a:cxn ang="0">
                    <a:pos x="89" y="116"/>
                  </a:cxn>
                  <a:cxn ang="0">
                    <a:pos x="131" y="124"/>
                  </a:cxn>
                  <a:cxn ang="0">
                    <a:pos x="103" y="64"/>
                  </a:cxn>
                  <a:cxn ang="0">
                    <a:pos x="131" y="70"/>
                  </a:cxn>
                  <a:cxn ang="0">
                    <a:pos x="385" y="97"/>
                  </a:cxn>
                  <a:cxn ang="0">
                    <a:pos x="372" y="103"/>
                  </a:cxn>
                  <a:cxn ang="0">
                    <a:pos x="357" y="55"/>
                  </a:cxn>
                  <a:cxn ang="0">
                    <a:pos x="372" y="49"/>
                  </a:cxn>
                  <a:cxn ang="0">
                    <a:pos x="385" y="97"/>
                  </a:cxn>
                </a:cxnLst>
                <a:rect l="0" t="0" r="r" b="b"/>
                <a:pathLst>
                  <a:path w="421" h="137">
                    <a:moveTo>
                      <a:pt x="212" y="65"/>
                    </a:moveTo>
                    <a:lnTo>
                      <a:pt x="212" y="65"/>
                    </a:lnTo>
                    <a:lnTo>
                      <a:pt x="171" y="64"/>
                    </a:lnTo>
                    <a:lnTo>
                      <a:pt x="134" y="60"/>
                    </a:lnTo>
                    <a:lnTo>
                      <a:pt x="100" y="55"/>
                    </a:lnTo>
                    <a:lnTo>
                      <a:pt x="85" y="51"/>
                    </a:lnTo>
                    <a:lnTo>
                      <a:pt x="70" y="47"/>
                    </a:lnTo>
                    <a:lnTo>
                      <a:pt x="56" y="42"/>
                    </a:lnTo>
                    <a:lnTo>
                      <a:pt x="44" y="37"/>
                    </a:lnTo>
                    <a:lnTo>
                      <a:pt x="33" y="32"/>
                    </a:lnTo>
                    <a:lnTo>
                      <a:pt x="23" y="26"/>
                    </a:lnTo>
                    <a:lnTo>
                      <a:pt x="15" y="20"/>
                    </a:lnTo>
                    <a:lnTo>
                      <a:pt x="10" y="13"/>
                    </a:lnTo>
                    <a:lnTo>
                      <a:pt x="4" y="6"/>
                    </a:lnTo>
                    <a:lnTo>
                      <a:pt x="2" y="0"/>
                    </a:lnTo>
                    <a:lnTo>
                      <a:pt x="2" y="0"/>
                    </a:lnTo>
                    <a:lnTo>
                      <a:pt x="0" y="7"/>
                    </a:lnTo>
                    <a:lnTo>
                      <a:pt x="0" y="63"/>
                    </a:lnTo>
                    <a:lnTo>
                      <a:pt x="0" y="63"/>
                    </a:lnTo>
                    <a:lnTo>
                      <a:pt x="2" y="71"/>
                    </a:lnTo>
                    <a:lnTo>
                      <a:pt x="5" y="78"/>
                    </a:lnTo>
                    <a:lnTo>
                      <a:pt x="10" y="85"/>
                    </a:lnTo>
                    <a:lnTo>
                      <a:pt x="17" y="92"/>
                    </a:lnTo>
                    <a:lnTo>
                      <a:pt x="26" y="98"/>
                    </a:lnTo>
                    <a:lnTo>
                      <a:pt x="36" y="104"/>
                    </a:lnTo>
                    <a:lnTo>
                      <a:pt x="49" y="110"/>
                    </a:lnTo>
                    <a:lnTo>
                      <a:pt x="62" y="115"/>
                    </a:lnTo>
                    <a:lnTo>
                      <a:pt x="77" y="119"/>
                    </a:lnTo>
                    <a:lnTo>
                      <a:pt x="94" y="124"/>
                    </a:lnTo>
                    <a:lnTo>
                      <a:pt x="111" y="127"/>
                    </a:lnTo>
                    <a:lnTo>
                      <a:pt x="130" y="131"/>
                    </a:lnTo>
                    <a:lnTo>
                      <a:pt x="148" y="133"/>
                    </a:lnTo>
                    <a:lnTo>
                      <a:pt x="169" y="135"/>
                    </a:lnTo>
                    <a:lnTo>
                      <a:pt x="190" y="137"/>
                    </a:lnTo>
                    <a:lnTo>
                      <a:pt x="212" y="137"/>
                    </a:lnTo>
                    <a:lnTo>
                      <a:pt x="212" y="137"/>
                    </a:lnTo>
                    <a:lnTo>
                      <a:pt x="232" y="137"/>
                    </a:lnTo>
                    <a:lnTo>
                      <a:pt x="254" y="135"/>
                    </a:lnTo>
                    <a:lnTo>
                      <a:pt x="274" y="133"/>
                    </a:lnTo>
                    <a:lnTo>
                      <a:pt x="293" y="131"/>
                    </a:lnTo>
                    <a:lnTo>
                      <a:pt x="312" y="127"/>
                    </a:lnTo>
                    <a:lnTo>
                      <a:pt x="329" y="124"/>
                    </a:lnTo>
                    <a:lnTo>
                      <a:pt x="345" y="119"/>
                    </a:lnTo>
                    <a:lnTo>
                      <a:pt x="360" y="115"/>
                    </a:lnTo>
                    <a:lnTo>
                      <a:pt x="374" y="110"/>
                    </a:lnTo>
                    <a:lnTo>
                      <a:pt x="386" y="104"/>
                    </a:lnTo>
                    <a:lnTo>
                      <a:pt x="396" y="98"/>
                    </a:lnTo>
                    <a:lnTo>
                      <a:pt x="405" y="92"/>
                    </a:lnTo>
                    <a:lnTo>
                      <a:pt x="412" y="85"/>
                    </a:lnTo>
                    <a:lnTo>
                      <a:pt x="418" y="78"/>
                    </a:lnTo>
                    <a:lnTo>
                      <a:pt x="421" y="71"/>
                    </a:lnTo>
                    <a:lnTo>
                      <a:pt x="421" y="63"/>
                    </a:lnTo>
                    <a:lnTo>
                      <a:pt x="421" y="7"/>
                    </a:lnTo>
                    <a:lnTo>
                      <a:pt x="421" y="7"/>
                    </a:lnTo>
                    <a:lnTo>
                      <a:pt x="421" y="0"/>
                    </a:lnTo>
                    <a:lnTo>
                      <a:pt x="421" y="0"/>
                    </a:lnTo>
                    <a:lnTo>
                      <a:pt x="418" y="6"/>
                    </a:lnTo>
                    <a:lnTo>
                      <a:pt x="413" y="13"/>
                    </a:lnTo>
                    <a:lnTo>
                      <a:pt x="406" y="20"/>
                    </a:lnTo>
                    <a:lnTo>
                      <a:pt x="398" y="26"/>
                    </a:lnTo>
                    <a:lnTo>
                      <a:pt x="389" y="32"/>
                    </a:lnTo>
                    <a:lnTo>
                      <a:pt x="379" y="37"/>
                    </a:lnTo>
                    <a:lnTo>
                      <a:pt x="366" y="42"/>
                    </a:lnTo>
                    <a:lnTo>
                      <a:pt x="353" y="47"/>
                    </a:lnTo>
                    <a:lnTo>
                      <a:pt x="338" y="51"/>
                    </a:lnTo>
                    <a:lnTo>
                      <a:pt x="322" y="55"/>
                    </a:lnTo>
                    <a:lnTo>
                      <a:pt x="289" y="60"/>
                    </a:lnTo>
                    <a:lnTo>
                      <a:pt x="251" y="64"/>
                    </a:lnTo>
                    <a:lnTo>
                      <a:pt x="212" y="65"/>
                    </a:lnTo>
                    <a:lnTo>
                      <a:pt x="212" y="65"/>
                    </a:lnTo>
                    <a:close/>
                    <a:moveTo>
                      <a:pt x="48" y="102"/>
                    </a:moveTo>
                    <a:lnTo>
                      <a:pt x="48" y="102"/>
                    </a:lnTo>
                    <a:lnTo>
                      <a:pt x="33" y="94"/>
                    </a:lnTo>
                    <a:lnTo>
                      <a:pt x="20" y="86"/>
                    </a:lnTo>
                    <a:lnTo>
                      <a:pt x="20" y="32"/>
                    </a:lnTo>
                    <a:lnTo>
                      <a:pt x="20" y="32"/>
                    </a:lnTo>
                    <a:lnTo>
                      <a:pt x="33" y="40"/>
                    </a:lnTo>
                    <a:lnTo>
                      <a:pt x="48" y="48"/>
                    </a:lnTo>
                    <a:lnTo>
                      <a:pt x="48" y="102"/>
                    </a:lnTo>
                    <a:close/>
                    <a:moveTo>
                      <a:pt x="89" y="116"/>
                    </a:moveTo>
                    <a:lnTo>
                      <a:pt x="89" y="116"/>
                    </a:lnTo>
                    <a:lnTo>
                      <a:pt x="75" y="112"/>
                    </a:lnTo>
                    <a:lnTo>
                      <a:pt x="62" y="108"/>
                    </a:lnTo>
                    <a:lnTo>
                      <a:pt x="62" y="52"/>
                    </a:lnTo>
                    <a:lnTo>
                      <a:pt x="62" y="52"/>
                    </a:lnTo>
                    <a:lnTo>
                      <a:pt x="75" y="57"/>
                    </a:lnTo>
                    <a:lnTo>
                      <a:pt x="89" y="62"/>
                    </a:lnTo>
                    <a:lnTo>
                      <a:pt x="89" y="116"/>
                    </a:lnTo>
                    <a:close/>
                    <a:moveTo>
                      <a:pt x="131" y="124"/>
                    </a:moveTo>
                    <a:lnTo>
                      <a:pt x="131" y="124"/>
                    </a:lnTo>
                    <a:lnTo>
                      <a:pt x="103" y="119"/>
                    </a:lnTo>
                    <a:lnTo>
                      <a:pt x="103" y="64"/>
                    </a:lnTo>
                    <a:lnTo>
                      <a:pt x="103" y="64"/>
                    </a:lnTo>
                    <a:lnTo>
                      <a:pt x="131" y="70"/>
                    </a:lnTo>
                    <a:lnTo>
                      <a:pt x="131" y="124"/>
                    </a:lnTo>
                    <a:close/>
                    <a:moveTo>
                      <a:pt x="385" y="97"/>
                    </a:moveTo>
                    <a:lnTo>
                      <a:pt x="385" y="97"/>
                    </a:lnTo>
                    <a:lnTo>
                      <a:pt x="372" y="103"/>
                    </a:lnTo>
                    <a:lnTo>
                      <a:pt x="357" y="109"/>
                    </a:lnTo>
                    <a:lnTo>
                      <a:pt x="357" y="55"/>
                    </a:lnTo>
                    <a:lnTo>
                      <a:pt x="357" y="55"/>
                    </a:lnTo>
                    <a:lnTo>
                      <a:pt x="372" y="49"/>
                    </a:lnTo>
                    <a:lnTo>
                      <a:pt x="385" y="42"/>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29" name="Freeform 74">
                <a:extLst>
                  <a:ext uri="{FF2B5EF4-FFF2-40B4-BE49-F238E27FC236}">
                    <a16:creationId xmlns:a16="http://schemas.microsoft.com/office/drawing/2014/main" id="{137FBEE5-ED13-CC2F-7E75-792642284799}"/>
                  </a:ext>
                </a:extLst>
              </p:cNvPr>
              <p:cNvSpPr>
                <a:spLocks noEditPoints="1"/>
              </p:cNvSpPr>
              <p:nvPr/>
            </p:nvSpPr>
            <p:spPr bwMode="auto">
              <a:xfrm>
                <a:off x="2335213" y="2732088"/>
                <a:ext cx="111125" cy="36513"/>
              </a:xfrm>
              <a:custGeom>
                <a:avLst/>
                <a:gdLst/>
                <a:ahLst/>
                <a:cxnLst>
                  <a:cxn ang="0">
                    <a:pos x="212" y="66"/>
                  </a:cxn>
                  <a:cxn ang="0">
                    <a:pos x="134" y="62"/>
                  </a:cxn>
                  <a:cxn ang="0">
                    <a:pos x="85" y="52"/>
                  </a:cxn>
                  <a:cxn ang="0">
                    <a:pos x="56" y="43"/>
                  </a:cxn>
                  <a:cxn ang="0">
                    <a:pos x="33" y="33"/>
                  </a:cxn>
                  <a:cxn ang="0">
                    <a:pos x="15" y="21"/>
                  </a:cxn>
                  <a:cxn ang="0">
                    <a:pos x="4" y="7"/>
                  </a:cxn>
                  <a:cxn ang="0">
                    <a:pos x="2" y="0"/>
                  </a:cxn>
                  <a:cxn ang="0">
                    <a:pos x="0" y="64"/>
                  </a:cxn>
                  <a:cxn ang="0">
                    <a:pos x="2" y="72"/>
                  </a:cxn>
                  <a:cxn ang="0">
                    <a:pos x="10" y="86"/>
                  </a:cxn>
                  <a:cxn ang="0">
                    <a:pos x="26" y="100"/>
                  </a:cxn>
                  <a:cxn ang="0">
                    <a:pos x="49" y="111"/>
                  </a:cxn>
                  <a:cxn ang="0">
                    <a:pos x="77" y="120"/>
                  </a:cxn>
                  <a:cxn ang="0">
                    <a:pos x="111" y="128"/>
                  </a:cxn>
                  <a:cxn ang="0">
                    <a:pos x="148" y="134"/>
                  </a:cxn>
                  <a:cxn ang="0">
                    <a:pos x="190" y="138"/>
                  </a:cxn>
                  <a:cxn ang="0">
                    <a:pos x="212" y="138"/>
                  </a:cxn>
                  <a:cxn ang="0">
                    <a:pos x="254" y="137"/>
                  </a:cxn>
                  <a:cxn ang="0">
                    <a:pos x="293" y="132"/>
                  </a:cxn>
                  <a:cxn ang="0">
                    <a:pos x="329" y="125"/>
                  </a:cxn>
                  <a:cxn ang="0">
                    <a:pos x="360" y="116"/>
                  </a:cxn>
                  <a:cxn ang="0">
                    <a:pos x="386" y="105"/>
                  </a:cxn>
                  <a:cxn ang="0">
                    <a:pos x="405" y="93"/>
                  </a:cxn>
                  <a:cxn ang="0">
                    <a:pos x="418" y="79"/>
                  </a:cxn>
                  <a:cxn ang="0">
                    <a:pos x="421" y="64"/>
                  </a:cxn>
                  <a:cxn ang="0">
                    <a:pos x="421" y="8"/>
                  </a:cxn>
                  <a:cxn ang="0">
                    <a:pos x="421" y="0"/>
                  </a:cxn>
                  <a:cxn ang="0">
                    <a:pos x="413" y="14"/>
                  </a:cxn>
                  <a:cxn ang="0">
                    <a:pos x="398" y="27"/>
                  </a:cxn>
                  <a:cxn ang="0">
                    <a:pos x="379" y="38"/>
                  </a:cxn>
                  <a:cxn ang="0">
                    <a:pos x="353" y="48"/>
                  </a:cxn>
                  <a:cxn ang="0">
                    <a:pos x="322" y="56"/>
                  </a:cxn>
                  <a:cxn ang="0">
                    <a:pos x="251" y="65"/>
                  </a:cxn>
                  <a:cxn ang="0">
                    <a:pos x="212" y="66"/>
                  </a:cxn>
                  <a:cxn ang="0">
                    <a:pos x="48" y="103"/>
                  </a:cxn>
                  <a:cxn ang="0">
                    <a:pos x="20" y="87"/>
                  </a:cxn>
                  <a:cxn ang="0">
                    <a:pos x="20" y="33"/>
                  </a:cxn>
                  <a:cxn ang="0">
                    <a:pos x="48" y="49"/>
                  </a:cxn>
                  <a:cxn ang="0">
                    <a:pos x="89" y="117"/>
                  </a:cxn>
                  <a:cxn ang="0">
                    <a:pos x="75" y="112"/>
                  </a:cxn>
                  <a:cxn ang="0">
                    <a:pos x="62" y="53"/>
                  </a:cxn>
                  <a:cxn ang="0">
                    <a:pos x="75" y="58"/>
                  </a:cxn>
                  <a:cxn ang="0">
                    <a:pos x="89" y="117"/>
                  </a:cxn>
                  <a:cxn ang="0">
                    <a:pos x="131" y="125"/>
                  </a:cxn>
                  <a:cxn ang="0">
                    <a:pos x="103" y="65"/>
                  </a:cxn>
                  <a:cxn ang="0">
                    <a:pos x="131" y="71"/>
                  </a:cxn>
                  <a:cxn ang="0">
                    <a:pos x="385" y="97"/>
                  </a:cxn>
                  <a:cxn ang="0">
                    <a:pos x="372" y="104"/>
                  </a:cxn>
                  <a:cxn ang="0">
                    <a:pos x="357" y="55"/>
                  </a:cxn>
                  <a:cxn ang="0">
                    <a:pos x="372" y="50"/>
                  </a:cxn>
                  <a:cxn ang="0">
                    <a:pos x="385" y="97"/>
                  </a:cxn>
                </a:cxnLst>
                <a:rect l="0" t="0" r="r" b="b"/>
                <a:pathLst>
                  <a:path w="421" h="138">
                    <a:moveTo>
                      <a:pt x="212" y="66"/>
                    </a:moveTo>
                    <a:lnTo>
                      <a:pt x="212" y="66"/>
                    </a:lnTo>
                    <a:lnTo>
                      <a:pt x="171" y="65"/>
                    </a:lnTo>
                    <a:lnTo>
                      <a:pt x="134" y="62"/>
                    </a:lnTo>
                    <a:lnTo>
                      <a:pt x="100" y="56"/>
                    </a:lnTo>
                    <a:lnTo>
                      <a:pt x="85" y="52"/>
                    </a:lnTo>
                    <a:lnTo>
                      <a:pt x="70" y="48"/>
                    </a:lnTo>
                    <a:lnTo>
                      <a:pt x="56" y="43"/>
                    </a:lnTo>
                    <a:lnTo>
                      <a:pt x="44" y="38"/>
                    </a:lnTo>
                    <a:lnTo>
                      <a:pt x="33" y="33"/>
                    </a:lnTo>
                    <a:lnTo>
                      <a:pt x="23" y="27"/>
                    </a:lnTo>
                    <a:lnTo>
                      <a:pt x="15" y="21"/>
                    </a:lnTo>
                    <a:lnTo>
                      <a:pt x="10" y="14"/>
                    </a:lnTo>
                    <a:lnTo>
                      <a:pt x="4" y="7"/>
                    </a:lnTo>
                    <a:lnTo>
                      <a:pt x="2" y="0"/>
                    </a:lnTo>
                    <a:lnTo>
                      <a:pt x="2" y="0"/>
                    </a:lnTo>
                    <a:lnTo>
                      <a:pt x="0" y="8"/>
                    </a:lnTo>
                    <a:lnTo>
                      <a:pt x="0" y="64"/>
                    </a:lnTo>
                    <a:lnTo>
                      <a:pt x="0" y="64"/>
                    </a:lnTo>
                    <a:lnTo>
                      <a:pt x="2" y="72"/>
                    </a:lnTo>
                    <a:lnTo>
                      <a:pt x="5" y="79"/>
                    </a:lnTo>
                    <a:lnTo>
                      <a:pt x="10" y="86"/>
                    </a:lnTo>
                    <a:lnTo>
                      <a:pt x="17" y="93"/>
                    </a:lnTo>
                    <a:lnTo>
                      <a:pt x="26" y="100"/>
                    </a:lnTo>
                    <a:lnTo>
                      <a:pt x="36" y="105"/>
                    </a:lnTo>
                    <a:lnTo>
                      <a:pt x="49" y="111"/>
                    </a:lnTo>
                    <a:lnTo>
                      <a:pt x="62" y="116"/>
                    </a:lnTo>
                    <a:lnTo>
                      <a:pt x="77" y="120"/>
                    </a:lnTo>
                    <a:lnTo>
                      <a:pt x="94" y="125"/>
                    </a:lnTo>
                    <a:lnTo>
                      <a:pt x="111" y="128"/>
                    </a:lnTo>
                    <a:lnTo>
                      <a:pt x="130" y="132"/>
                    </a:lnTo>
                    <a:lnTo>
                      <a:pt x="148" y="134"/>
                    </a:lnTo>
                    <a:lnTo>
                      <a:pt x="169" y="137"/>
                    </a:lnTo>
                    <a:lnTo>
                      <a:pt x="190" y="138"/>
                    </a:lnTo>
                    <a:lnTo>
                      <a:pt x="212" y="138"/>
                    </a:lnTo>
                    <a:lnTo>
                      <a:pt x="212" y="138"/>
                    </a:lnTo>
                    <a:lnTo>
                      <a:pt x="232" y="138"/>
                    </a:lnTo>
                    <a:lnTo>
                      <a:pt x="254" y="137"/>
                    </a:lnTo>
                    <a:lnTo>
                      <a:pt x="274" y="134"/>
                    </a:lnTo>
                    <a:lnTo>
                      <a:pt x="293" y="132"/>
                    </a:lnTo>
                    <a:lnTo>
                      <a:pt x="312" y="128"/>
                    </a:lnTo>
                    <a:lnTo>
                      <a:pt x="329" y="125"/>
                    </a:lnTo>
                    <a:lnTo>
                      <a:pt x="345" y="120"/>
                    </a:lnTo>
                    <a:lnTo>
                      <a:pt x="360" y="116"/>
                    </a:lnTo>
                    <a:lnTo>
                      <a:pt x="374" y="111"/>
                    </a:lnTo>
                    <a:lnTo>
                      <a:pt x="386" y="105"/>
                    </a:lnTo>
                    <a:lnTo>
                      <a:pt x="396" y="100"/>
                    </a:lnTo>
                    <a:lnTo>
                      <a:pt x="405" y="93"/>
                    </a:lnTo>
                    <a:lnTo>
                      <a:pt x="412" y="86"/>
                    </a:lnTo>
                    <a:lnTo>
                      <a:pt x="418" y="79"/>
                    </a:lnTo>
                    <a:lnTo>
                      <a:pt x="421" y="72"/>
                    </a:lnTo>
                    <a:lnTo>
                      <a:pt x="421" y="64"/>
                    </a:lnTo>
                    <a:lnTo>
                      <a:pt x="421" y="8"/>
                    </a:lnTo>
                    <a:lnTo>
                      <a:pt x="421" y="8"/>
                    </a:lnTo>
                    <a:lnTo>
                      <a:pt x="421" y="0"/>
                    </a:lnTo>
                    <a:lnTo>
                      <a:pt x="421" y="0"/>
                    </a:lnTo>
                    <a:lnTo>
                      <a:pt x="418" y="7"/>
                    </a:lnTo>
                    <a:lnTo>
                      <a:pt x="413" y="14"/>
                    </a:lnTo>
                    <a:lnTo>
                      <a:pt x="406" y="21"/>
                    </a:lnTo>
                    <a:lnTo>
                      <a:pt x="398" y="27"/>
                    </a:lnTo>
                    <a:lnTo>
                      <a:pt x="389" y="33"/>
                    </a:lnTo>
                    <a:lnTo>
                      <a:pt x="379" y="38"/>
                    </a:lnTo>
                    <a:lnTo>
                      <a:pt x="366" y="43"/>
                    </a:lnTo>
                    <a:lnTo>
                      <a:pt x="353" y="48"/>
                    </a:lnTo>
                    <a:lnTo>
                      <a:pt x="338" y="52"/>
                    </a:lnTo>
                    <a:lnTo>
                      <a:pt x="322" y="56"/>
                    </a:lnTo>
                    <a:lnTo>
                      <a:pt x="289" y="62"/>
                    </a:lnTo>
                    <a:lnTo>
                      <a:pt x="251" y="65"/>
                    </a:lnTo>
                    <a:lnTo>
                      <a:pt x="212" y="66"/>
                    </a:lnTo>
                    <a:lnTo>
                      <a:pt x="212" y="66"/>
                    </a:lnTo>
                    <a:close/>
                    <a:moveTo>
                      <a:pt x="48" y="103"/>
                    </a:moveTo>
                    <a:lnTo>
                      <a:pt x="48" y="103"/>
                    </a:lnTo>
                    <a:lnTo>
                      <a:pt x="33" y="95"/>
                    </a:lnTo>
                    <a:lnTo>
                      <a:pt x="20" y="87"/>
                    </a:lnTo>
                    <a:lnTo>
                      <a:pt x="20" y="33"/>
                    </a:lnTo>
                    <a:lnTo>
                      <a:pt x="20" y="33"/>
                    </a:lnTo>
                    <a:lnTo>
                      <a:pt x="33" y="41"/>
                    </a:lnTo>
                    <a:lnTo>
                      <a:pt x="48" y="49"/>
                    </a:lnTo>
                    <a:lnTo>
                      <a:pt x="48" y="103"/>
                    </a:lnTo>
                    <a:close/>
                    <a:moveTo>
                      <a:pt x="89" y="117"/>
                    </a:moveTo>
                    <a:lnTo>
                      <a:pt x="89" y="117"/>
                    </a:lnTo>
                    <a:lnTo>
                      <a:pt x="75" y="112"/>
                    </a:lnTo>
                    <a:lnTo>
                      <a:pt x="62" y="109"/>
                    </a:lnTo>
                    <a:lnTo>
                      <a:pt x="62" y="53"/>
                    </a:lnTo>
                    <a:lnTo>
                      <a:pt x="62" y="53"/>
                    </a:lnTo>
                    <a:lnTo>
                      <a:pt x="75" y="58"/>
                    </a:lnTo>
                    <a:lnTo>
                      <a:pt x="89" y="63"/>
                    </a:lnTo>
                    <a:lnTo>
                      <a:pt x="89" y="117"/>
                    </a:lnTo>
                    <a:close/>
                    <a:moveTo>
                      <a:pt x="131" y="125"/>
                    </a:moveTo>
                    <a:lnTo>
                      <a:pt x="131" y="125"/>
                    </a:lnTo>
                    <a:lnTo>
                      <a:pt x="103" y="120"/>
                    </a:lnTo>
                    <a:lnTo>
                      <a:pt x="103" y="65"/>
                    </a:lnTo>
                    <a:lnTo>
                      <a:pt x="103" y="65"/>
                    </a:lnTo>
                    <a:lnTo>
                      <a:pt x="131" y="71"/>
                    </a:lnTo>
                    <a:lnTo>
                      <a:pt x="131" y="125"/>
                    </a:lnTo>
                    <a:close/>
                    <a:moveTo>
                      <a:pt x="385" y="97"/>
                    </a:moveTo>
                    <a:lnTo>
                      <a:pt x="385" y="97"/>
                    </a:lnTo>
                    <a:lnTo>
                      <a:pt x="372" y="104"/>
                    </a:lnTo>
                    <a:lnTo>
                      <a:pt x="357" y="110"/>
                    </a:lnTo>
                    <a:lnTo>
                      <a:pt x="357" y="55"/>
                    </a:lnTo>
                    <a:lnTo>
                      <a:pt x="357" y="55"/>
                    </a:lnTo>
                    <a:lnTo>
                      <a:pt x="372" y="50"/>
                    </a:lnTo>
                    <a:lnTo>
                      <a:pt x="385" y="43"/>
                    </a:lnTo>
                    <a:lnTo>
                      <a:pt x="385"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0" name="Freeform 75">
                <a:extLst>
                  <a:ext uri="{FF2B5EF4-FFF2-40B4-BE49-F238E27FC236}">
                    <a16:creationId xmlns:a16="http://schemas.microsoft.com/office/drawing/2014/main" id="{6296DBDB-4D75-E0D1-921B-7A99DF81D3BD}"/>
                  </a:ext>
                </a:extLst>
              </p:cNvPr>
              <p:cNvSpPr>
                <a:spLocks/>
              </p:cNvSpPr>
              <p:nvPr/>
            </p:nvSpPr>
            <p:spPr bwMode="auto">
              <a:xfrm>
                <a:off x="2047875" y="2362200"/>
                <a:ext cx="395288" cy="298450"/>
              </a:xfrm>
              <a:custGeom>
                <a:avLst/>
                <a:gdLst/>
                <a:ahLst/>
                <a:cxnLst>
                  <a:cxn ang="0">
                    <a:pos x="72" y="1126"/>
                  </a:cxn>
                  <a:cxn ang="0">
                    <a:pos x="91" y="1122"/>
                  </a:cxn>
                  <a:cxn ang="0">
                    <a:pos x="232" y="1079"/>
                  </a:cxn>
                  <a:cxn ang="0">
                    <a:pos x="348" y="1035"/>
                  </a:cxn>
                  <a:cxn ang="0">
                    <a:pos x="485" y="974"/>
                  </a:cxn>
                  <a:cxn ang="0">
                    <a:pos x="585" y="923"/>
                  </a:cxn>
                  <a:cxn ang="0">
                    <a:pos x="720" y="844"/>
                  </a:cxn>
                  <a:cxn ang="0">
                    <a:pos x="865" y="744"/>
                  </a:cxn>
                  <a:cxn ang="0">
                    <a:pos x="1012" y="622"/>
                  </a:cxn>
                  <a:cxn ang="0">
                    <a:pos x="1156" y="477"/>
                  </a:cxn>
                  <a:cxn ang="0">
                    <a:pos x="1249" y="366"/>
                  </a:cxn>
                  <a:cxn ang="0">
                    <a:pos x="1313" y="275"/>
                  </a:cxn>
                  <a:cxn ang="0">
                    <a:pos x="1364" y="414"/>
                  </a:cxn>
                  <a:cxn ang="0">
                    <a:pos x="1378" y="446"/>
                  </a:cxn>
                  <a:cxn ang="0">
                    <a:pos x="1406" y="464"/>
                  </a:cxn>
                  <a:cxn ang="0">
                    <a:pos x="1428" y="469"/>
                  </a:cxn>
                  <a:cxn ang="0">
                    <a:pos x="1451" y="464"/>
                  </a:cxn>
                  <a:cxn ang="0">
                    <a:pos x="1481" y="441"/>
                  </a:cxn>
                  <a:cxn ang="0">
                    <a:pos x="1492" y="406"/>
                  </a:cxn>
                  <a:cxn ang="0">
                    <a:pos x="1432" y="53"/>
                  </a:cxn>
                  <a:cxn ang="0">
                    <a:pos x="1416" y="20"/>
                  </a:cxn>
                  <a:cxn ang="0">
                    <a:pos x="1384" y="1"/>
                  </a:cxn>
                  <a:cxn ang="0">
                    <a:pos x="1025" y="58"/>
                  </a:cxn>
                  <a:cxn ang="0">
                    <a:pos x="1001" y="67"/>
                  </a:cxn>
                  <a:cxn ang="0">
                    <a:pos x="976" y="95"/>
                  </a:cxn>
                  <a:cxn ang="0">
                    <a:pos x="972" y="133"/>
                  </a:cxn>
                  <a:cxn ang="0">
                    <a:pos x="981" y="156"/>
                  </a:cxn>
                  <a:cxn ang="0">
                    <a:pos x="1009" y="180"/>
                  </a:cxn>
                  <a:cxn ang="0">
                    <a:pos x="1047" y="185"/>
                  </a:cxn>
                  <a:cxn ang="0">
                    <a:pos x="1220" y="183"/>
                  </a:cxn>
                  <a:cxn ang="0">
                    <a:pos x="1158" y="271"/>
                  </a:cxn>
                  <a:cxn ang="0">
                    <a:pos x="1093" y="353"/>
                  </a:cxn>
                  <a:cxn ang="0">
                    <a:pos x="978" y="478"/>
                  </a:cxn>
                  <a:cxn ang="0">
                    <a:pos x="831" y="605"/>
                  </a:cxn>
                  <a:cxn ang="0">
                    <a:pos x="685" y="712"/>
                  </a:cxn>
                  <a:cxn ang="0">
                    <a:pos x="539" y="800"/>
                  </a:cxn>
                  <a:cxn ang="0">
                    <a:pos x="404" y="869"/>
                  </a:cxn>
                  <a:cxn ang="0">
                    <a:pos x="283" y="921"/>
                  </a:cxn>
                  <a:cxn ang="0">
                    <a:pos x="128" y="976"/>
                  </a:cxn>
                  <a:cxn ang="0">
                    <a:pos x="50" y="998"/>
                  </a:cxn>
                  <a:cxn ang="0">
                    <a:pos x="18" y="1017"/>
                  </a:cxn>
                  <a:cxn ang="0">
                    <a:pos x="1" y="1050"/>
                  </a:cxn>
                  <a:cxn ang="0">
                    <a:pos x="1" y="1076"/>
                  </a:cxn>
                  <a:cxn ang="0">
                    <a:pos x="16" y="1104"/>
                  </a:cxn>
                  <a:cxn ang="0">
                    <a:pos x="43" y="1123"/>
                  </a:cxn>
                  <a:cxn ang="0">
                    <a:pos x="65" y="1126"/>
                  </a:cxn>
                </a:cxnLst>
                <a:rect l="0" t="0" r="r" b="b"/>
                <a:pathLst>
                  <a:path w="1492" h="1126">
                    <a:moveTo>
                      <a:pt x="65" y="1126"/>
                    </a:moveTo>
                    <a:lnTo>
                      <a:pt x="65" y="1126"/>
                    </a:lnTo>
                    <a:lnTo>
                      <a:pt x="72" y="1126"/>
                    </a:lnTo>
                    <a:lnTo>
                      <a:pt x="79" y="1125"/>
                    </a:lnTo>
                    <a:lnTo>
                      <a:pt x="79" y="1125"/>
                    </a:lnTo>
                    <a:lnTo>
                      <a:pt x="91" y="1122"/>
                    </a:lnTo>
                    <a:lnTo>
                      <a:pt x="123" y="1114"/>
                    </a:lnTo>
                    <a:lnTo>
                      <a:pt x="170" y="1100"/>
                    </a:lnTo>
                    <a:lnTo>
                      <a:pt x="232" y="1079"/>
                    </a:lnTo>
                    <a:lnTo>
                      <a:pt x="268" y="1066"/>
                    </a:lnTo>
                    <a:lnTo>
                      <a:pt x="306" y="1051"/>
                    </a:lnTo>
                    <a:lnTo>
                      <a:pt x="348" y="1035"/>
                    </a:lnTo>
                    <a:lnTo>
                      <a:pt x="391" y="1017"/>
                    </a:lnTo>
                    <a:lnTo>
                      <a:pt x="436" y="997"/>
                    </a:lnTo>
                    <a:lnTo>
                      <a:pt x="485" y="974"/>
                    </a:lnTo>
                    <a:lnTo>
                      <a:pt x="535" y="950"/>
                    </a:lnTo>
                    <a:lnTo>
                      <a:pt x="585" y="923"/>
                    </a:lnTo>
                    <a:lnTo>
                      <a:pt x="585" y="923"/>
                    </a:lnTo>
                    <a:lnTo>
                      <a:pt x="628" y="899"/>
                    </a:lnTo>
                    <a:lnTo>
                      <a:pt x="673" y="873"/>
                    </a:lnTo>
                    <a:lnTo>
                      <a:pt x="720" y="844"/>
                    </a:lnTo>
                    <a:lnTo>
                      <a:pt x="768" y="813"/>
                    </a:lnTo>
                    <a:lnTo>
                      <a:pt x="815" y="780"/>
                    </a:lnTo>
                    <a:lnTo>
                      <a:pt x="865" y="744"/>
                    </a:lnTo>
                    <a:lnTo>
                      <a:pt x="913" y="706"/>
                    </a:lnTo>
                    <a:lnTo>
                      <a:pt x="963" y="665"/>
                    </a:lnTo>
                    <a:lnTo>
                      <a:pt x="1012" y="622"/>
                    </a:lnTo>
                    <a:lnTo>
                      <a:pt x="1061" y="576"/>
                    </a:lnTo>
                    <a:lnTo>
                      <a:pt x="1109" y="528"/>
                    </a:lnTo>
                    <a:lnTo>
                      <a:pt x="1156" y="477"/>
                    </a:lnTo>
                    <a:lnTo>
                      <a:pt x="1203" y="423"/>
                    </a:lnTo>
                    <a:lnTo>
                      <a:pt x="1226" y="395"/>
                    </a:lnTo>
                    <a:lnTo>
                      <a:pt x="1249" y="366"/>
                    </a:lnTo>
                    <a:lnTo>
                      <a:pt x="1271" y="336"/>
                    </a:lnTo>
                    <a:lnTo>
                      <a:pt x="1293" y="306"/>
                    </a:lnTo>
                    <a:lnTo>
                      <a:pt x="1313" y="275"/>
                    </a:lnTo>
                    <a:lnTo>
                      <a:pt x="1334" y="243"/>
                    </a:lnTo>
                    <a:lnTo>
                      <a:pt x="1364" y="414"/>
                    </a:lnTo>
                    <a:lnTo>
                      <a:pt x="1364" y="414"/>
                    </a:lnTo>
                    <a:lnTo>
                      <a:pt x="1366" y="426"/>
                    </a:lnTo>
                    <a:lnTo>
                      <a:pt x="1372" y="436"/>
                    </a:lnTo>
                    <a:lnTo>
                      <a:pt x="1378" y="446"/>
                    </a:lnTo>
                    <a:lnTo>
                      <a:pt x="1386" y="454"/>
                    </a:lnTo>
                    <a:lnTo>
                      <a:pt x="1395" y="459"/>
                    </a:lnTo>
                    <a:lnTo>
                      <a:pt x="1406" y="464"/>
                    </a:lnTo>
                    <a:lnTo>
                      <a:pt x="1416" y="468"/>
                    </a:lnTo>
                    <a:lnTo>
                      <a:pt x="1428" y="469"/>
                    </a:lnTo>
                    <a:lnTo>
                      <a:pt x="1428" y="469"/>
                    </a:lnTo>
                    <a:lnTo>
                      <a:pt x="1438" y="468"/>
                    </a:lnTo>
                    <a:lnTo>
                      <a:pt x="1438" y="468"/>
                    </a:lnTo>
                    <a:lnTo>
                      <a:pt x="1451" y="464"/>
                    </a:lnTo>
                    <a:lnTo>
                      <a:pt x="1462" y="458"/>
                    </a:lnTo>
                    <a:lnTo>
                      <a:pt x="1473" y="450"/>
                    </a:lnTo>
                    <a:lnTo>
                      <a:pt x="1481" y="441"/>
                    </a:lnTo>
                    <a:lnTo>
                      <a:pt x="1486" y="431"/>
                    </a:lnTo>
                    <a:lnTo>
                      <a:pt x="1490" y="419"/>
                    </a:lnTo>
                    <a:lnTo>
                      <a:pt x="1492" y="406"/>
                    </a:lnTo>
                    <a:lnTo>
                      <a:pt x="1491" y="393"/>
                    </a:lnTo>
                    <a:lnTo>
                      <a:pt x="1432" y="53"/>
                    </a:lnTo>
                    <a:lnTo>
                      <a:pt x="1432" y="53"/>
                    </a:lnTo>
                    <a:lnTo>
                      <a:pt x="1429" y="41"/>
                    </a:lnTo>
                    <a:lnTo>
                      <a:pt x="1423" y="29"/>
                    </a:lnTo>
                    <a:lnTo>
                      <a:pt x="1416" y="20"/>
                    </a:lnTo>
                    <a:lnTo>
                      <a:pt x="1407" y="12"/>
                    </a:lnTo>
                    <a:lnTo>
                      <a:pt x="1395" y="6"/>
                    </a:lnTo>
                    <a:lnTo>
                      <a:pt x="1384" y="1"/>
                    </a:lnTo>
                    <a:lnTo>
                      <a:pt x="1371" y="0"/>
                    </a:lnTo>
                    <a:lnTo>
                      <a:pt x="1358" y="0"/>
                    </a:lnTo>
                    <a:lnTo>
                      <a:pt x="1025" y="58"/>
                    </a:lnTo>
                    <a:lnTo>
                      <a:pt x="1025" y="58"/>
                    </a:lnTo>
                    <a:lnTo>
                      <a:pt x="1012" y="61"/>
                    </a:lnTo>
                    <a:lnTo>
                      <a:pt x="1001" y="67"/>
                    </a:lnTo>
                    <a:lnTo>
                      <a:pt x="991" y="75"/>
                    </a:lnTo>
                    <a:lnTo>
                      <a:pt x="983" y="84"/>
                    </a:lnTo>
                    <a:lnTo>
                      <a:pt x="976" y="95"/>
                    </a:lnTo>
                    <a:lnTo>
                      <a:pt x="973" y="108"/>
                    </a:lnTo>
                    <a:lnTo>
                      <a:pt x="971" y="119"/>
                    </a:lnTo>
                    <a:lnTo>
                      <a:pt x="972" y="133"/>
                    </a:lnTo>
                    <a:lnTo>
                      <a:pt x="972" y="133"/>
                    </a:lnTo>
                    <a:lnTo>
                      <a:pt x="975" y="146"/>
                    </a:lnTo>
                    <a:lnTo>
                      <a:pt x="981" y="156"/>
                    </a:lnTo>
                    <a:lnTo>
                      <a:pt x="989" y="166"/>
                    </a:lnTo>
                    <a:lnTo>
                      <a:pt x="998" y="174"/>
                    </a:lnTo>
                    <a:lnTo>
                      <a:pt x="1009" y="180"/>
                    </a:lnTo>
                    <a:lnTo>
                      <a:pt x="1021" y="185"/>
                    </a:lnTo>
                    <a:lnTo>
                      <a:pt x="1033" y="186"/>
                    </a:lnTo>
                    <a:lnTo>
                      <a:pt x="1047" y="185"/>
                    </a:lnTo>
                    <a:lnTo>
                      <a:pt x="1240" y="153"/>
                    </a:lnTo>
                    <a:lnTo>
                      <a:pt x="1240" y="153"/>
                    </a:lnTo>
                    <a:lnTo>
                      <a:pt x="1220" y="183"/>
                    </a:lnTo>
                    <a:lnTo>
                      <a:pt x="1199" y="214"/>
                    </a:lnTo>
                    <a:lnTo>
                      <a:pt x="1178" y="243"/>
                    </a:lnTo>
                    <a:lnTo>
                      <a:pt x="1158" y="271"/>
                    </a:lnTo>
                    <a:lnTo>
                      <a:pt x="1137" y="299"/>
                    </a:lnTo>
                    <a:lnTo>
                      <a:pt x="1115" y="327"/>
                    </a:lnTo>
                    <a:lnTo>
                      <a:pt x="1093" y="353"/>
                    </a:lnTo>
                    <a:lnTo>
                      <a:pt x="1070" y="380"/>
                    </a:lnTo>
                    <a:lnTo>
                      <a:pt x="1024" y="429"/>
                    </a:lnTo>
                    <a:lnTo>
                      <a:pt x="978" y="478"/>
                    </a:lnTo>
                    <a:lnTo>
                      <a:pt x="929" y="523"/>
                    </a:lnTo>
                    <a:lnTo>
                      <a:pt x="881" y="566"/>
                    </a:lnTo>
                    <a:lnTo>
                      <a:pt x="831" y="605"/>
                    </a:lnTo>
                    <a:lnTo>
                      <a:pt x="783" y="643"/>
                    </a:lnTo>
                    <a:lnTo>
                      <a:pt x="733" y="679"/>
                    </a:lnTo>
                    <a:lnTo>
                      <a:pt x="685" y="712"/>
                    </a:lnTo>
                    <a:lnTo>
                      <a:pt x="635" y="743"/>
                    </a:lnTo>
                    <a:lnTo>
                      <a:pt x="588" y="772"/>
                    </a:lnTo>
                    <a:lnTo>
                      <a:pt x="539" y="800"/>
                    </a:lnTo>
                    <a:lnTo>
                      <a:pt x="493" y="824"/>
                    </a:lnTo>
                    <a:lnTo>
                      <a:pt x="448" y="847"/>
                    </a:lnTo>
                    <a:lnTo>
                      <a:pt x="404" y="869"/>
                    </a:lnTo>
                    <a:lnTo>
                      <a:pt x="361" y="888"/>
                    </a:lnTo>
                    <a:lnTo>
                      <a:pt x="321" y="906"/>
                    </a:lnTo>
                    <a:lnTo>
                      <a:pt x="283" y="921"/>
                    </a:lnTo>
                    <a:lnTo>
                      <a:pt x="247" y="936"/>
                    </a:lnTo>
                    <a:lnTo>
                      <a:pt x="181" y="959"/>
                    </a:lnTo>
                    <a:lnTo>
                      <a:pt x="128" y="976"/>
                    </a:lnTo>
                    <a:lnTo>
                      <a:pt x="87" y="989"/>
                    </a:lnTo>
                    <a:lnTo>
                      <a:pt x="50" y="998"/>
                    </a:lnTo>
                    <a:lnTo>
                      <a:pt x="50" y="998"/>
                    </a:lnTo>
                    <a:lnTo>
                      <a:pt x="38" y="1003"/>
                    </a:lnTo>
                    <a:lnTo>
                      <a:pt x="27" y="1009"/>
                    </a:lnTo>
                    <a:lnTo>
                      <a:pt x="18" y="1017"/>
                    </a:lnTo>
                    <a:lnTo>
                      <a:pt x="10" y="1027"/>
                    </a:lnTo>
                    <a:lnTo>
                      <a:pt x="5" y="1038"/>
                    </a:lnTo>
                    <a:lnTo>
                      <a:pt x="1" y="1050"/>
                    </a:lnTo>
                    <a:lnTo>
                      <a:pt x="0" y="1063"/>
                    </a:lnTo>
                    <a:lnTo>
                      <a:pt x="1" y="1076"/>
                    </a:lnTo>
                    <a:lnTo>
                      <a:pt x="1" y="1076"/>
                    </a:lnTo>
                    <a:lnTo>
                      <a:pt x="5" y="1086"/>
                    </a:lnTo>
                    <a:lnTo>
                      <a:pt x="10" y="1096"/>
                    </a:lnTo>
                    <a:lnTo>
                      <a:pt x="16" y="1104"/>
                    </a:lnTo>
                    <a:lnTo>
                      <a:pt x="25" y="1113"/>
                    </a:lnTo>
                    <a:lnTo>
                      <a:pt x="34" y="1118"/>
                    </a:lnTo>
                    <a:lnTo>
                      <a:pt x="43" y="1123"/>
                    </a:lnTo>
                    <a:lnTo>
                      <a:pt x="53" y="1125"/>
                    </a:lnTo>
                    <a:lnTo>
                      <a:pt x="65" y="1126"/>
                    </a:lnTo>
                    <a:lnTo>
                      <a:pt x="65" y="11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grpSp>
        <p:nvGrpSpPr>
          <p:cNvPr id="31" name="Group 30">
            <a:extLst>
              <a:ext uri="{FF2B5EF4-FFF2-40B4-BE49-F238E27FC236}">
                <a16:creationId xmlns:a16="http://schemas.microsoft.com/office/drawing/2014/main" id="{12DE888E-7BA0-B4CF-9699-E5EA101B96B2}"/>
              </a:ext>
            </a:extLst>
          </p:cNvPr>
          <p:cNvGrpSpPr/>
          <p:nvPr/>
        </p:nvGrpSpPr>
        <p:grpSpPr>
          <a:xfrm>
            <a:off x="6239233" y="2688515"/>
            <a:ext cx="314632" cy="292198"/>
            <a:chOff x="5335588" y="3648075"/>
            <a:chExt cx="890588" cy="827088"/>
          </a:xfrm>
          <a:solidFill>
            <a:schemeClr val="bg1"/>
          </a:solidFill>
        </p:grpSpPr>
        <p:sp>
          <p:nvSpPr>
            <p:cNvPr id="32" name="Freeform 154">
              <a:extLst>
                <a:ext uri="{FF2B5EF4-FFF2-40B4-BE49-F238E27FC236}">
                  <a16:creationId xmlns:a16="http://schemas.microsoft.com/office/drawing/2014/main" id="{46FF0678-3625-881D-5B77-915F7C6D95C7}"/>
                </a:ext>
              </a:extLst>
            </p:cNvPr>
            <p:cNvSpPr>
              <a:spLocks noEditPoints="1"/>
            </p:cNvSpPr>
            <p:nvPr/>
          </p:nvSpPr>
          <p:spPr bwMode="auto">
            <a:xfrm>
              <a:off x="5684838" y="3648075"/>
              <a:ext cx="541338" cy="714375"/>
            </a:xfrm>
            <a:custGeom>
              <a:avLst/>
              <a:gdLst/>
              <a:ahLst/>
              <a:cxnLst>
                <a:cxn ang="0">
                  <a:pos x="54" y="0"/>
                </a:cxn>
                <a:cxn ang="0">
                  <a:pos x="43" y="1"/>
                </a:cxn>
                <a:cxn ang="0">
                  <a:pos x="24" y="9"/>
                </a:cxn>
                <a:cxn ang="0">
                  <a:pos x="9" y="24"/>
                </a:cxn>
                <a:cxn ang="0">
                  <a:pos x="1" y="43"/>
                </a:cxn>
                <a:cxn ang="0">
                  <a:pos x="0" y="298"/>
                </a:cxn>
                <a:cxn ang="0">
                  <a:pos x="13" y="306"/>
                </a:cxn>
                <a:cxn ang="0">
                  <a:pos x="29" y="54"/>
                </a:cxn>
                <a:cxn ang="0">
                  <a:pos x="30" y="49"/>
                </a:cxn>
                <a:cxn ang="0">
                  <a:pos x="33" y="40"/>
                </a:cxn>
                <a:cxn ang="0">
                  <a:pos x="40" y="34"/>
                </a:cxn>
                <a:cxn ang="0">
                  <a:pos x="50" y="30"/>
                </a:cxn>
                <a:cxn ang="0">
                  <a:pos x="54" y="29"/>
                </a:cxn>
                <a:cxn ang="0">
                  <a:pos x="222" y="29"/>
                </a:cxn>
                <a:cxn ang="0">
                  <a:pos x="222" y="69"/>
                </a:cxn>
                <a:cxn ang="0">
                  <a:pos x="226" y="90"/>
                </a:cxn>
                <a:cxn ang="0">
                  <a:pos x="237" y="107"/>
                </a:cxn>
                <a:cxn ang="0">
                  <a:pos x="254" y="119"/>
                </a:cxn>
                <a:cxn ang="0">
                  <a:pos x="276" y="123"/>
                </a:cxn>
                <a:cxn ang="0">
                  <a:pos x="310" y="123"/>
                </a:cxn>
                <a:cxn ang="0">
                  <a:pos x="310" y="395"/>
                </a:cxn>
                <a:cxn ang="0">
                  <a:pos x="310" y="400"/>
                </a:cxn>
                <a:cxn ang="0">
                  <a:pos x="306" y="409"/>
                </a:cxn>
                <a:cxn ang="0">
                  <a:pos x="300" y="415"/>
                </a:cxn>
                <a:cxn ang="0">
                  <a:pos x="291" y="420"/>
                </a:cxn>
                <a:cxn ang="0">
                  <a:pos x="152" y="420"/>
                </a:cxn>
                <a:cxn ang="0">
                  <a:pos x="161" y="435"/>
                </a:cxn>
                <a:cxn ang="0">
                  <a:pos x="166" y="450"/>
                </a:cxn>
                <a:cxn ang="0">
                  <a:pos x="286" y="450"/>
                </a:cxn>
                <a:cxn ang="0">
                  <a:pos x="307" y="445"/>
                </a:cxn>
                <a:cxn ang="0">
                  <a:pos x="324" y="434"/>
                </a:cxn>
                <a:cxn ang="0">
                  <a:pos x="336" y="416"/>
                </a:cxn>
                <a:cxn ang="0">
                  <a:pos x="341" y="395"/>
                </a:cxn>
                <a:cxn ang="0">
                  <a:pos x="236" y="0"/>
                </a:cxn>
                <a:cxn ang="0">
                  <a:pos x="276" y="94"/>
                </a:cxn>
                <a:cxn ang="0">
                  <a:pos x="266" y="92"/>
                </a:cxn>
                <a:cxn ang="0">
                  <a:pos x="259" y="86"/>
                </a:cxn>
                <a:cxn ang="0">
                  <a:pos x="253" y="79"/>
                </a:cxn>
                <a:cxn ang="0">
                  <a:pos x="251" y="69"/>
                </a:cxn>
                <a:cxn ang="0">
                  <a:pos x="291" y="94"/>
                </a:cxn>
              </a:cxnLst>
              <a:rect l="0" t="0" r="r" b="b"/>
              <a:pathLst>
                <a:path w="341" h="450">
                  <a:moveTo>
                    <a:pt x="236" y="0"/>
                  </a:moveTo>
                  <a:lnTo>
                    <a:pt x="54" y="0"/>
                  </a:lnTo>
                  <a:lnTo>
                    <a:pt x="54" y="0"/>
                  </a:lnTo>
                  <a:lnTo>
                    <a:pt x="43" y="1"/>
                  </a:lnTo>
                  <a:lnTo>
                    <a:pt x="33" y="4"/>
                  </a:lnTo>
                  <a:lnTo>
                    <a:pt x="24" y="9"/>
                  </a:lnTo>
                  <a:lnTo>
                    <a:pt x="16" y="15"/>
                  </a:lnTo>
                  <a:lnTo>
                    <a:pt x="9" y="24"/>
                  </a:lnTo>
                  <a:lnTo>
                    <a:pt x="4" y="32"/>
                  </a:lnTo>
                  <a:lnTo>
                    <a:pt x="1" y="43"/>
                  </a:lnTo>
                  <a:lnTo>
                    <a:pt x="0" y="54"/>
                  </a:lnTo>
                  <a:lnTo>
                    <a:pt x="0" y="298"/>
                  </a:lnTo>
                  <a:lnTo>
                    <a:pt x="0" y="298"/>
                  </a:lnTo>
                  <a:lnTo>
                    <a:pt x="13" y="306"/>
                  </a:lnTo>
                  <a:lnTo>
                    <a:pt x="29" y="317"/>
                  </a:lnTo>
                  <a:lnTo>
                    <a:pt x="29" y="54"/>
                  </a:lnTo>
                  <a:lnTo>
                    <a:pt x="29" y="54"/>
                  </a:lnTo>
                  <a:lnTo>
                    <a:pt x="30" y="49"/>
                  </a:lnTo>
                  <a:lnTo>
                    <a:pt x="31" y="44"/>
                  </a:lnTo>
                  <a:lnTo>
                    <a:pt x="33" y="40"/>
                  </a:lnTo>
                  <a:lnTo>
                    <a:pt x="37" y="37"/>
                  </a:lnTo>
                  <a:lnTo>
                    <a:pt x="40" y="34"/>
                  </a:lnTo>
                  <a:lnTo>
                    <a:pt x="44" y="31"/>
                  </a:lnTo>
                  <a:lnTo>
                    <a:pt x="50" y="30"/>
                  </a:lnTo>
                  <a:lnTo>
                    <a:pt x="54" y="29"/>
                  </a:lnTo>
                  <a:lnTo>
                    <a:pt x="54" y="29"/>
                  </a:lnTo>
                  <a:lnTo>
                    <a:pt x="222" y="29"/>
                  </a:lnTo>
                  <a:lnTo>
                    <a:pt x="222" y="29"/>
                  </a:lnTo>
                  <a:lnTo>
                    <a:pt x="222" y="69"/>
                  </a:lnTo>
                  <a:lnTo>
                    <a:pt x="222" y="69"/>
                  </a:lnTo>
                  <a:lnTo>
                    <a:pt x="223" y="80"/>
                  </a:lnTo>
                  <a:lnTo>
                    <a:pt x="226" y="90"/>
                  </a:lnTo>
                  <a:lnTo>
                    <a:pt x="231" y="99"/>
                  </a:lnTo>
                  <a:lnTo>
                    <a:pt x="237" y="107"/>
                  </a:lnTo>
                  <a:lnTo>
                    <a:pt x="246" y="114"/>
                  </a:lnTo>
                  <a:lnTo>
                    <a:pt x="254" y="119"/>
                  </a:lnTo>
                  <a:lnTo>
                    <a:pt x="265" y="122"/>
                  </a:lnTo>
                  <a:lnTo>
                    <a:pt x="276" y="123"/>
                  </a:lnTo>
                  <a:lnTo>
                    <a:pt x="276" y="123"/>
                  </a:lnTo>
                  <a:lnTo>
                    <a:pt x="310" y="123"/>
                  </a:lnTo>
                  <a:lnTo>
                    <a:pt x="310" y="123"/>
                  </a:lnTo>
                  <a:lnTo>
                    <a:pt x="310" y="395"/>
                  </a:lnTo>
                  <a:lnTo>
                    <a:pt x="310" y="395"/>
                  </a:lnTo>
                  <a:lnTo>
                    <a:pt x="310" y="400"/>
                  </a:lnTo>
                  <a:lnTo>
                    <a:pt x="308" y="404"/>
                  </a:lnTo>
                  <a:lnTo>
                    <a:pt x="306" y="409"/>
                  </a:lnTo>
                  <a:lnTo>
                    <a:pt x="303" y="412"/>
                  </a:lnTo>
                  <a:lnTo>
                    <a:pt x="300" y="415"/>
                  </a:lnTo>
                  <a:lnTo>
                    <a:pt x="295" y="417"/>
                  </a:lnTo>
                  <a:lnTo>
                    <a:pt x="291" y="420"/>
                  </a:lnTo>
                  <a:lnTo>
                    <a:pt x="286" y="420"/>
                  </a:lnTo>
                  <a:lnTo>
                    <a:pt x="152" y="420"/>
                  </a:lnTo>
                  <a:lnTo>
                    <a:pt x="152" y="420"/>
                  </a:lnTo>
                  <a:lnTo>
                    <a:pt x="161" y="435"/>
                  </a:lnTo>
                  <a:lnTo>
                    <a:pt x="164" y="443"/>
                  </a:lnTo>
                  <a:lnTo>
                    <a:pt x="166" y="450"/>
                  </a:lnTo>
                  <a:lnTo>
                    <a:pt x="286" y="450"/>
                  </a:lnTo>
                  <a:lnTo>
                    <a:pt x="286" y="450"/>
                  </a:lnTo>
                  <a:lnTo>
                    <a:pt x="296" y="449"/>
                  </a:lnTo>
                  <a:lnTo>
                    <a:pt x="307" y="445"/>
                  </a:lnTo>
                  <a:lnTo>
                    <a:pt x="316" y="440"/>
                  </a:lnTo>
                  <a:lnTo>
                    <a:pt x="324" y="434"/>
                  </a:lnTo>
                  <a:lnTo>
                    <a:pt x="331" y="425"/>
                  </a:lnTo>
                  <a:lnTo>
                    <a:pt x="336" y="416"/>
                  </a:lnTo>
                  <a:lnTo>
                    <a:pt x="340" y="406"/>
                  </a:lnTo>
                  <a:lnTo>
                    <a:pt x="341" y="395"/>
                  </a:lnTo>
                  <a:lnTo>
                    <a:pt x="341" y="108"/>
                  </a:lnTo>
                  <a:lnTo>
                    <a:pt x="236" y="0"/>
                  </a:lnTo>
                  <a:close/>
                  <a:moveTo>
                    <a:pt x="276" y="94"/>
                  </a:moveTo>
                  <a:lnTo>
                    <a:pt x="276" y="94"/>
                  </a:lnTo>
                  <a:lnTo>
                    <a:pt x="271" y="93"/>
                  </a:lnTo>
                  <a:lnTo>
                    <a:pt x="266" y="92"/>
                  </a:lnTo>
                  <a:lnTo>
                    <a:pt x="262" y="90"/>
                  </a:lnTo>
                  <a:lnTo>
                    <a:pt x="259" y="86"/>
                  </a:lnTo>
                  <a:lnTo>
                    <a:pt x="255" y="83"/>
                  </a:lnTo>
                  <a:lnTo>
                    <a:pt x="253" y="79"/>
                  </a:lnTo>
                  <a:lnTo>
                    <a:pt x="252" y="73"/>
                  </a:lnTo>
                  <a:lnTo>
                    <a:pt x="251" y="69"/>
                  </a:lnTo>
                  <a:lnTo>
                    <a:pt x="251" y="52"/>
                  </a:lnTo>
                  <a:lnTo>
                    <a:pt x="291" y="94"/>
                  </a:lnTo>
                  <a:lnTo>
                    <a:pt x="276" y="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3" name="Freeform 155">
              <a:extLst>
                <a:ext uri="{FF2B5EF4-FFF2-40B4-BE49-F238E27FC236}">
                  <a16:creationId xmlns:a16="http://schemas.microsoft.com/office/drawing/2014/main" id="{EBF15CFC-5467-9E19-8AAE-63370AF250E2}"/>
                </a:ext>
              </a:extLst>
            </p:cNvPr>
            <p:cNvSpPr>
              <a:spLocks/>
            </p:cNvSpPr>
            <p:nvPr/>
          </p:nvSpPr>
          <p:spPr bwMode="auto">
            <a:xfrm>
              <a:off x="5335588" y="4164013"/>
              <a:ext cx="795338" cy="311150"/>
            </a:xfrm>
            <a:custGeom>
              <a:avLst/>
              <a:gdLst/>
              <a:ahLst/>
              <a:cxnLst>
                <a:cxn ang="0">
                  <a:pos x="482" y="192"/>
                </a:cxn>
                <a:cxn ang="0">
                  <a:pos x="260" y="196"/>
                </a:cxn>
                <a:cxn ang="0">
                  <a:pos x="248" y="196"/>
                </a:cxn>
                <a:cxn ang="0">
                  <a:pos x="234" y="195"/>
                </a:cxn>
                <a:cxn ang="0">
                  <a:pos x="209" y="187"/>
                </a:cxn>
                <a:cxn ang="0">
                  <a:pos x="186" y="174"/>
                </a:cxn>
                <a:cxn ang="0">
                  <a:pos x="155" y="149"/>
                </a:cxn>
                <a:cxn ang="0">
                  <a:pos x="115" y="114"/>
                </a:cxn>
                <a:cxn ang="0">
                  <a:pos x="96" y="100"/>
                </a:cxn>
                <a:cxn ang="0">
                  <a:pos x="74" y="91"/>
                </a:cxn>
                <a:cxn ang="0">
                  <a:pos x="60" y="88"/>
                </a:cxn>
                <a:cxn ang="0">
                  <a:pos x="40" y="87"/>
                </a:cxn>
                <a:cxn ang="0">
                  <a:pos x="25" y="89"/>
                </a:cxn>
                <a:cxn ang="0">
                  <a:pos x="2" y="97"/>
                </a:cxn>
                <a:cxn ang="0">
                  <a:pos x="0" y="4"/>
                </a:cxn>
                <a:cxn ang="0">
                  <a:pos x="34" y="2"/>
                </a:cxn>
                <a:cxn ang="0">
                  <a:pos x="111" y="1"/>
                </a:cxn>
                <a:cxn ang="0">
                  <a:pos x="175" y="1"/>
                </a:cxn>
                <a:cxn ang="0">
                  <a:pos x="180" y="2"/>
                </a:cxn>
                <a:cxn ang="0">
                  <a:pos x="202" y="12"/>
                </a:cxn>
                <a:cxn ang="0">
                  <a:pos x="237" y="36"/>
                </a:cxn>
                <a:cxn ang="0">
                  <a:pos x="292" y="79"/>
                </a:cxn>
                <a:cxn ang="0">
                  <a:pos x="312" y="94"/>
                </a:cxn>
                <a:cxn ang="0">
                  <a:pos x="328" y="108"/>
                </a:cxn>
                <a:cxn ang="0">
                  <a:pos x="336" y="120"/>
                </a:cxn>
                <a:cxn ang="0">
                  <a:pos x="337" y="128"/>
                </a:cxn>
                <a:cxn ang="0">
                  <a:pos x="335" y="134"/>
                </a:cxn>
                <a:cxn ang="0">
                  <a:pos x="334" y="137"/>
                </a:cxn>
                <a:cxn ang="0">
                  <a:pos x="327" y="139"/>
                </a:cxn>
                <a:cxn ang="0">
                  <a:pos x="312" y="134"/>
                </a:cxn>
                <a:cxn ang="0">
                  <a:pos x="268" y="116"/>
                </a:cxn>
                <a:cxn ang="0">
                  <a:pos x="226" y="96"/>
                </a:cxn>
                <a:cxn ang="0">
                  <a:pos x="211" y="91"/>
                </a:cxn>
                <a:cxn ang="0">
                  <a:pos x="205" y="91"/>
                </a:cxn>
                <a:cxn ang="0">
                  <a:pos x="204" y="92"/>
                </a:cxn>
                <a:cxn ang="0">
                  <a:pos x="204" y="98"/>
                </a:cxn>
                <a:cxn ang="0">
                  <a:pos x="208" y="104"/>
                </a:cxn>
                <a:cxn ang="0">
                  <a:pos x="229" y="117"/>
                </a:cxn>
                <a:cxn ang="0">
                  <a:pos x="254" y="130"/>
                </a:cxn>
                <a:cxn ang="0">
                  <a:pos x="280" y="140"/>
                </a:cxn>
                <a:cxn ang="0">
                  <a:pos x="306" y="147"/>
                </a:cxn>
                <a:cxn ang="0">
                  <a:pos x="373" y="156"/>
                </a:cxn>
                <a:cxn ang="0">
                  <a:pos x="404" y="158"/>
                </a:cxn>
                <a:cxn ang="0">
                  <a:pos x="466" y="163"/>
                </a:cxn>
                <a:cxn ang="0">
                  <a:pos x="489" y="168"/>
                </a:cxn>
                <a:cxn ang="0">
                  <a:pos x="497" y="172"/>
                </a:cxn>
                <a:cxn ang="0">
                  <a:pos x="500" y="178"/>
                </a:cxn>
                <a:cxn ang="0">
                  <a:pos x="501" y="181"/>
                </a:cxn>
                <a:cxn ang="0">
                  <a:pos x="499" y="185"/>
                </a:cxn>
                <a:cxn ang="0">
                  <a:pos x="492" y="189"/>
                </a:cxn>
                <a:cxn ang="0">
                  <a:pos x="482" y="192"/>
                </a:cxn>
              </a:cxnLst>
              <a:rect l="0" t="0" r="r" b="b"/>
              <a:pathLst>
                <a:path w="501" h="196">
                  <a:moveTo>
                    <a:pt x="482" y="192"/>
                  </a:moveTo>
                  <a:lnTo>
                    <a:pt x="482" y="192"/>
                  </a:lnTo>
                  <a:lnTo>
                    <a:pt x="467" y="192"/>
                  </a:lnTo>
                  <a:lnTo>
                    <a:pt x="260" y="196"/>
                  </a:lnTo>
                  <a:lnTo>
                    <a:pt x="260" y="196"/>
                  </a:lnTo>
                  <a:lnTo>
                    <a:pt x="248" y="196"/>
                  </a:lnTo>
                  <a:lnTo>
                    <a:pt x="248" y="196"/>
                  </a:lnTo>
                  <a:lnTo>
                    <a:pt x="234" y="195"/>
                  </a:lnTo>
                  <a:lnTo>
                    <a:pt x="221" y="193"/>
                  </a:lnTo>
                  <a:lnTo>
                    <a:pt x="209" y="187"/>
                  </a:lnTo>
                  <a:lnTo>
                    <a:pt x="197" y="182"/>
                  </a:lnTo>
                  <a:lnTo>
                    <a:pt x="186" y="174"/>
                  </a:lnTo>
                  <a:lnTo>
                    <a:pt x="176" y="167"/>
                  </a:lnTo>
                  <a:lnTo>
                    <a:pt x="155" y="149"/>
                  </a:lnTo>
                  <a:lnTo>
                    <a:pt x="135" y="130"/>
                  </a:lnTo>
                  <a:lnTo>
                    <a:pt x="115" y="114"/>
                  </a:lnTo>
                  <a:lnTo>
                    <a:pt x="106" y="106"/>
                  </a:lnTo>
                  <a:lnTo>
                    <a:pt x="96" y="100"/>
                  </a:lnTo>
                  <a:lnTo>
                    <a:pt x="85" y="95"/>
                  </a:lnTo>
                  <a:lnTo>
                    <a:pt x="74" y="91"/>
                  </a:lnTo>
                  <a:lnTo>
                    <a:pt x="74" y="91"/>
                  </a:lnTo>
                  <a:lnTo>
                    <a:pt x="60" y="88"/>
                  </a:lnTo>
                  <a:lnTo>
                    <a:pt x="50" y="87"/>
                  </a:lnTo>
                  <a:lnTo>
                    <a:pt x="40" y="87"/>
                  </a:lnTo>
                  <a:lnTo>
                    <a:pt x="31" y="88"/>
                  </a:lnTo>
                  <a:lnTo>
                    <a:pt x="25" y="89"/>
                  </a:lnTo>
                  <a:lnTo>
                    <a:pt x="17" y="91"/>
                  </a:lnTo>
                  <a:lnTo>
                    <a:pt x="2" y="97"/>
                  </a:lnTo>
                  <a:lnTo>
                    <a:pt x="0" y="4"/>
                  </a:lnTo>
                  <a:lnTo>
                    <a:pt x="0" y="4"/>
                  </a:lnTo>
                  <a:lnTo>
                    <a:pt x="15" y="3"/>
                  </a:lnTo>
                  <a:lnTo>
                    <a:pt x="34" y="2"/>
                  </a:lnTo>
                  <a:lnTo>
                    <a:pt x="34" y="2"/>
                  </a:lnTo>
                  <a:lnTo>
                    <a:pt x="111" y="1"/>
                  </a:lnTo>
                  <a:lnTo>
                    <a:pt x="149" y="0"/>
                  </a:lnTo>
                  <a:lnTo>
                    <a:pt x="175" y="1"/>
                  </a:lnTo>
                  <a:lnTo>
                    <a:pt x="175" y="1"/>
                  </a:lnTo>
                  <a:lnTo>
                    <a:pt x="180" y="2"/>
                  </a:lnTo>
                  <a:lnTo>
                    <a:pt x="186" y="4"/>
                  </a:lnTo>
                  <a:lnTo>
                    <a:pt x="202" y="12"/>
                  </a:lnTo>
                  <a:lnTo>
                    <a:pt x="219" y="23"/>
                  </a:lnTo>
                  <a:lnTo>
                    <a:pt x="237" y="36"/>
                  </a:lnTo>
                  <a:lnTo>
                    <a:pt x="272" y="62"/>
                  </a:lnTo>
                  <a:lnTo>
                    <a:pt x="292" y="79"/>
                  </a:lnTo>
                  <a:lnTo>
                    <a:pt x="292" y="79"/>
                  </a:lnTo>
                  <a:lnTo>
                    <a:pt x="312" y="94"/>
                  </a:lnTo>
                  <a:lnTo>
                    <a:pt x="320" y="101"/>
                  </a:lnTo>
                  <a:lnTo>
                    <a:pt x="328" y="108"/>
                  </a:lnTo>
                  <a:lnTo>
                    <a:pt x="333" y="114"/>
                  </a:lnTo>
                  <a:lnTo>
                    <a:pt x="336" y="120"/>
                  </a:lnTo>
                  <a:lnTo>
                    <a:pt x="337" y="124"/>
                  </a:lnTo>
                  <a:lnTo>
                    <a:pt x="337" y="128"/>
                  </a:lnTo>
                  <a:lnTo>
                    <a:pt x="337" y="131"/>
                  </a:lnTo>
                  <a:lnTo>
                    <a:pt x="335" y="134"/>
                  </a:lnTo>
                  <a:lnTo>
                    <a:pt x="335" y="134"/>
                  </a:lnTo>
                  <a:lnTo>
                    <a:pt x="334" y="137"/>
                  </a:lnTo>
                  <a:lnTo>
                    <a:pt x="332" y="138"/>
                  </a:lnTo>
                  <a:lnTo>
                    <a:pt x="327" y="139"/>
                  </a:lnTo>
                  <a:lnTo>
                    <a:pt x="320" y="138"/>
                  </a:lnTo>
                  <a:lnTo>
                    <a:pt x="312" y="134"/>
                  </a:lnTo>
                  <a:lnTo>
                    <a:pt x="291" y="127"/>
                  </a:lnTo>
                  <a:lnTo>
                    <a:pt x="268" y="116"/>
                  </a:lnTo>
                  <a:lnTo>
                    <a:pt x="246" y="105"/>
                  </a:lnTo>
                  <a:lnTo>
                    <a:pt x="226" y="96"/>
                  </a:lnTo>
                  <a:lnTo>
                    <a:pt x="218" y="92"/>
                  </a:lnTo>
                  <a:lnTo>
                    <a:pt x="211" y="91"/>
                  </a:lnTo>
                  <a:lnTo>
                    <a:pt x="207" y="90"/>
                  </a:lnTo>
                  <a:lnTo>
                    <a:pt x="205" y="91"/>
                  </a:lnTo>
                  <a:lnTo>
                    <a:pt x="204" y="92"/>
                  </a:lnTo>
                  <a:lnTo>
                    <a:pt x="204" y="92"/>
                  </a:lnTo>
                  <a:lnTo>
                    <a:pt x="203" y="95"/>
                  </a:lnTo>
                  <a:lnTo>
                    <a:pt x="204" y="98"/>
                  </a:lnTo>
                  <a:lnTo>
                    <a:pt x="206" y="101"/>
                  </a:lnTo>
                  <a:lnTo>
                    <a:pt x="208" y="104"/>
                  </a:lnTo>
                  <a:lnTo>
                    <a:pt x="217" y="111"/>
                  </a:lnTo>
                  <a:lnTo>
                    <a:pt x="229" y="117"/>
                  </a:lnTo>
                  <a:lnTo>
                    <a:pt x="241" y="124"/>
                  </a:lnTo>
                  <a:lnTo>
                    <a:pt x="254" y="130"/>
                  </a:lnTo>
                  <a:lnTo>
                    <a:pt x="280" y="140"/>
                  </a:lnTo>
                  <a:lnTo>
                    <a:pt x="280" y="140"/>
                  </a:lnTo>
                  <a:lnTo>
                    <a:pt x="292" y="144"/>
                  </a:lnTo>
                  <a:lnTo>
                    <a:pt x="306" y="147"/>
                  </a:lnTo>
                  <a:lnTo>
                    <a:pt x="339" y="152"/>
                  </a:lnTo>
                  <a:lnTo>
                    <a:pt x="373" y="156"/>
                  </a:lnTo>
                  <a:lnTo>
                    <a:pt x="404" y="158"/>
                  </a:lnTo>
                  <a:lnTo>
                    <a:pt x="404" y="158"/>
                  </a:lnTo>
                  <a:lnTo>
                    <a:pt x="436" y="160"/>
                  </a:lnTo>
                  <a:lnTo>
                    <a:pt x="466" y="163"/>
                  </a:lnTo>
                  <a:lnTo>
                    <a:pt x="479" y="165"/>
                  </a:lnTo>
                  <a:lnTo>
                    <a:pt x="489" y="168"/>
                  </a:lnTo>
                  <a:lnTo>
                    <a:pt x="494" y="170"/>
                  </a:lnTo>
                  <a:lnTo>
                    <a:pt x="497" y="172"/>
                  </a:lnTo>
                  <a:lnTo>
                    <a:pt x="499" y="174"/>
                  </a:lnTo>
                  <a:lnTo>
                    <a:pt x="500" y="178"/>
                  </a:lnTo>
                  <a:lnTo>
                    <a:pt x="500" y="178"/>
                  </a:lnTo>
                  <a:lnTo>
                    <a:pt x="501" y="181"/>
                  </a:lnTo>
                  <a:lnTo>
                    <a:pt x="500" y="183"/>
                  </a:lnTo>
                  <a:lnTo>
                    <a:pt x="499" y="185"/>
                  </a:lnTo>
                  <a:lnTo>
                    <a:pt x="497" y="187"/>
                  </a:lnTo>
                  <a:lnTo>
                    <a:pt x="492" y="189"/>
                  </a:lnTo>
                  <a:lnTo>
                    <a:pt x="482" y="192"/>
                  </a:lnTo>
                  <a:lnTo>
                    <a:pt x="482" y="1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4" name="Freeform 156">
              <a:extLst>
                <a:ext uri="{FF2B5EF4-FFF2-40B4-BE49-F238E27FC236}">
                  <a16:creationId xmlns:a16="http://schemas.microsoft.com/office/drawing/2014/main" id="{4E5E311C-FAC4-A594-91F1-A48793D4A89D}"/>
                </a:ext>
              </a:extLst>
            </p:cNvPr>
            <p:cNvSpPr>
              <a:spLocks/>
            </p:cNvSpPr>
            <p:nvPr/>
          </p:nvSpPr>
          <p:spPr bwMode="auto">
            <a:xfrm>
              <a:off x="5788025" y="3908425"/>
              <a:ext cx="338138" cy="39688"/>
            </a:xfrm>
            <a:custGeom>
              <a:avLst/>
              <a:gdLst/>
              <a:ahLst/>
              <a:cxnLst>
                <a:cxn ang="0">
                  <a:pos x="213" y="13"/>
                </a:cxn>
                <a:cxn ang="0">
                  <a:pos x="213" y="13"/>
                </a:cxn>
                <a:cxn ang="0">
                  <a:pos x="213" y="17"/>
                </a:cxn>
                <a:cxn ang="0">
                  <a:pos x="210" y="22"/>
                </a:cxn>
                <a:cxn ang="0">
                  <a:pos x="207" y="24"/>
                </a:cxn>
                <a:cxn ang="0">
                  <a:pos x="201" y="25"/>
                </a:cxn>
                <a:cxn ang="0">
                  <a:pos x="11" y="25"/>
                </a:cxn>
                <a:cxn ang="0">
                  <a:pos x="11" y="25"/>
                </a:cxn>
                <a:cxn ang="0">
                  <a:pos x="7" y="24"/>
                </a:cxn>
                <a:cxn ang="0">
                  <a:pos x="3" y="22"/>
                </a:cxn>
                <a:cxn ang="0">
                  <a:pos x="1" y="17"/>
                </a:cxn>
                <a:cxn ang="0">
                  <a:pos x="0" y="13"/>
                </a:cxn>
                <a:cxn ang="0">
                  <a:pos x="0" y="12"/>
                </a:cxn>
                <a:cxn ang="0">
                  <a:pos x="0" y="12"/>
                </a:cxn>
                <a:cxn ang="0">
                  <a:pos x="1" y="8"/>
                </a:cxn>
                <a:cxn ang="0">
                  <a:pos x="3" y="3"/>
                </a:cxn>
                <a:cxn ang="0">
                  <a:pos x="7" y="1"/>
                </a:cxn>
                <a:cxn ang="0">
                  <a:pos x="11" y="0"/>
                </a:cxn>
                <a:cxn ang="0">
                  <a:pos x="201" y="0"/>
                </a:cxn>
                <a:cxn ang="0">
                  <a:pos x="201" y="0"/>
                </a:cxn>
                <a:cxn ang="0">
                  <a:pos x="207" y="1"/>
                </a:cxn>
                <a:cxn ang="0">
                  <a:pos x="210" y="3"/>
                </a:cxn>
                <a:cxn ang="0">
                  <a:pos x="213" y="8"/>
                </a:cxn>
                <a:cxn ang="0">
                  <a:pos x="213" y="12"/>
                </a:cxn>
                <a:cxn ang="0">
                  <a:pos x="213" y="13"/>
                </a:cxn>
              </a:cxnLst>
              <a:rect l="0" t="0" r="r" b="b"/>
              <a:pathLst>
                <a:path w="213" h="25">
                  <a:moveTo>
                    <a:pt x="213" y="13"/>
                  </a:moveTo>
                  <a:lnTo>
                    <a:pt x="213" y="13"/>
                  </a:lnTo>
                  <a:lnTo>
                    <a:pt x="213" y="17"/>
                  </a:lnTo>
                  <a:lnTo>
                    <a:pt x="210" y="22"/>
                  </a:lnTo>
                  <a:lnTo>
                    <a:pt x="207" y="24"/>
                  </a:lnTo>
                  <a:lnTo>
                    <a:pt x="201" y="25"/>
                  </a:lnTo>
                  <a:lnTo>
                    <a:pt x="11" y="25"/>
                  </a:lnTo>
                  <a:lnTo>
                    <a:pt x="11" y="25"/>
                  </a:lnTo>
                  <a:lnTo>
                    <a:pt x="7" y="24"/>
                  </a:lnTo>
                  <a:lnTo>
                    <a:pt x="3" y="22"/>
                  </a:lnTo>
                  <a:lnTo>
                    <a:pt x="1" y="17"/>
                  </a:lnTo>
                  <a:lnTo>
                    <a:pt x="0" y="13"/>
                  </a:lnTo>
                  <a:lnTo>
                    <a:pt x="0" y="12"/>
                  </a:lnTo>
                  <a:lnTo>
                    <a:pt x="0" y="12"/>
                  </a:lnTo>
                  <a:lnTo>
                    <a:pt x="1" y="8"/>
                  </a:lnTo>
                  <a:lnTo>
                    <a:pt x="3" y="3"/>
                  </a:lnTo>
                  <a:lnTo>
                    <a:pt x="7" y="1"/>
                  </a:lnTo>
                  <a:lnTo>
                    <a:pt x="11" y="0"/>
                  </a:lnTo>
                  <a:lnTo>
                    <a:pt x="201" y="0"/>
                  </a:lnTo>
                  <a:lnTo>
                    <a:pt x="201" y="0"/>
                  </a:lnTo>
                  <a:lnTo>
                    <a:pt x="207" y="1"/>
                  </a:lnTo>
                  <a:lnTo>
                    <a:pt x="210" y="3"/>
                  </a:lnTo>
                  <a:lnTo>
                    <a:pt x="213" y="8"/>
                  </a:lnTo>
                  <a:lnTo>
                    <a:pt x="213" y="12"/>
                  </a:lnTo>
                  <a:lnTo>
                    <a:pt x="213"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5" name="Freeform 157">
              <a:extLst>
                <a:ext uri="{FF2B5EF4-FFF2-40B4-BE49-F238E27FC236}">
                  <a16:creationId xmlns:a16="http://schemas.microsoft.com/office/drawing/2014/main" id="{C50B9FF8-9F26-02F2-AADA-ECF78B2FE086}"/>
                </a:ext>
              </a:extLst>
            </p:cNvPr>
            <p:cNvSpPr>
              <a:spLocks/>
            </p:cNvSpPr>
            <p:nvPr/>
          </p:nvSpPr>
          <p:spPr bwMode="auto">
            <a:xfrm>
              <a:off x="5791200" y="3995738"/>
              <a:ext cx="338138" cy="39688"/>
            </a:xfrm>
            <a:custGeom>
              <a:avLst/>
              <a:gdLst/>
              <a:ahLst/>
              <a:cxnLst>
                <a:cxn ang="0">
                  <a:pos x="213" y="13"/>
                </a:cxn>
                <a:cxn ang="0">
                  <a:pos x="213" y="13"/>
                </a:cxn>
                <a:cxn ang="0">
                  <a:pos x="213" y="17"/>
                </a:cxn>
                <a:cxn ang="0">
                  <a:pos x="210" y="22"/>
                </a:cxn>
                <a:cxn ang="0">
                  <a:pos x="207" y="24"/>
                </a:cxn>
                <a:cxn ang="0">
                  <a:pos x="201" y="25"/>
                </a:cxn>
                <a:cxn ang="0">
                  <a:pos x="12" y="25"/>
                </a:cxn>
                <a:cxn ang="0">
                  <a:pos x="12" y="25"/>
                </a:cxn>
                <a:cxn ang="0">
                  <a:pos x="7" y="24"/>
                </a:cxn>
                <a:cxn ang="0">
                  <a:pos x="3" y="22"/>
                </a:cxn>
                <a:cxn ang="0">
                  <a:pos x="1" y="17"/>
                </a:cxn>
                <a:cxn ang="0">
                  <a:pos x="0" y="13"/>
                </a:cxn>
                <a:cxn ang="0">
                  <a:pos x="0" y="12"/>
                </a:cxn>
                <a:cxn ang="0">
                  <a:pos x="0" y="12"/>
                </a:cxn>
                <a:cxn ang="0">
                  <a:pos x="1" y="8"/>
                </a:cxn>
                <a:cxn ang="0">
                  <a:pos x="3" y="3"/>
                </a:cxn>
                <a:cxn ang="0">
                  <a:pos x="7" y="1"/>
                </a:cxn>
                <a:cxn ang="0">
                  <a:pos x="12" y="0"/>
                </a:cxn>
                <a:cxn ang="0">
                  <a:pos x="201" y="0"/>
                </a:cxn>
                <a:cxn ang="0">
                  <a:pos x="201" y="0"/>
                </a:cxn>
                <a:cxn ang="0">
                  <a:pos x="207" y="1"/>
                </a:cxn>
                <a:cxn ang="0">
                  <a:pos x="210" y="3"/>
                </a:cxn>
                <a:cxn ang="0">
                  <a:pos x="213" y="8"/>
                </a:cxn>
                <a:cxn ang="0">
                  <a:pos x="213" y="12"/>
                </a:cxn>
                <a:cxn ang="0">
                  <a:pos x="213" y="13"/>
                </a:cxn>
              </a:cxnLst>
              <a:rect l="0" t="0" r="r" b="b"/>
              <a:pathLst>
                <a:path w="213" h="25">
                  <a:moveTo>
                    <a:pt x="213" y="13"/>
                  </a:moveTo>
                  <a:lnTo>
                    <a:pt x="213" y="13"/>
                  </a:lnTo>
                  <a:lnTo>
                    <a:pt x="213" y="17"/>
                  </a:lnTo>
                  <a:lnTo>
                    <a:pt x="210" y="22"/>
                  </a:lnTo>
                  <a:lnTo>
                    <a:pt x="207" y="24"/>
                  </a:lnTo>
                  <a:lnTo>
                    <a:pt x="201" y="25"/>
                  </a:lnTo>
                  <a:lnTo>
                    <a:pt x="12" y="25"/>
                  </a:lnTo>
                  <a:lnTo>
                    <a:pt x="12" y="25"/>
                  </a:lnTo>
                  <a:lnTo>
                    <a:pt x="7" y="24"/>
                  </a:lnTo>
                  <a:lnTo>
                    <a:pt x="3" y="22"/>
                  </a:lnTo>
                  <a:lnTo>
                    <a:pt x="1" y="17"/>
                  </a:lnTo>
                  <a:lnTo>
                    <a:pt x="0" y="13"/>
                  </a:lnTo>
                  <a:lnTo>
                    <a:pt x="0" y="12"/>
                  </a:lnTo>
                  <a:lnTo>
                    <a:pt x="0" y="12"/>
                  </a:lnTo>
                  <a:lnTo>
                    <a:pt x="1" y="8"/>
                  </a:lnTo>
                  <a:lnTo>
                    <a:pt x="3" y="3"/>
                  </a:lnTo>
                  <a:lnTo>
                    <a:pt x="7" y="1"/>
                  </a:lnTo>
                  <a:lnTo>
                    <a:pt x="12" y="0"/>
                  </a:lnTo>
                  <a:lnTo>
                    <a:pt x="201" y="0"/>
                  </a:lnTo>
                  <a:lnTo>
                    <a:pt x="201" y="0"/>
                  </a:lnTo>
                  <a:lnTo>
                    <a:pt x="207" y="1"/>
                  </a:lnTo>
                  <a:lnTo>
                    <a:pt x="210" y="3"/>
                  </a:lnTo>
                  <a:lnTo>
                    <a:pt x="213" y="8"/>
                  </a:lnTo>
                  <a:lnTo>
                    <a:pt x="213" y="12"/>
                  </a:lnTo>
                  <a:lnTo>
                    <a:pt x="213"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6" name="Freeform 158">
              <a:extLst>
                <a:ext uri="{FF2B5EF4-FFF2-40B4-BE49-F238E27FC236}">
                  <a16:creationId xmlns:a16="http://schemas.microsoft.com/office/drawing/2014/main" id="{477AACDA-A9F3-5C35-F8AA-5406CA0B9080}"/>
                </a:ext>
              </a:extLst>
            </p:cNvPr>
            <p:cNvSpPr>
              <a:spLocks/>
            </p:cNvSpPr>
            <p:nvPr/>
          </p:nvSpPr>
          <p:spPr bwMode="auto">
            <a:xfrm>
              <a:off x="5794375" y="4084638"/>
              <a:ext cx="338138" cy="38100"/>
            </a:xfrm>
            <a:custGeom>
              <a:avLst/>
              <a:gdLst/>
              <a:ahLst/>
              <a:cxnLst>
                <a:cxn ang="0">
                  <a:pos x="213" y="13"/>
                </a:cxn>
                <a:cxn ang="0">
                  <a:pos x="213" y="13"/>
                </a:cxn>
                <a:cxn ang="0">
                  <a:pos x="213" y="17"/>
                </a:cxn>
                <a:cxn ang="0">
                  <a:pos x="210" y="21"/>
                </a:cxn>
                <a:cxn ang="0">
                  <a:pos x="207" y="23"/>
                </a:cxn>
                <a:cxn ang="0">
                  <a:pos x="202" y="24"/>
                </a:cxn>
                <a:cxn ang="0">
                  <a:pos x="12" y="24"/>
                </a:cxn>
                <a:cxn ang="0">
                  <a:pos x="12" y="24"/>
                </a:cxn>
                <a:cxn ang="0">
                  <a:pos x="7" y="23"/>
                </a:cxn>
                <a:cxn ang="0">
                  <a:pos x="3" y="21"/>
                </a:cxn>
                <a:cxn ang="0">
                  <a:pos x="1" y="17"/>
                </a:cxn>
                <a:cxn ang="0">
                  <a:pos x="0" y="13"/>
                </a:cxn>
                <a:cxn ang="0">
                  <a:pos x="0" y="11"/>
                </a:cxn>
                <a:cxn ang="0">
                  <a:pos x="0" y="11"/>
                </a:cxn>
                <a:cxn ang="0">
                  <a:pos x="1" y="7"/>
                </a:cxn>
                <a:cxn ang="0">
                  <a:pos x="3" y="3"/>
                </a:cxn>
                <a:cxn ang="0">
                  <a:pos x="7" y="0"/>
                </a:cxn>
                <a:cxn ang="0">
                  <a:pos x="12" y="0"/>
                </a:cxn>
                <a:cxn ang="0">
                  <a:pos x="202" y="0"/>
                </a:cxn>
                <a:cxn ang="0">
                  <a:pos x="202" y="0"/>
                </a:cxn>
                <a:cxn ang="0">
                  <a:pos x="207" y="0"/>
                </a:cxn>
                <a:cxn ang="0">
                  <a:pos x="210" y="3"/>
                </a:cxn>
                <a:cxn ang="0">
                  <a:pos x="213" y="7"/>
                </a:cxn>
                <a:cxn ang="0">
                  <a:pos x="213" y="11"/>
                </a:cxn>
                <a:cxn ang="0">
                  <a:pos x="213" y="13"/>
                </a:cxn>
              </a:cxnLst>
              <a:rect l="0" t="0" r="r" b="b"/>
              <a:pathLst>
                <a:path w="213" h="24">
                  <a:moveTo>
                    <a:pt x="213" y="13"/>
                  </a:moveTo>
                  <a:lnTo>
                    <a:pt x="213" y="13"/>
                  </a:lnTo>
                  <a:lnTo>
                    <a:pt x="213" y="17"/>
                  </a:lnTo>
                  <a:lnTo>
                    <a:pt x="210" y="21"/>
                  </a:lnTo>
                  <a:lnTo>
                    <a:pt x="207" y="23"/>
                  </a:lnTo>
                  <a:lnTo>
                    <a:pt x="202" y="24"/>
                  </a:lnTo>
                  <a:lnTo>
                    <a:pt x="12" y="24"/>
                  </a:lnTo>
                  <a:lnTo>
                    <a:pt x="12" y="24"/>
                  </a:lnTo>
                  <a:lnTo>
                    <a:pt x="7" y="23"/>
                  </a:lnTo>
                  <a:lnTo>
                    <a:pt x="3" y="21"/>
                  </a:lnTo>
                  <a:lnTo>
                    <a:pt x="1" y="17"/>
                  </a:lnTo>
                  <a:lnTo>
                    <a:pt x="0" y="13"/>
                  </a:lnTo>
                  <a:lnTo>
                    <a:pt x="0" y="11"/>
                  </a:lnTo>
                  <a:lnTo>
                    <a:pt x="0" y="11"/>
                  </a:lnTo>
                  <a:lnTo>
                    <a:pt x="1" y="7"/>
                  </a:lnTo>
                  <a:lnTo>
                    <a:pt x="3" y="3"/>
                  </a:lnTo>
                  <a:lnTo>
                    <a:pt x="7" y="0"/>
                  </a:lnTo>
                  <a:lnTo>
                    <a:pt x="12" y="0"/>
                  </a:lnTo>
                  <a:lnTo>
                    <a:pt x="202" y="0"/>
                  </a:lnTo>
                  <a:lnTo>
                    <a:pt x="202" y="0"/>
                  </a:lnTo>
                  <a:lnTo>
                    <a:pt x="207" y="0"/>
                  </a:lnTo>
                  <a:lnTo>
                    <a:pt x="210" y="3"/>
                  </a:lnTo>
                  <a:lnTo>
                    <a:pt x="213" y="7"/>
                  </a:lnTo>
                  <a:lnTo>
                    <a:pt x="213" y="11"/>
                  </a:lnTo>
                  <a:lnTo>
                    <a:pt x="213"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grpSp>
        <p:nvGrpSpPr>
          <p:cNvPr id="37" name="Group 36">
            <a:extLst>
              <a:ext uri="{FF2B5EF4-FFF2-40B4-BE49-F238E27FC236}">
                <a16:creationId xmlns:a16="http://schemas.microsoft.com/office/drawing/2014/main" id="{EB014307-017D-524C-D3E6-3B5712F455D5}"/>
              </a:ext>
            </a:extLst>
          </p:cNvPr>
          <p:cNvGrpSpPr/>
          <p:nvPr/>
        </p:nvGrpSpPr>
        <p:grpSpPr>
          <a:xfrm>
            <a:off x="5080352" y="2654426"/>
            <a:ext cx="279469" cy="310847"/>
            <a:chOff x="8145463" y="476250"/>
            <a:chExt cx="1060450" cy="1179513"/>
          </a:xfrm>
          <a:solidFill>
            <a:schemeClr val="bg1"/>
          </a:solidFill>
        </p:grpSpPr>
        <p:sp>
          <p:nvSpPr>
            <p:cNvPr id="38" name="Freeform 136">
              <a:extLst>
                <a:ext uri="{FF2B5EF4-FFF2-40B4-BE49-F238E27FC236}">
                  <a16:creationId xmlns:a16="http://schemas.microsoft.com/office/drawing/2014/main" id="{116CF180-F113-4D72-AB8A-3A409B9CDD51}"/>
                </a:ext>
              </a:extLst>
            </p:cNvPr>
            <p:cNvSpPr>
              <a:spLocks/>
            </p:cNvSpPr>
            <p:nvPr/>
          </p:nvSpPr>
          <p:spPr bwMode="auto">
            <a:xfrm>
              <a:off x="8439150" y="1154113"/>
              <a:ext cx="471487" cy="30163"/>
            </a:xfrm>
            <a:custGeom>
              <a:avLst/>
              <a:gdLst>
                <a:gd name="T0" fmla="*/ 0 w 297"/>
                <a:gd name="T1" fmla="*/ 9 h 19"/>
                <a:gd name="T2" fmla="*/ 0 w 297"/>
                <a:gd name="T3" fmla="*/ 9 h 19"/>
                <a:gd name="T4" fmla="*/ 5 w 297"/>
                <a:gd name="T5" fmla="*/ 14 h 19"/>
                <a:gd name="T6" fmla="*/ 10 w 297"/>
                <a:gd name="T7" fmla="*/ 19 h 19"/>
                <a:gd name="T8" fmla="*/ 288 w 297"/>
                <a:gd name="T9" fmla="*/ 19 h 19"/>
                <a:gd name="T10" fmla="*/ 288 w 297"/>
                <a:gd name="T11" fmla="*/ 19 h 19"/>
                <a:gd name="T12" fmla="*/ 297 w 297"/>
                <a:gd name="T13" fmla="*/ 14 h 19"/>
                <a:gd name="T14" fmla="*/ 297 w 297"/>
                <a:gd name="T15" fmla="*/ 9 h 19"/>
                <a:gd name="T16" fmla="*/ 297 w 297"/>
                <a:gd name="T17" fmla="*/ 9 h 19"/>
                <a:gd name="T18" fmla="*/ 297 w 297"/>
                <a:gd name="T19" fmla="*/ 5 h 19"/>
                <a:gd name="T20" fmla="*/ 288 w 297"/>
                <a:gd name="T21" fmla="*/ 0 h 19"/>
                <a:gd name="T22" fmla="*/ 10 w 297"/>
                <a:gd name="T23" fmla="*/ 0 h 19"/>
                <a:gd name="T24" fmla="*/ 10 w 297"/>
                <a:gd name="T25" fmla="*/ 0 h 19"/>
                <a:gd name="T26" fmla="*/ 5 w 297"/>
                <a:gd name="T27" fmla="*/ 5 h 19"/>
                <a:gd name="T28" fmla="*/ 0 w 297"/>
                <a:gd name="T29" fmla="*/ 9 h 19"/>
                <a:gd name="T30" fmla="*/ 0 w 297"/>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9">
                  <a:moveTo>
                    <a:pt x="0" y="9"/>
                  </a:moveTo>
                  <a:lnTo>
                    <a:pt x="0" y="9"/>
                  </a:lnTo>
                  <a:lnTo>
                    <a:pt x="5" y="14"/>
                  </a:lnTo>
                  <a:lnTo>
                    <a:pt x="10" y="19"/>
                  </a:lnTo>
                  <a:lnTo>
                    <a:pt x="288" y="19"/>
                  </a:lnTo>
                  <a:lnTo>
                    <a:pt x="288" y="19"/>
                  </a:lnTo>
                  <a:lnTo>
                    <a:pt x="297" y="14"/>
                  </a:lnTo>
                  <a:lnTo>
                    <a:pt x="297" y="9"/>
                  </a:lnTo>
                  <a:lnTo>
                    <a:pt x="297" y="9"/>
                  </a:lnTo>
                  <a:lnTo>
                    <a:pt x="297" y="5"/>
                  </a:lnTo>
                  <a:lnTo>
                    <a:pt x="288" y="0"/>
                  </a:lnTo>
                  <a:lnTo>
                    <a:pt x="10" y="0"/>
                  </a:lnTo>
                  <a:lnTo>
                    <a:pt x="10" y="0"/>
                  </a:lnTo>
                  <a:lnTo>
                    <a:pt x="5" y="5"/>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39" name="Freeform 137">
              <a:extLst>
                <a:ext uri="{FF2B5EF4-FFF2-40B4-BE49-F238E27FC236}">
                  <a16:creationId xmlns:a16="http://schemas.microsoft.com/office/drawing/2014/main" id="{CB9A4120-5CAC-ECAF-DD94-9805963657F0}"/>
                </a:ext>
              </a:extLst>
            </p:cNvPr>
            <p:cNvSpPr>
              <a:spLocks/>
            </p:cNvSpPr>
            <p:nvPr/>
          </p:nvSpPr>
          <p:spPr bwMode="auto">
            <a:xfrm>
              <a:off x="8439150" y="1243013"/>
              <a:ext cx="471487" cy="28575"/>
            </a:xfrm>
            <a:custGeom>
              <a:avLst/>
              <a:gdLst>
                <a:gd name="T0" fmla="*/ 288 w 297"/>
                <a:gd name="T1" fmla="*/ 0 h 18"/>
                <a:gd name="T2" fmla="*/ 10 w 297"/>
                <a:gd name="T3" fmla="*/ 0 h 18"/>
                <a:gd name="T4" fmla="*/ 10 w 297"/>
                <a:gd name="T5" fmla="*/ 0 h 18"/>
                <a:gd name="T6" fmla="*/ 5 w 297"/>
                <a:gd name="T7" fmla="*/ 4 h 18"/>
                <a:gd name="T8" fmla="*/ 0 w 297"/>
                <a:gd name="T9" fmla="*/ 9 h 18"/>
                <a:gd name="T10" fmla="*/ 0 w 297"/>
                <a:gd name="T11" fmla="*/ 9 h 18"/>
                <a:gd name="T12" fmla="*/ 5 w 297"/>
                <a:gd name="T13" fmla="*/ 14 h 18"/>
                <a:gd name="T14" fmla="*/ 10 w 297"/>
                <a:gd name="T15" fmla="*/ 18 h 18"/>
                <a:gd name="T16" fmla="*/ 288 w 297"/>
                <a:gd name="T17" fmla="*/ 18 h 18"/>
                <a:gd name="T18" fmla="*/ 288 w 297"/>
                <a:gd name="T19" fmla="*/ 18 h 18"/>
                <a:gd name="T20" fmla="*/ 297 w 297"/>
                <a:gd name="T21" fmla="*/ 14 h 18"/>
                <a:gd name="T22" fmla="*/ 297 w 297"/>
                <a:gd name="T23" fmla="*/ 9 h 18"/>
                <a:gd name="T24" fmla="*/ 297 w 297"/>
                <a:gd name="T25" fmla="*/ 9 h 18"/>
                <a:gd name="T26" fmla="*/ 297 w 297"/>
                <a:gd name="T27" fmla="*/ 4 h 18"/>
                <a:gd name="T28" fmla="*/ 288 w 297"/>
                <a:gd name="T29" fmla="*/ 0 h 18"/>
                <a:gd name="T30" fmla="*/ 288 w 29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8">
                  <a:moveTo>
                    <a:pt x="288" y="0"/>
                  </a:moveTo>
                  <a:lnTo>
                    <a:pt x="10" y="0"/>
                  </a:lnTo>
                  <a:lnTo>
                    <a:pt x="10" y="0"/>
                  </a:lnTo>
                  <a:lnTo>
                    <a:pt x="5" y="4"/>
                  </a:lnTo>
                  <a:lnTo>
                    <a:pt x="0" y="9"/>
                  </a:lnTo>
                  <a:lnTo>
                    <a:pt x="0" y="9"/>
                  </a:lnTo>
                  <a:lnTo>
                    <a:pt x="5" y="14"/>
                  </a:lnTo>
                  <a:lnTo>
                    <a:pt x="10" y="18"/>
                  </a:lnTo>
                  <a:lnTo>
                    <a:pt x="288" y="18"/>
                  </a:lnTo>
                  <a:lnTo>
                    <a:pt x="288" y="18"/>
                  </a:lnTo>
                  <a:lnTo>
                    <a:pt x="297" y="14"/>
                  </a:lnTo>
                  <a:lnTo>
                    <a:pt x="297" y="9"/>
                  </a:lnTo>
                  <a:lnTo>
                    <a:pt x="297" y="9"/>
                  </a:lnTo>
                  <a:lnTo>
                    <a:pt x="297" y="4"/>
                  </a:lnTo>
                  <a:lnTo>
                    <a:pt x="288" y="0"/>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0" name="Freeform 138">
              <a:extLst>
                <a:ext uri="{FF2B5EF4-FFF2-40B4-BE49-F238E27FC236}">
                  <a16:creationId xmlns:a16="http://schemas.microsoft.com/office/drawing/2014/main" id="{5EA02C47-CDDD-7890-95E3-633070A83D5C}"/>
                </a:ext>
              </a:extLst>
            </p:cNvPr>
            <p:cNvSpPr>
              <a:spLocks/>
            </p:cNvSpPr>
            <p:nvPr/>
          </p:nvSpPr>
          <p:spPr bwMode="auto">
            <a:xfrm>
              <a:off x="8262938" y="115411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1" name="Freeform 139">
              <a:extLst>
                <a:ext uri="{FF2B5EF4-FFF2-40B4-BE49-F238E27FC236}">
                  <a16:creationId xmlns:a16="http://schemas.microsoft.com/office/drawing/2014/main" id="{8DCE8ACC-9EC3-502A-29E0-E346F8D43218}"/>
                </a:ext>
              </a:extLst>
            </p:cNvPr>
            <p:cNvSpPr>
              <a:spLocks/>
            </p:cNvSpPr>
            <p:nvPr/>
          </p:nvSpPr>
          <p:spPr bwMode="auto">
            <a:xfrm>
              <a:off x="8439150" y="947738"/>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2" name="Freeform 140">
              <a:extLst>
                <a:ext uri="{FF2B5EF4-FFF2-40B4-BE49-F238E27FC236}">
                  <a16:creationId xmlns:a16="http://schemas.microsoft.com/office/drawing/2014/main" id="{15241D9E-8E33-17FF-8C92-BB562D06F70F}"/>
                </a:ext>
              </a:extLst>
            </p:cNvPr>
            <p:cNvSpPr>
              <a:spLocks/>
            </p:cNvSpPr>
            <p:nvPr/>
          </p:nvSpPr>
          <p:spPr bwMode="auto">
            <a:xfrm>
              <a:off x="8439150" y="1036638"/>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3" name="Freeform 141">
              <a:extLst>
                <a:ext uri="{FF2B5EF4-FFF2-40B4-BE49-F238E27FC236}">
                  <a16:creationId xmlns:a16="http://schemas.microsoft.com/office/drawing/2014/main" id="{99BBB501-6460-5599-B203-66DF14DFE812}"/>
                </a:ext>
              </a:extLst>
            </p:cNvPr>
            <p:cNvSpPr>
              <a:spLocks/>
            </p:cNvSpPr>
            <p:nvPr/>
          </p:nvSpPr>
          <p:spPr bwMode="auto">
            <a:xfrm>
              <a:off x="8262938" y="94773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4" name="Freeform 142">
              <a:extLst>
                <a:ext uri="{FF2B5EF4-FFF2-40B4-BE49-F238E27FC236}">
                  <a16:creationId xmlns:a16="http://schemas.microsoft.com/office/drawing/2014/main" id="{92BCEB6B-4BB8-3599-9034-8EBC7E5530F2}"/>
                </a:ext>
              </a:extLst>
            </p:cNvPr>
            <p:cNvSpPr>
              <a:spLocks/>
            </p:cNvSpPr>
            <p:nvPr/>
          </p:nvSpPr>
          <p:spPr bwMode="auto">
            <a:xfrm>
              <a:off x="8439150" y="1360488"/>
              <a:ext cx="265112" cy="30163"/>
            </a:xfrm>
            <a:custGeom>
              <a:avLst/>
              <a:gdLst>
                <a:gd name="T0" fmla="*/ 158 w 167"/>
                <a:gd name="T1" fmla="*/ 0 h 19"/>
                <a:gd name="T2" fmla="*/ 10 w 167"/>
                <a:gd name="T3" fmla="*/ 0 h 19"/>
                <a:gd name="T4" fmla="*/ 10 w 167"/>
                <a:gd name="T5" fmla="*/ 0 h 19"/>
                <a:gd name="T6" fmla="*/ 5 w 167"/>
                <a:gd name="T7" fmla="*/ 5 h 19"/>
                <a:gd name="T8" fmla="*/ 0 w 167"/>
                <a:gd name="T9" fmla="*/ 9 h 19"/>
                <a:gd name="T10" fmla="*/ 0 w 167"/>
                <a:gd name="T11" fmla="*/ 9 h 19"/>
                <a:gd name="T12" fmla="*/ 5 w 167"/>
                <a:gd name="T13" fmla="*/ 14 h 19"/>
                <a:gd name="T14" fmla="*/ 10 w 167"/>
                <a:gd name="T15" fmla="*/ 19 h 19"/>
                <a:gd name="T16" fmla="*/ 158 w 167"/>
                <a:gd name="T17" fmla="*/ 19 h 19"/>
                <a:gd name="T18" fmla="*/ 158 w 167"/>
                <a:gd name="T19" fmla="*/ 19 h 19"/>
                <a:gd name="T20" fmla="*/ 167 w 167"/>
                <a:gd name="T21" fmla="*/ 14 h 19"/>
                <a:gd name="T22" fmla="*/ 167 w 167"/>
                <a:gd name="T23" fmla="*/ 9 h 19"/>
                <a:gd name="T24" fmla="*/ 167 w 167"/>
                <a:gd name="T25" fmla="*/ 9 h 19"/>
                <a:gd name="T26" fmla="*/ 167 w 167"/>
                <a:gd name="T27" fmla="*/ 5 h 19"/>
                <a:gd name="T28" fmla="*/ 158 w 167"/>
                <a:gd name="T29" fmla="*/ 0 h 19"/>
                <a:gd name="T30" fmla="*/ 158 w 167"/>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58" y="0"/>
                  </a:moveTo>
                  <a:lnTo>
                    <a:pt x="10" y="0"/>
                  </a:lnTo>
                  <a:lnTo>
                    <a:pt x="10" y="0"/>
                  </a:lnTo>
                  <a:lnTo>
                    <a:pt x="5" y="5"/>
                  </a:lnTo>
                  <a:lnTo>
                    <a:pt x="0" y="9"/>
                  </a:lnTo>
                  <a:lnTo>
                    <a:pt x="0" y="9"/>
                  </a:lnTo>
                  <a:lnTo>
                    <a:pt x="5" y="14"/>
                  </a:lnTo>
                  <a:lnTo>
                    <a:pt x="10" y="19"/>
                  </a:lnTo>
                  <a:lnTo>
                    <a:pt x="158" y="19"/>
                  </a:lnTo>
                  <a:lnTo>
                    <a:pt x="158" y="19"/>
                  </a:lnTo>
                  <a:lnTo>
                    <a:pt x="167" y="14"/>
                  </a:lnTo>
                  <a:lnTo>
                    <a:pt x="167" y="9"/>
                  </a:lnTo>
                  <a:lnTo>
                    <a:pt x="167" y="9"/>
                  </a:lnTo>
                  <a:lnTo>
                    <a:pt x="167" y="5"/>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5" name="Freeform 143">
              <a:extLst>
                <a:ext uri="{FF2B5EF4-FFF2-40B4-BE49-F238E27FC236}">
                  <a16:creationId xmlns:a16="http://schemas.microsoft.com/office/drawing/2014/main" id="{0231C98A-0486-F8FE-C8E3-C3B1B52E7F5B}"/>
                </a:ext>
              </a:extLst>
            </p:cNvPr>
            <p:cNvSpPr>
              <a:spLocks/>
            </p:cNvSpPr>
            <p:nvPr/>
          </p:nvSpPr>
          <p:spPr bwMode="auto">
            <a:xfrm>
              <a:off x="8439150" y="1449388"/>
              <a:ext cx="265112" cy="28575"/>
            </a:xfrm>
            <a:custGeom>
              <a:avLst/>
              <a:gdLst>
                <a:gd name="T0" fmla="*/ 158 w 167"/>
                <a:gd name="T1" fmla="*/ 0 h 18"/>
                <a:gd name="T2" fmla="*/ 10 w 167"/>
                <a:gd name="T3" fmla="*/ 0 h 18"/>
                <a:gd name="T4" fmla="*/ 10 w 167"/>
                <a:gd name="T5" fmla="*/ 0 h 18"/>
                <a:gd name="T6" fmla="*/ 5 w 167"/>
                <a:gd name="T7" fmla="*/ 4 h 18"/>
                <a:gd name="T8" fmla="*/ 0 w 167"/>
                <a:gd name="T9" fmla="*/ 9 h 18"/>
                <a:gd name="T10" fmla="*/ 0 w 167"/>
                <a:gd name="T11" fmla="*/ 9 h 18"/>
                <a:gd name="T12" fmla="*/ 5 w 167"/>
                <a:gd name="T13" fmla="*/ 14 h 18"/>
                <a:gd name="T14" fmla="*/ 10 w 167"/>
                <a:gd name="T15" fmla="*/ 18 h 18"/>
                <a:gd name="T16" fmla="*/ 158 w 167"/>
                <a:gd name="T17" fmla="*/ 18 h 18"/>
                <a:gd name="T18" fmla="*/ 158 w 167"/>
                <a:gd name="T19" fmla="*/ 18 h 18"/>
                <a:gd name="T20" fmla="*/ 167 w 167"/>
                <a:gd name="T21" fmla="*/ 14 h 18"/>
                <a:gd name="T22" fmla="*/ 167 w 167"/>
                <a:gd name="T23" fmla="*/ 9 h 18"/>
                <a:gd name="T24" fmla="*/ 167 w 167"/>
                <a:gd name="T25" fmla="*/ 9 h 18"/>
                <a:gd name="T26" fmla="*/ 167 w 167"/>
                <a:gd name="T27" fmla="*/ 4 h 18"/>
                <a:gd name="T28" fmla="*/ 158 w 167"/>
                <a:gd name="T29" fmla="*/ 0 h 18"/>
                <a:gd name="T30" fmla="*/ 158 w 16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58" y="0"/>
                  </a:moveTo>
                  <a:lnTo>
                    <a:pt x="10" y="0"/>
                  </a:lnTo>
                  <a:lnTo>
                    <a:pt x="10" y="0"/>
                  </a:lnTo>
                  <a:lnTo>
                    <a:pt x="5" y="4"/>
                  </a:lnTo>
                  <a:lnTo>
                    <a:pt x="0" y="9"/>
                  </a:lnTo>
                  <a:lnTo>
                    <a:pt x="0" y="9"/>
                  </a:lnTo>
                  <a:lnTo>
                    <a:pt x="5" y="14"/>
                  </a:lnTo>
                  <a:lnTo>
                    <a:pt x="10" y="18"/>
                  </a:lnTo>
                  <a:lnTo>
                    <a:pt x="158" y="18"/>
                  </a:lnTo>
                  <a:lnTo>
                    <a:pt x="158" y="18"/>
                  </a:lnTo>
                  <a:lnTo>
                    <a:pt x="167" y="14"/>
                  </a:lnTo>
                  <a:lnTo>
                    <a:pt x="167" y="9"/>
                  </a:lnTo>
                  <a:lnTo>
                    <a:pt x="167" y="9"/>
                  </a:lnTo>
                  <a:lnTo>
                    <a:pt x="167" y="4"/>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6" name="Freeform 144">
              <a:extLst>
                <a:ext uri="{FF2B5EF4-FFF2-40B4-BE49-F238E27FC236}">
                  <a16:creationId xmlns:a16="http://schemas.microsoft.com/office/drawing/2014/main" id="{045E32D4-090D-3952-13A6-89471B2ED6DA}"/>
                </a:ext>
              </a:extLst>
            </p:cNvPr>
            <p:cNvSpPr>
              <a:spLocks/>
            </p:cNvSpPr>
            <p:nvPr/>
          </p:nvSpPr>
          <p:spPr bwMode="auto">
            <a:xfrm>
              <a:off x="8262938" y="136048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7" name="Freeform 145">
              <a:extLst>
                <a:ext uri="{FF2B5EF4-FFF2-40B4-BE49-F238E27FC236}">
                  <a16:creationId xmlns:a16="http://schemas.microsoft.com/office/drawing/2014/main" id="{5C3A72BD-7766-2671-50A0-29BEB246F3FC}"/>
                </a:ext>
              </a:extLst>
            </p:cNvPr>
            <p:cNvSpPr>
              <a:spLocks/>
            </p:cNvSpPr>
            <p:nvPr/>
          </p:nvSpPr>
          <p:spPr bwMode="auto">
            <a:xfrm>
              <a:off x="8439150" y="741363"/>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8" name="Freeform 146">
              <a:extLst>
                <a:ext uri="{FF2B5EF4-FFF2-40B4-BE49-F238E27FC236}">
                  <a16:creationId xmlns:a16="http://schemas.microsoft.com/office/drawing/2014/main" id="{84BFDD5A-BE8B-7306-50D9-4E253C24ADC0}"/>
                </a:ext>
              </a:extLst>
            </p:cNvPr>
            <p:cNvSpPr>
              <a:spLocks/>
            </p:cNvSpPr>
            <p:nvPr/>
          </p:nvSpPr>
          <p:spPr bwMode="auto">
            <a:xfrm>
              <a:off x="8439150" y="830263"/>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49" name="Freeform 147">
              <a:extLst>
                <a:ext uri="{FF2B5EF4-FFF2-40B4-BE49-F238E27FC236}">
                  <a16:creationId xmlns:a16="http://schemas.microsoft.com/office/drawing/2014/main" id="{BF436AE1-A235-2E88-323F-EB949DE2DAA1}"/>
                </a:ext>
              </a:extLst>
            </p:cNvPr>
            <p:cNvSpPr>
              <a:spLocks/>
            </p:cNvSpPr>
            <p:nvPr/>
          </p:nvSpPr>
          <p:spPr bwMode="auto">
            <a:xfrm>
              <a:off x="8262938" y="74136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sp>
          <p:nvSpPr>
            <p:cNvPr id="50" name="Freeform 148">
              <a:extLst>
                <a:ext uri="{FF2B5EF4-FFF2-40B4-BE49-F238E27FC236}">
                  <a16:creationId xmlns:a16="http://schemas.microsoft.com/office/drawing/2014/main" id="{AA94E723-291B-BB48-088C-A3E1875AA880}"/>
                </a:ext>
              </a:extLst>
            </p:cNvPr>
            <p:cNvSpPr>
              <a:spLocks noEditPoints="1"/>
            </p:cNvSpPr>
            <p:nvPr/>
          </p:nvSpPr>
          <p:spPr bwMode="auto">
            <a:xfrm>
              <a:off x="8145463" y="476250"/>
              <a:ext cx="1060450" cy="1179513"/>
            </a:xfrm>
            <a:custGeom>
              <a:avLst/>
              <a:gdLst>
                <a:gd name="T0" fmla="*/ 556 w 668"/>
                <a:gd name="T1" fmla="*/ 74 h 743"/>
                <a:gd name="T2" fmla="*/ 547 w 668"/>
                <a:gd name="T3" fmla="*/ 56 h 743"/>
                <a:gd name="T4" fmla="*/ 371 w 668"/>
                <a:gd name="T5" fmla="*/ 37 h 743"/>
                <a:gd name="T6" fmla="*/ 366 w 668"/>
                <a:gd name="T7" fmla="*/ 23 h 743"/>
                <a:gd name="T8" fmla="*/ 334 w 668"/>
                <a:gd name="T9" fmla="*/ 19 h 743"/>
                <a:gd name="T10" fmla="*/ 329 w 668"/>
                <a:gd name="T11" fmla="*/ 5 h 743"/>
                <a:gd name="T12" fmla="*/ 241 w 668"/>
                <a:gd name="T13" fmla="*/ 0 h 743"/>
                <a:gd name="T14" fmla="*/ 232 w 668"/>
                <a:gd name="T15" fmla="*/ 5 h 743"/>
                <a:gd name="T16" fmla="*/ 204 w 668"/>
                <a:gd name="T17" fmla="*/ 19 h 743"/>
                <a:gd name="T18" fmla="*/ 195 w 668"/>
                <a:gd name="T19" fmla="*/ 23 h 743"/>
                <a:gd name="T20" fmla="*/ 185 w 668"/>
                <a:gd name="T21" fmla="*/ 56 h 743"/>
                <a:gd name="T22" fmla="*/ 14 w 668"/>
                <a:gd name="T23" fmla="*/ 56 h 743"/>
                <a:gd name="T24" fmla="*/ 0 w 668"/>
                <a:gd name="T25" fmla="*/ 74 h 743"/>
                <a:gd name="T26" fmla="*/ 4 w 668"/>
                <a:gd name="T27" fmla="*/ 733 h 743"/>
                <a:gd name="T28" fmla="*/ 18 w 668"/>
                <a:gd name="T29" fmla="*/ 743 h 743"/>
                <a:gd name="T30" fmla="*/ 538 w 668"/>
                <a:gd name="T31" fmla="*/ 743 h 743"/>
                <a:gd name="T32" fmla="*/ 556 w 668"/>
                <a:gd name="T33" fmla="*/ 733 h 743"/>
                <a:gd name="T34" fmla="*/ 556 w 668"/>
                <a:gd name="T35" fmla="*/ 385 h 743"/>
                <a:gd name="T36" fmla="*/ 603 w 668"/>
                <a:gd name="T37" fmla="*/ 367 h 743"/>
                <a:gd name="T38" fmla="*/ 649 w 668"/>
                <a:gd name="T39" fmla="*/ 320 h 743"/>
                <a:gd name="T40" fmla="*/ 668 w 668"/>
                <a:gd name="T41" fmla="*/ 251 h 743"/>
                <a:gd name="T42" fmla="*/ 659 w 668"/>
                <a:gd name="T43" fmla="*/ 204 h 743"/>
                <a:gd name="T44" fmla="*/ 621 w 668"/>
                <a:gd name="T45" fmla="*/ 149 h 743"/>
                <a:gd name="T46" fmla="*/ 556 w 668"/>
                <a:gd name="T47" fmla="*/ 116 h 743"/>
                <a:gd name="T48" fmla="*/ 529 w 668"/>
                <a:gd name="T49" fmla="*/ 576 h 743"/>
                <a:gd name="T50" fmla="*/ 413 w 668"/>
                <a:gd name="T51" fmla="*/ 580 h 743"/>
                <a:gd name="T52" fmla="*/ 389 w 668"/>
                <a:gd name="T53" fmla="*/ 613 h 743"/>
                <a:gd name="T54" fmla="*/ 55 w 668"/>
                <a:gd name="T55" fmla="*/ 706 h 743"/>
                <a:gd name="T56" fmla="*/ 41 w 668"/>
                <a:gd name="T57" fmla="*/ 696 h 743"/>
                <a:gd name="T58" fmla="*/ 37 w 668"/>
                <a:gd name="T59" fmla="*/ 111 h 743"/>
                <a:gd name="T60" fmla="*/ 51 w 668"/>
                <a:gd name="T61" fmla="*/ 93 h 743"/>
                <a:gd name="T62" fmla="*/ 185 w 668"/>
                <a:gd name="T63" fmla="*/ 93 h 743"/>
                <a:gd name="T64" fmla="*/ 199 w 668"/>
                <a:gd name="T65" fmla="*/ 111 h 743"/>
                <a:gd name="T66" fmla="*/ 352 w 668"/>
                <a:gd name="T67" fmla="*/ 111 h 743"/>
                <a:gd name="T68" fmla="*/ 371 w 668"/>
                <a:gd name="T69" fmla="*/ 102 h 743"/>
                <a:gd name="T70" fmla="*/ 510 w 668"/>
                <a:gd name="T71" fmla="*/ 93 h 743"/>
                <a:gd name="T72" fmla="*/ 524 w 668"/>
                <a:gd name="T73" fmla="*/ 102 h 743"/>
                <a:gd name="T74" fmla="*/ 501 w 668"/>
                <a:gd name="T75" fmla="*/ 116 h 743"/>
                <a:gd name="T76" fmla="*/ 427 w 668"/>
                <a:gd name="T77" fmla="*/ 153 h 743"/>
                <a:gd name="T78" fmla="*/ 389 w 668"/>
                <a:gd name="T79" fmla="*/ 223 h 743"/>
                <a:gd name="T80" fmla="*/ 389 w 668"/>
                <a:gd name="T81" fmla="*/ 279 h 743"/>
                <a:gd name="T82" fmla="*/ 427 w 668"/>
                <a:gd name="T83" fmla="*/ 348 h 743"/>
                <a:gd name="T84" fmla="*/ 501 w 668"/>
                <a:gd name="T85" fmla="*/ 385 h 743"/>
                <a:gd name="T86" fmla="*/ 408 w 668"/>
                <a:gd name="T87" fmla="*/ 706 h 743"/>
                <a:gd name="T88" fmla="*/ 413 w 668"/>
                <a:gd name="T89" fmla="*/ 603 h 743"/>
                <a:gd name="T90" fmla="*/ 427 w 668"/>
                <a:gd name="T91" fmla="*/ 594 h 743"/>
                <a:gd name="T92" fmla="*/ 408 w 668"/>
                <a:gd name="T93" fmla="*/ 706 h 743"/>
                <a:gd name="T94" fmla="*/ 306 w 668"/>
                <a:gd name="T95" fmla="*/ 19 h 743"/>
                <a:gd name="T96" fmla="*/ 315 w 668"/>
                <a:gd name="T97" fmla="*/ 37 h 743"/>
                <a:gd name="T98" fmla="*/ 246 w 668"/>
                <a:gd name="T99" fmla="*/ 28 h 743"/>
                <a:gd name="T100" fmla="*/ 259 w 668"/>
                <a:gd name="T101" fmla="*/ 19 h 743"/>
                <a:gd name="T102" fmla="*/ 529 w 668"/>
                <a:gd name="T103" fmla="*/ 334 h 743"/>
                <a:gd name="T104" fmla="*/ 464 w 668"/>
                <a:gd name="T105" fmla="*/ 251 h 743"/>
                <a:gd name="T106" fmla="*/ 556 w 668"/>
                <a:gd name="T107" fmla="*/ 209 h 743"/>
                <a:gd name="T108" fmla="*/ 556 w 668"/>
                <a:gd name="T109" fmla="*/ 28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8" h="743">
                  <a:moveTo>
                    <a:pt x="556" y="116"/>
                  </a:moveTo>
                  <a:lnTo>
                    <a:pt x="556" y="74"/>
                  </a:lnTo>
                  <a:lnTo>
                    <a:pt x="556" y="74"/>
                  </a:lnTo>
                  <a:lnTo>
                    <a:pt x="556" y="65"/>
                  </a:lnTo>
                  <a:lnTo>
                    <a:pt x="552" y="60"/>
                  </a:lnTo>
                  <a:lnTo>
                    <a:pt x="547" y="56"/>
                  </a:lnTo>
                  <a:lnTo>
                    <a:pt x="538" y="56"/>
                  </a:lnTo>
                  <a:lnTo>
                    <a:pt x="371" y="56"/>
                  </a:lnTo>
                  <a:lnTo>
                    <a:pt x="371" y="37"/>
                  </a:lnTo>
                  <a:lnTo>
                    <a:pt x="371" y="37"/>
                  </a:lnTo>
                  <a:lnTo>
                    <a:pt x="371" y="28"/>
                  </a:lnTo>
                  <a:lnTo>
                    <a:pt x="366" y="23"/>
                  </a:lnTo>
                  <a:lnTo>
                    <a:pt x="362" y="19"/>
                  </a:lnTo>
                  <a:lnTo>
                    <a:pt x="352" y="19"/>
                  </a:lnTo>
                  <a:lnTo>
                    <a:pt x="334" y="19"/>
                  </a:lnTo>
                  <a:lnTo>
                    <a:pt x="334" y="19"/>
                  </a:lnTo>
                  <a:lnTo>
                    <a:pt x="334" y="9"/>
                  </a:lnTo>
                  <a:lnTo>
                    <a:pt x="329" y="5"/>
                  </a:lnTo>
                  <a:lnTo>
                    <a:pt x="324" y="0"/>
                  </a:lnTo>
                  <a:lnTo>
                    <a:pt x="315" y="0"/>
                  </a:lnTo>
                  <a:lnTo>
                    <a:pt x="241" y="0"/>
                  </a:lnTo>
                  <a:lnTo>
                    <a:pt x="241" y="0"/>
                  </a:lnTo>
                  <a:lnTo>
                    <a:pt x="236" y="0"/>
                  </a:lnTo>
                  <a:lnTo>
                    <a:pt x="232" y="5"/>
                  </a:lnTo>
                  <a:lnTo>
                    <a:pt x="227" y="9"/>
                  </a:lnTo>
                  <a:lnTo>
                    <a:pt x="222" y="19"/>
                  </a:lnTo>
                  <a:lnTo>
                    <a:pt x="204" y="19"/>
                  </a:lnTo>
                  <a:lnTo>
                    <a:pt x="204" y="19"/>
                  </a:lnTo>
                  <a:lnTo>
                    <a:pt x="199" y="19"/>
                  </a:lnTo>
                  <a:lnTo>
                    <a:pt x="195" y="23"/>
                  </a:lnTo>
                  <a:lnTo>
                    <a:pt x="190" y="28"/>
                  </a:lnTo>
                  <a:lnTo>
                    <a:pt x="185" y="37"/>
                  </a:lnTo>
                  <a:lnTo>
                    <a:pt x="185" y="56"/>
                  </a:lnTo>
                  <a:lnTo>
                    <a:pt x="18" y="56"/>
                  </a:lnTo>
                  <a:lnTo>
                    <a:pt x="18" y="56"/>
                  </a:lnTo>
                  <a:lnTo>
                    <a:pt x="14" y="56"/>
                  </a:lnTo>
                  <a:lnTo>
                    <a:pt x="9" y="60"/>
                  </a:lnTo>
                  <a:lnTo>
                    <a:pt x="4" y="65"/>
                  </a:lnTo>
                  <a:lnTo>
                    <a:pt x="0" y="74"/>
                  </a:lnTo>
                  <a:lnTo>
                    <a:pt x="0" y="724"/>
                  </a:lnTo>
                  <a:lnTo>
                    <a:pt x="0" y="724"/>
                  </a:lnTo>
                  <a:lnTo>
                    <a:pt x="4" y="733"/>
                  </a:lnTo>
                  <a:lnTo>
                    <a:pt x="9" y="738"/>
                  </a:lnTo>
                  <a:lnTo>
                    <a:pt x="14" y="743"/>
                  </a:lnTo>
                  <a:lnTo>
                    <a:pt x="18" y="743"/>
                  </a:lnTo>
                  <a:lnTo>
                    <a:pt x="389" y="743"/>
                  </a:lnTo>
                  <a:lnTo>
                    <a:pt x="538" y="743"/>
                  </a:lnTo>
                  <a:lnTo>
                    <a:pt x="538" y="743"/>
                  </a:lnTo>
                  <a:lnTo>
                    <a:pt x="547" y="743"/>
                  </a:lnTo>
                  <a:lnTo>
                    <a:pt x="552" y="738"/>
                  </a:lnTo>
                  <a:lnTo>
                    <a:pt x="556" y="733"/>
                  </a:lnTo>
                  <a:lnTo>
                    <a:pt x="556" y="724"/>
                  </a:lnTo>
                  <a:lnTo>
                    <a:pt x="556" y="576"/>
                  </a:lnTo>
                  <a:lnTo>
                    <a:pt x="556" y="385"/>
                  </a:lnTo>
                  <a:lnTo>
                    <a:pt x="556" y="385"/>
                  </a:lnTo>
                  <a:lnTo>
                    <a:pt x="580" y="381"/>
                  </a:lnTo>
                  <a:lnTo>
                    <a:pt x="603" y="367"/>
                  </a:lnTo>
                  <a:lnTo>
                    <a:pt x="621" y="353"/>
                  </a:lnTo>
                  <a:lnTo>
                    <a:pt x="635" y="339"/>
                  </a:lnTo>
                  <a:lnTo>
                    <a:pt x="649" y="320"/>
                  </a:lnTo>
                  <a:lnTo>
                    <a:pt x="659" y="297"/>
                  </a:lnTo>
                  <a:lnTo>
                    <a:pt x="663" y="274"/>
                  </a:lnTo>
                  <a:lnTo>
                    <a:pt x="668" y="251"/>
                  </a:lnTo>
                  <a:lnTo>
                    <a:pt x="668" y="251"/>
                  </a:lnTo>
                  <a:lnTo>
                    <a:pt x="663" y="227"/>
                  </a:lnTo>
                  <a:lnTo>
                    <a:pt x="659" y="204"/>
                  </a:lnTo>
                  <a:lnTo>
                    <a:pt x="649" y="181"/>
                  </a:lnTo>
                  <a:lnTo>
                    <a:pt x="635" y="162"/>
                  </a:lnTo>
                  <a:lnTo>
                    <a:pt x="621" y="149"/>
                  </a:lnTo>
                  <a:lnTo>
                    <a:pt x="603" y="135"/>
                  </a:lnTo>
                  <a:lnTo>
                    <a:pt x="580" y="121"/>
                  </a:lnTo>
                  <a:lnTo>
                    <a:pt x="556" y="116"/>
                  </a:lnTo>
                  <a:lnTo>
                    <a:pt x="556" y="116"/>
                  </a:lnTo>
                  <a:close/>
                  <a:moveTo>
                    <a:pt x="529" y="390"/>
                  </a:moveTo>
                  <a:lnTo>
                    <a:pt x="529" y="576"/>
                  </a:lnTo>
                  <a:lnTo>
                    <a:pt x="427" y="576"/>
                  </a:lnTo>
                  <a:lnTo>
                    <a:pt x="427" y="576"/>
                  </a:lnTo>
                  <a:lnTo>
                    <a:pt x="413" y="580"/>
                  </a:lnTo>
                  <a:lnTo>
                    <a:pt x="403" y="585"/>
                  </a:lnTo>
                  <a:lnTo>
                    <a:pt x="394" y="599"/>
                  </a:lnTo>
                  <a:lnTo>
                    <a:pt x="389" y="613"/>
                  </a:lnTo>
                  <a:lnTo>
                    <a:pt x="389" y="706"/>
                  </a:lnTo>
                  <a:lnTo>
                    <a:pt x="55" y="706"/>
                  </a:lnTo>
                  <a:lnTo>
                    <a:pt x="55" y="706"/>
                  </a:lnTo>
                  <a:lnTo>
                    <a:pt x="51" y="706"/>
                  </a:lnTo>
                  <a:lnTo>
                    <a:pt x="46" y="701"/>
                  </a:lnTo>
                  <a:lnTo>
                    <a:pt x="41" y="696"/>
                  </a:lnTo>
                  <a:lnTo>
                    <a:pt x="37" y="687"/>
                  </a:lnTo>
                  <a:lnTo>
                    <a:pt x="37" y="111"/>
                  </a:lnTo>
                  <a:lnTo>
                    <a:pt x="37" y="111"/>
                  </a:lnTo>
                  <a:lnTo>
                    <a:pt x="41" y="102"/>
                  </a:lnTo>
                  <a:lnTo>
                    <a:pt x="46" y="97"/>
                  </a:lnTo>
                  <a:lnTo>
                    <a:pt x="51" y="93"/>
                  </a:lnTo>
                  <a:lnTo>
                    <a:pt x="55" y="93"/>
                  </a:lnTo>
                  <a:lnTo>
                    <a:pt x="185" y="93"/>
                  </a:lnTo>
                  <a:lnTo>
                    <a:pt x="185" y="93"/>
                  </a:lnTo>
                  <a:lnTo>
                    <a:pt x="190" y="102"/>
                  </a:lnTo>
                  <a:lnTo>
                    <a:pt x="195" y="107"/>
                  </a:lnTo>
                  <a:lnTo>
                    <a:pt x="199" y="111"/>
                  </a:lnTo>
                  <a:lnTo>
                    <a:pt x="204" y="111"/>
                  </a:lnTo>
                  <a:lnTo>
                    <a:pt x="352" y="111"/>
                  </a:lnTo>
                  <a:lnTo>
                    <a:pt x="352" y="111"/>
                  </a:lnTo>
                  <a:lnTo>
                    <a:pt x="362" y="111"/>
                  </a:lnTo>
                  <a:lnTo>
                    <a:pt x="366" y="107"/>
                  </a:lnTo>
                  <a:lnTo>
                    <a:pt x="371" y="102"/>
                  </a:lnTo>
                  <a:lnTo>
                    <a:pt x="371" y="93"/>
                  </a:lnTo>
                  <a:lnTo>
                    <a:pt x="510" y="93"/>
                  </a:lnTo>
                  <a:lnTo>
                    <a:pt x="510" y="93"/>
                  </a:lnTo>
                  <a:lnTo>
                    <a:pt x="515" y="93"/>
                  </a:lnTo>
                  <a:lnTo>
                    <a:pt x="519" y="97"/>
                  </a:lnTo>
                  <a:lnTo>
                    <a:pt x="524" y="102"/>
                  </a:lnTo>
                  <a:lnTo>
                    <a:pt x="529" y="111"/>
                  </a:lnTo>
                  <a:lnTo>
                    <a:pt x="529" y="111"/>
                  </a:lnTo>
                  <a:lnTo>
                    <a:pt x="501" y="116"/>
                  </a:lnTo>
                  <a:lnTo>
                    <a:pt x="473" y="121"/>
                  </a:lnTo>
                  <a:lnTo>
                    <a:pt x="450" y="135"/>
                  </a:lnTo>
                  <a:lnTo>
                    <a:pt x="427" y="153"/>
                  </a:lnTo>
                  <a:lnTo>
                    <a:pt x="413" y="172"/>
                  </a:lnTo>
                  <a:lnTo>
                    <a:pt x="399" y="195"/>
                  </a:lnTo>
                  <a:lnTo>
                    <a:pt x="389" y="223"/>
                  </a:lnTo>
                  <a:lnTo>
                    <a:pt x="389" y="251"/>
                  </a:lnTo>
                  <a:lnTo>
                    <a:pt x="389" y="251"/>
                  </a:lnTo>
                  <a:lnTo>
                    <a:pt x="389" y="279"/>
                  </a:lnTo>
                  <a:lnTo>
                    <a:pt x="399" y="306"/>
                  </a:lnTo>
                  <a:lnTo>
                    <a:pt x="413" y="330"/>
                  </a:lnTo>
                  <a:lnTo>
                    <a:pt x="427" y="348"/>
                  </a:lnTo>
                  <a:lnTo>
                    <a:pt x="450" y="367"/>
                  </a:lnTo>
                  <a:lnTo>
                    <a:pt x="473" y="381"/>
                  </a:lnTo>
                  <a:lnTo>
                    <a:pt x="501" y="385"/>
                  </a:lnTo>
                  <a:lnTo>
                    <a:pt x="529" y="390"/>
                  </a:lnTo>
                  <a:lnTo>
                    <a:pt x="529" y="390"/>
                  </a:lnTo>
                  <a:close/>
                  <a:moveTo>
                    <a:pt x="408" y="706"/>
                  </a:moveTo>
                  <a:lnTo>
                    <a:pt x="408" y="613"/>
                  </a:lnTo>
                  <a:lnTo>
                    <a:pt x="408" y="613"/>
                  </a:lnTo>
                  <a:lnTo>
                    <a:pt x="413" y="603"/>
                  </a:lnTo>
                  <a:lnTo>
                    <a:pt x="417" y="599"/>
                  </a:lnTo>
                  <a:lnTo>
                    <a:pt x="422" y="594"/>
                  </a:lnTo>
                  <a:lnTo>
                    <a:pt x="427" y="594"/>
                  </a:lnTo>
                  <a:lnTo>
                    <a:pt x="515" y="594"/>
                  </a:lnTo>
                  <a:lnTo>
                    <a:pt x="524" y="594"/>
                  </a:lnTo>
                  <a:lnTo>
                    <a:pt x="408" y="706"/>
                  </a:lnTo>
                  <a:close/>
                  <a:moveTo>
                    <a:pt x="297" y="19"/>
                  </a:moveTo>
                  <a:lnTo>
                    <a:pt x="297" y="19"/>
                  </a:lnTo>
                  <a:lnTo>
                    <a:pt x="306" y="19"/>
                  </a:lnTo>
                  <a:lnTo>
                    <a:pt x="311" y="23"/>
                  </a:lnTo>
                  <a:lnTo>
                    <a:pt x="315" y="28"/>
                  </a:lnTo>
                  <a:lnTo>
                    <a:pt x="315" y="37"/>
                  </a:lnTo>
                  <a:lnTo>
                    <a:pt x="241" y="37"/>
                  </a:lnTo>
                  <a:lnTo>
                    <a:pt x="241" y="37"/>
                  </a:lnTo>
                  <a:lnTo>
                    <a:pt x="246" y="28"/>
                  </a:lnTo>
                  <a:lnTo>
                    <a:pt x="250" y="23"/>
                  </a:lnTo>
                  <a:lnTo>
                    <a:pt x="255" y="19"/>
                  </a:lnTo>
                  <a:lnTo>
                    <a:pt x="259" y="19"/>
                  </a:lnTo>
                  <a:lnTo>
                    <a:pt x="297" y="19"/>
                  </a:lnTo>
                  <a:close/>
                  <a:moveTo>
                    <a:pt x="556" y="283"/>
                  </a:moveTo>
                  <a:lnTo>
                    <a:pt x="529" y="334"/>
                  </a:lnTo>
                  <a:lnTo>
                    <a:pt x="515" y="353"/>
                  </a:lnTo>
                  <a:lnTo>
                    <a:pt x="440" y="279"/>
                  </a:lnTo>
                  <a:lnTo>
                    <a:pt x="464" y="251"/>
                  </a:lnTo>
                  <a:lnTo>
                    <a:pt x="505" y="297"/>
                  </a:lnTo>
                  <a:lnTo>
                    <a:pt x="529" y="265"/>
                  </a:lnTo>
                  <a:lnTo>
                    <a:pt x="556" y="209"/>
                  </a:lnTo>
                  <a:lnTo>
                    <a:pt x="584" y="167"/>
                  </a:lnTo>
                  <a:lnTo>
                    <a:pt x="617" y="186"/>
                  </a:lnTo>
                  <a:lnTo>
                    <a:pt x="556"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Arial"/>
              </a:endParaRPr>
            </a:p>
          </p:txBody>
        </p:sp>
      </p:grpSp>
      <p:sp>
        <p:nvSpPr>
          <p:cNvPr id="52" name="Oval 51">
            <a:extLst>
              <a:ext uri="{FF2B5EF4-FFF2-40B4-BE49-F238E27FC236}">
                <a16:creationId xmlns:a16="http://schemas.microsoft.com/office/drawing/2014/main" id="{AFD90E76-46E5-2AD8-40D9-198A17C1411B}"/>
              </a:ext>
            </a:extLst>
          </p:cNvPr>
          <p:cNvSpPr/>
          <p:nvPr/>
        </p:nvSpPr>
        <p:spPr bwMode="auto">
          <a:xfrm flipH="1">
            <a:off x="1415549" y="1533685"/>
            <a:ext cx="74060" cy="74060"/>
          </a:xfrm>
          <a:prstGeom prst="ellipse">
            <a:avLst/>
          </a:prstGeom>
          <a:solidFill>
            <a:srgbClr val="36BCEE"/>
          </a:solidFill>
          <a:ln w="6350">
            <a:noFill/>
            <a:miter lim="800000"/>
            <a:headEnd/>
            <a:tailEnd/>
          </a:ln>
          <a:effectLst/>
        </p:spPr>
        <p:txBody>
          <a:bodyPr lIns="108000" tIns="108000" rIns="108000" bIns="108000" rtlCol="0" anchor="ctr">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Verdana" pitchFamily="34" charset="0"/>
              <a:cs typeface="Verdana" pitchFamily="34" charset="0"/>
            </a:endParaRPr>
          </a:p>
        </p:txBody>
      </p:sp>
      <p:sp>
        <p:nvSpPr>
          <p:cNvPr id="53" name="Oval 52">
            <a:extLst>
              <a:ext uri="{FF2B5EF4-FFF2-40B4-BE49-F238E27FC236}">
                <a16:creationId xmlns:a16="http://schemas.microsoft.com/office/drawing/2014/main" id="{107D60B5-7E13-FD54-332E-6B74BA21D62A}"/>
              </a:ext>
            </a:extLst>
          </p:cNvPr>
          <p:cNvSpPr/>
          <p:nvPr/>
        </p:nvSpPr>
        <p:spPr bwMode="auto">
          <a:xfrm flipH="1">
            <a:off x="10138250" y="5443172"/>
            <a:ext cx="74060" cy="74060"/>
          </a:xfrm>
          <a:prstGeom prst="ellipse">
            <a:avLst/>
          </a:prstGeom>
          <a:solidFill>
            <a:srgbClr val="36BCEE"/>
          </a:solidFill>
          <a:ln w="6350">
            <a:noFill/>
            <a:miter lim="800000"/>
            <a:headEnd/>
            <a:tailEnd/>
          </a:ln>
          <a:effectLst/>
        </p:spPr>
        <p:txBody>
          <a:bodyPr lIns="108000" tIns="108000" rIns="108000" bIns="108000" rtlCol="0" anchor="ctr">
            <a:noAutofit/>
          </a:bodyPr>
          <a:lstStyle/>
          <a:p>
            <a:pPr marL="0" marR="0" lvl="0" indent="0" defTabSz="105132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Verdana" pitchFamily="34" charset="0"/>
              <a:cs typeface="Verdana" pitchFamily="34" charset="0"/>
            </a:endParaRPr>
          </a:p>
        </p:txBody>
      </p:sp>
    </p:spTree>
    <p:extLst>
      <p:ext uri="{BB962C8B-B14F-4D97-AF65-F5344CB8AC3E}">
        <p14:creationId xmlns:p14="http://schemas.microsoft.com/office/powerpoint/2010/main" val="1000995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sum58D63F1n7HgjCEGdr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Iberty">
  <a:themeElements>
    <a:clrScheme name="Liberty_final">
      <a:dk1>
        <a:srgbClr val="000000"/>
      </a:dk1>
      <a:lt1>
        <a:sysClr val="window" lastClr="FFFFFF"/>
      </a:lt1>
      <a:dk2>
        <a:srgbClr val="696D6F"/>
      </a:dk2>
      <a:lt2>
        <a:srgbClr val="12326E"/>
      </a:lt2>
      <a:accent1>
        <a:srgbClr val="12326E"/>
      </a:accent1>
      <a:accent2>
        <a:srgbClr val="36BCEE"/>
      </a:accent2>
      <a:accent3>
        <a:srgbClr val="C15A2D"/>
      </a:accent3>
      <a:accent4>
        <a:srgbClr val="05934A"/>
      </a:accent4>
      <a:accent5>
        <a:srgbClr val="1C6AAF"/>
      </a:accent5>
      <a:accent6>
        <a:srgbClr val="DBAE47"/>
      </a:accent6>
      <a:hlink>
        <a:srgbClr val="A03B18"/>
      </a:hlink>
      <a:folHlink>
        <a:srgbClr val="05934A"/>
      </a:folHlink>
    </a:clrScheme>
    <a:fontScheme name="Liberty">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 id="{6A68806B-77C7-4168-9FDC-D7E8AA772D4B}" vid="{064A53E4-83D6-4F8E-899F-6D9F45BE602D}"/>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4C71320FA16F34DB1955F2FD8F407A8" ma:contentTypeVersion="6" ma:contentTypeDescription="Create a new document." ma:contentTypeScope="" ma:versionID="22870d6713281f5f9e3882af06429da9">
  <xsd:schema xmlns:xsd="http://www.w3.org/2001/XMLSchema" xmlns:xs="http://www.w3.org/2001/XMLSchema" xmlns:p="http://schemas.microsoft.com/office/2006/metadata/properties" xmlns:ns2="b0b8d987-ee45-4c1b-b8a8-9ab6cf9f3262" xmlns:ns3="cd433872-ceba-450f-8df1-7bb5cff29ad7" targetNamespace="http://schemas.microsoft.com/office/2006/metadata/properties" ma:root="true" ma:fieldsID="f6bf19db91defb8e9e085b57a1d28a4d" ns2:_="" ns3:_="">
    <xsd:import namespace="b0b8d987-ee45-4c1b-b8a8-9ab6cf9f3262"/>
    <xsd:import namespace="cd433872-ceba-450f-8df1-7bb5cff29ad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b8d987-ee45-4c1b-b8a8-9ab6cf9f32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d433872-ceba-450f-8df1-7bb5cff29ad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8DA4A8-EE20-4DF4-8D27-396091E6E42B}">
  <ds:schemaRefs>
    <ds:schemaRef ds:uri="http://www.w3.org/XML/1998/namespace"/>
    <ds:schemaRef ds:uri="http://schemas.openxmlformats.org/package/2006/metadata/core-properties"/>
    <ds:schemaRef ds:uri="http://schemas.microsoft.com/office/2006/documentManagement/types"/>
    <ds:schemaRef ds:uri="http://purl.org/dc/elements/1.1/"/>
    <ds:schemaRef ds:uri="http://purl.org/dc/terms/"/>
    <ds:schemaRef ds:uri="b0b8d987-ee45-4c1b-b8a8-9ab6cf9f3262"/>
    <ds:schemaRef ds:uri="http://schemas.microsoft.com/office/2006/metadata/properties"/>
    <ds:schemaRef ds:uri="http://schemas.microsoft.com/office/infopath/2007/PartnerControls"/>
    <ds:schemaRef ds:uri="cd433872-ceba-450f-8df1-7bb5cff29ad7"/>
    <ds:schemaRef ds:uri="http://purl.org/dc/dcmitype/"/>
  </ds:schemaRefs>
</ds:datastoreItem>
</file>

<file path=customXml/itemProps2.xml><?xml version="1.0" encoding="utf-8"?>
<ds:datastoreItem xmlns:ds="http://schemas.openxmlformats.org/officeDocument/2006/customXml" ds:itemID="{4CB2693A-463D-423C-8692-E29799B2BCAF}">
  <ds:schemaRefs>
    <ds:schemaRef ds:uri="http://schemas.microsoft.com/sharepoint/v3/contenttype/forms"/>
  </ds:schemaRefs>
</ds:datastoreItem>
</file>

<file path=customXml/itemProps3.xml><?xml version="1.0" encoding="utf-8"?>
<ds:datastoreItem xmlns:ds="http://schemas.openxmlformats.org/officeDocument/2006/customXml" ds:itemID="{DE6854AD-FC65-4CC5-A296-AAD5D4AE31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b8d987-ee45-4c1b-b8a8-9ab6cf9f3262"/>
    <ds:schemaRef ds:uri="cd433872-ceba-450f-8df1-7bb5cff29a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22</TotalTime>
  <Words>1859</Words>
  <Application>Microsoft Office PowerPoint</Application>
  <PresentationFormat>Širokoúhlá obrazovka</PresentationFormat>
  <Paragraphs>212</Paragraphs>
  <Slides>23</Slides>
  <Notes>16</Notes>
  <HiddenSlides>0</HiddenSlides>
  <MMClips>0</MMClips>
  <ScaleCrop>false</ScaleCrop>
  <HeadingPairs>
    <vt:vector size="8" baseType="variant">
      <vt:variant>
        <vt:lpstr>Použitá písma</vt:lpstr>
      </vt:variant>
      <vt:variant>
        <vt:i4>9</vt:i4>
      </vt:variant>
      <vt:variant>
        <vt:lpstr>Motiv</vt:lpstr>
      </vt:variant>
      <vt:variant>
        <vt:i4>5</vt:i4>
      </vt:variant>
      <vt:variant>
        <vt:lpstr>Vložené servery OLE</vt:lpstr>
      </vt:variant>
      <vt:variant>
        <vt:i4>1</vt:i4>
      </vt:variant>
      <vt:variant>
        <vt:lpstr>Nadpisy snímků</vt:lpstr>
      </vt:variant>
      <vt:variant>
        <vt:i4>23</vt:i4>
      </vt:variant>
    </vt:vector>
  </HeadingPairs>
  <TitlesOfParts>
    <vt:vector size="38" baseType="lpstr">
      <vt:lpstr>Aptos</vt:lpstr>
      <vt:lpstr>Arial</vt:lpstr>
      <vt:lpstr>Calibri</vt:lpstr>
      <vt:lpstr>Calibri Light</vt:lpstr>
      <vt:lpstr>Century Gothic</vt:lpstr>
      <vt:lpstr>Century Gothic Pro</vt:lpstr>
      <vt:lpstr>Segoe UI Semilight</vt:lpstr>
      <vt:lpstr>Symbol</vt:lpstr>
      <vt:lpstr>Wingdings</vt:lpstr>
      <vt:lpstr>1_Office Theme</vt:lpstr>
      <vt:lpstr>4_Office Theme</vt:lpstr>
      <vt:lpstr>LIberty</vt:lpstr>
      <vt:lpstr>3_Office Theme</vt:lpstr>
      <vt:lpstr>5_Office Theme</vt:lpstr>
      <vt:lpstr>think-cell Slide</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y Hood</dc:creator>
  <cp:lastModifiedBy>Davidova, Michaela</cp:lastModifiedBy>
  <cp:revision>495</cp:revision>
  <cp:lastPrinted>2022-10-31T11:16:48Z</cp:lastPrinted>
  <dcterms:created xsi:type="dcterms:W3CDTF">2020-10-30T09:29:14Z</dcterms:created>
  <dcterms:modified xsi:type="dcterms:W3CDTF">2024-03-14T17:1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C71320FA16F34DB1955F2FD8F407A8</vt:lpwstr>
  </property>
</Properties>
</file>